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6.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7.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8.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9.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0.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1.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2.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3.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4.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5.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6.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1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18.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8.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9" r:id="rId4"/>
    <p:sldMasterId id="2147483668" r:id="rId5"/>
    <p:sldMasterId id="2147483680" r:id="rId6"/>
    <p:sldMasterId id="2147483692" r:id="rId7"/>
    <p:sldMasterId id="2147483746" r:id="rId8"/>
    <p:sldMasterId id="2147483767" r:id="rId9"/>
    <p:sldMasterId id="2147483776" r:id="rId10"/>
    <p:sldMasterId id="2147483787" r:id="rId11"/>
    <p:sldMasterId id="2147483798" r:id="rId12"/>
    <p:sldMasterId id="2147483807" r:id="rId13"/>
    <p:sldMasterId id="2147483818" r:id="rId14"/>
    <p:sldMasterId id="2147483831" r:id="rId15"/>
    <p:sldMasterId id="2147483840" r:id="rId16"/>
    <p:sldMasterId id="2147483851" r:id="rId17"/>
    <p:sldMasterId id="2147483863" r:id="rId18"/>
    <p:sldMasterId id="2147483874" r:id="rId19"/>
    <p:sldMasterId id="2147483892" r:id="rId20"/>
    <p:sldMasterId id="2147483910" r:id="rId21"/>
    <p:sldMasterId id="2147483921" r:id="rId22"/>
  </p:sldMasterIdLst>
  <p:notesMasterIdLst>
    <p:notesMasterId r:id="rId201"/>
  </p:notesMasterIdLst>
  <p:handoutMasterIdLst>
    <p:handoutMasterId r:id="rId202"/>
  </p:handoutMasterIdLst>
  <p:sldIdLst>
    <p:sldId id="281" r:id="rId23"/>
    <p:sldId id="2134958656" r:id="rId24"/>
    <p:sldId id="2134958655" r:id="rId25"/>
    <p:sldId id="2134958654" r:id="rId26"/>
    <p:sldId id="256" r:id="rId27"/>
    <p:sldId id="2134958646" r:id="rId28"/>
    <p:sldId id="262" r:id="rId29"/>
    <p:sldId id="2134958649" r:id="rId30"/>
    <p:sldId id="2134958657" r:id="rId31"/>
    <p:sldId id="265" r:id="rId32"/>
    <p:sldId id="315" r:id="rId33"/>
    <p:sldId id="266" r:id="rId34"/>
    <p:sldId id="316" r:id="rId35"/>
    <p:sldId id="317" r:id="rId36"/>
    <p:sldId id="284" r:id="rId37"/>
    <p:sldId id="285" r:id="rId38"/>
    <p:sldId id="318" r:id="rId39"/>
    <p:sldId id="322" r:id="rId40"/>
    <p:sldId id="319" r:id="rId41"/>
    <p:sldId id="321" r:id="rId42"/>
    <p:sldId id="324" r:id="rId43"/>
    <p:sldId id="270" r:id="rId44"/>
    <p:sldId id="287" r:id="rId45"/>
    <p:sldId id="304" r:id="rId46"/>
    <p:sldId id="306" r:id="rId47"/>
    <p:sldId id="311" r:id="rId48"/>
    <p:sldId id="312" r:id="rId49"/>
    <p:sldId id="289" r:id="rId50"/>
    <p:sldId id="292" r:id="rId51"/>
    <p:sldId id="293" r:id="rId52"/>
    <p:sldId id="291" r:id="rId53"/>
    <p:sldId id="326" r:id="rId54"/>
    <p:sldId id="325" r:id="rId55"/>
    <p:sldId id="323" r:id="rId56"/>
    <p:sldId id="327" r:id="rId57"/>
    <p:sldId id="328" r:id="rId58"/>
    <p:sldId id="329" r:id="rId59"/>
    <p:sldId id="330" r:id="rId60"/>
    <p:sldId id="331" r:id="rId61"/>
    <p:sldId id="332" r:id="rId62"/>
    <p:sldId id="2134958658" r:id="rId63"/>
    <p:sldId id="2134958659" r:id="rId64"/>
    <p:sldId id="283" r:id="rId65"/>
    <p:sldId id="2134958660" r:id="rId66"/>
    <p:sldId id="282" r:id="rId67"/>
    <p:sldId id="286" r:id="rId68"/>
    <p:sldId id="2134958661" r:id="rId69"/>
    <p:sldId id="2134958662" r:id="rId70"/>
    <p:sldId id="2134958663" r:id="rId71"/>
    <p:sldId id="288" r:id="rId72"/>
    <p:sldId id="2134958664" r:id="rId73"/>
    <p:sldId id="290" r:id="rId74"/>
    <p:sldId id="2134958665" r:id="rId75"/>
    <p:sldId id="2134958666" r:id="rId76"/>
    <p:sldId id="294" r:id="rId77"/>
    <p:sldId id="2134958667" r:id="rId78"/>
    <p:sldId id="2134958668" r:id="rId79"/>
    <p:sldId id="295" r:id="rId80"/>
    <p:sldId id="2134958669" r:id="rId81"/>
    <p:sldId id="2134958670" r:id="rId82"/>
    <p:sldId id="2134958671" r:id="rId83"/>
    <p:sldId id="2134958672" r:id="rId84"/>
    <p:sldId id="2134958673" r:id="rId85"/>
    <p:sldId id="2134958674" r:id="rId86"/>
    <p:sldId id="2134958675" r:id="rId87"/>
    <p:sldId id="2134958676" r:id="rId88"/>
    <p:sldId id="297" r:id="rId89"/>
    <p:sldId id="296" r:id="rId90"/>
    <p:sldId id="298" r:id="rId91"/>
    <p:sldId id="2134958677" r:id="rId92"/>
    <p:sldId id="305" r:id="rId93"/>
    <p:sldId id="2134958678" r:id="rId94"/>
    <p:sldId id="299" r:id="rId95"/>
    <p:sldId id="300" r:id="rId96"/>
    <p:sldId id="303" r:id="rId97"/>
    <p:sldId id="302" r:id="rId98"/>
    <p:sldId id="301" r:id="rId99"/>
    <p:sldId id="2134958679" r:id="rId100"/>
    <p:sldId id="2134958680" r:id="rId101"/>
    <p:sldId id="2134958681" r:id="rId102"/>
    <p:sldId id="533" r:id="rId103"/>
    <p:sldId id="530" r:id="rId104"/>
    <p:sldId id="534" r:id="rId105"/>
    <p:sldId id="535" r:id="rId106"/>
    <p:sldId id="271" r:id="rId107"/>
    <p:sldId id="543" r:id="rId108"/>
    <p:sldId id="457" r:id="rId109"/>
    <p:sldId id="536" r:id="rId110"/>
    <p:sldId id="538" r:id="rId111"/>
    <p:sldId id="537" r:id="rId112"/>
    <p:sldId id="539" r:id="rId113"/>
    <p:sldId id="540" r:id="rId114"/>
    <p:sldId id="495" r:id="rId115"/>
    <p:sldId id="529" r:id="rId116"/>
    <p:sldId id="459" r:id="rId117"/>
    <p:sldId id="462" r:id="rId118"/>
    <p:sldId id="463" r:id="rId119"/>
    <p:sldId id="460" r:id="rId120"/>
    <p:sldId id="541" r:id="rId121"/>
    <p:sldId id="466" r:id="rId122"/>
    <p:sldId id="467" r:id="rId123"/>
    <p:sldId id="542" r:id="rId124"/>
    <p:sldId id="469" r:id="rId125"/>
    <p:sldId id="521" r:id="rId126"/>
    <p:sldId id="436" r:id="rId127"/>
    <p:sldId id="2134958682" r:id="rId128"/>
    <p:sldId id="484" r:id="rId129"/>
    <p:sldId id="2134958683" r:id="rId130"/>
    <p:sldId id="665" r:id="rId131"/>
    <p:sldId id="562" r:id="rId132"/>
    <p:sldId id="2147478542" r:id="rId133"/>
    <p:sldId id="2147478540" r:id="rId134"/>
    <p:sldId id="2147478539" r:id="rId135"/>
    <p:sldId id="2147478535" r:id="rId136"/>
    <p:sldId id="313" r:id="rId137"/>
    <p:sldId id="314" r:id="rId138"/>
    <p:sldId id="2147478525" r:id="rId139"/>
    <p:sldId id="2147478545" r:id="rId140"/>
    <p:sldId id="2147478533" r:id="rId141"/>
    <p:sldId id="2147478541" r:id="rId142"/>
    <p:sldId id="2147472200" r:id="rId143"/>
    <p:sldId id="2147472197" r:id="rId144"/>
    <p:sldId id="2147478534" r:id="rId145"/>
    <p:sldId id="2147471816" r:id="rId146"/>
    <p:sldId id="736" r:id="rId147"/>
    <p:sldId id="2147472201" r:id="rId148"/>
    <p:sldId id="2147472191" r:id="rId149"/>
    <p:sldId id="2147472139" r:id="rId150"/>
    <p:sldId id="2147478536" r:id="rId151"/>
    <p:sldId id="2145706221" r:id="rId152"/>
    <p:sldId id="2147472195" r:id="rId153"/>
    <p:sldId id="2147472198" r:id="rId154"/>
    <p:sldId id="2147478544" r:id="rId155"/>
    <p:sldId id="2147478543" r:id="rId156"/>
    <p:sldId id="2147478546" r:id="rId157"/>
    <p:sldId id="2147478547" r:id="rId158"/>
    <p:sldId id="2147478548" r:id="rId159"/>
    <p:sldId id="2147478549" r:id="rId160"/>
    <p:sldId id="2147478550" r:id="rId161"/>
    <p:sldId id="2147478551" r:id="rId162"/>
    <p:sldId id="2147478552" r:id="rId163"/>
    <p:sldId id="2147478553" r:id="rId164"/>
    <p:sldId id="2147478554" r:id="rId165"/>
    <p:sldId id="2147478555" r:id="rId166"/>
    <p:sldId id="2147478556" r:id="rId167"/>
    <p:sldId id="2147478557" r:id="rId168"/>
    <p:sldId id="2147478558" r:id="rId169"/>
    <p:sldId id="2147478559" r:id="rId170"/>
    <p:sldId id="2147478560" r:id="rId171"/>
    <p:sldId id="2147478561" r:id="rId172"/>
    <p:sldId id="2147478562" r:id="rId173"/>
    <p:sldId id="2147478563" r:id="rId174"/>
    <p:sldId id="2147478564" r:id="rId175"/>
    <p:sldId id="2147478565" r:id="rId176"/>
    <p:sldId id="2147478566" r:id="rId177"/>
    <p:sldId id="2147478567" r:id="rId178"/>
    <p:sldId id="2147478568" r:id="rId179"/>
    <p:sldId id="2147478569" r:id="rId180"/>
    <p:sldId id="2147478570" r:id="rId181"/>
    <p:sldId id="2147478571" r:id="rId182"/>
    <p:sldId id="2147478572" r:id="rId183"/>
    <p:sldId id="2147478573" r:id="rId184"/>
    <p:sldId id="307" r:id="rId185"/>
    <p:sldId id="308" r:id="rId186"/>
    <p:sldId id="309" r:id="rId187"/>
    <p:sldId id="310" r:id="rId188"/>
    <p:sldId id="2147478574" r:id="rId189"/>
    <p:sldId id="2147478575" r:id="rId190"/>
    <p:sldId id="2147478576" r:id="rId191"/>
    <p:sldId id="2147478577" r:id="rId192"/>
    <p:sldId id="2147478578" r:id="rId193"/>
    <p:sldId id="2147478579" r:id="rId194"/>
    <p:sldId id="2147478580" r:id="rId195"/>
    <p:sldId id="2147478581" r:id="rId196"/>
    <p:sldId id="2147478582" r:id="rId197"/>
    <p:sldId id="2147478583" r:id="rId198"/>
    <p:sldId id="2147478584" r:id="rId199"/>
    <p:sldId id="2147478585" r:id="rId200"/>
  </p:sldIdLst>
  <p:sldSz cx="9144000" cy="5148263"/>
  <p:notesSz cx="6858000" cy="9144000"/>
  <p:defaultTextStyle>
    <a:defPPr>
      <a:defRPr lang="en-US"/>
    </a:defPPr>
    <a:lvl1pPr algn="l" rtl="0" fontAlgn="base">
      <a:spcBef>
        <a:spcPct val="0"/>
      </a:spcBef>
      <a:spcAft>
        <a:spcPct val="0"/>
      </a:spcAft>
      <a:defRPr sz="2400"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2400"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2400"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2400"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2400"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1622">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767"/>
    <a:srgbClr val="FFC82C"/>
    <a:srgbClr val="FFC92A"/>
    <a:srgbClr val="002E5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8FF2AE4-D582-4D51-9A92-76963FA39E0C}" v="21" dt="2024-05-10T21:24:55.71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78" autoAdjust="0"/>
    <p:restoredTop sz="94694"/>
  </p:normalViewPr>
  <p:slideViewPr>
    <p:cSldViewPr snapToGrid="0" snapToObjects="1">
      <p:cViewPr varScale="1">
        <p:scale>
          <a:sx n="138" d="100"/>
          <a:sy n="138" d="100"/>
        </p:scale>
        <p:origin x="828" y="102"/>
      </p:cViewPr>
      <p:guideLst>
        <p:guide orient="horz" pos="1622"/>
        <p:guide pos="2880"/>
      </p:guideLst>
    </p:cSldViewPr>
  </p:slideViewPr>
  <p:notesTextViewPr>
    <p:cViewPr>
      <p:scale>
        <a:sx n="1" d="1"/>
        <a:sy n="1" d="1"/>
      </p:scale>
      <p:origin x="0" y="0"/>
    </p:cViewPr>
  </p:notesTextViewPr>
  <p:notesViewPr>
    <p:cSldViewPr snapToGrid="0" snapToObject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5.xml"/><Relationship Id="rId21" Type="http://schemas.openxmlformats.org/officeDocument/2006/relationships/slideMaster" Target="slideMasters/slideMaster18.xml"/><Relationship Id="rId42" Type="http://schemas.openxmlformats.org/officeDocument/2006/relationships/slide" Target="slides/slide20.xml"/><Relationship Id="rId63" Type="http://schemas.openxmlformats.org/officeDocument/2006/relationships/slide" Target="slides/slide41.xml"/><Relationship Id="rId84" Type="http://schemas.openxmlformats.org/officeDocument/2006/relationships/slide" Target="slides/slide62.xml"/><Relationship Id="rId138" Type="http://schemas.openxmlformats.org/officeDocument/2006/relationships/slide" Target="slides/slide116.xml"/><Relationship Id="rId159" Type="http://schemas.openxmlformats.org/officeDocument/2006/relationships/slide" Target="slides/slide137.xml"/><Relationship Id="rId170" Type="http://schemas.openxmlformats.org/officeDocument/2006/relationships/slide" Target="slides/slide148.xml"/><Relationship Id="rId191" Type="http://schemas.openxmlformats.org/officeDocument/2006/relationships/slide" Target="slides/slide169.xml"/><Relationship Id="rId205" Type="http://schemas.openxmlformats.org/officeDocument/2006/relationships/theme" Target="theme/theme1.xml"/><Relationship Id="rId107" Type="http://schemas.openxmlformats.org/officeDocument/2006/relationships/slide" Target="slides/slide85.xml"/><Relationship Id="rId11" Type="http://schemas.openxmlformats.org/officeDocument/2006/relationships/slideMaster" Target="slideMasters/slideMaster8.xml"/><Relationship Id="rId32" Type="http://schemas.openxmlformats.org/officeDocument/2006/relationships/slide" Target="slides/slide10.xml"/><Relationship Id="rId53" Type="http://schemas.openxmlformats.org/officeDocument/2006/relationships/slide" Target="slides/slide31.xml"/><Relationship Id="rId74" Type="http://schemas.openxmlformats.org/officeDocument/2006/relationships/slide" Target="slides/slide52.xml"/><Relationship Id="rId128" Type="http://schemas.openxmlformats.org/officeDocument/2006/relationships/slide" Target="slides/slide106.xml"/><Relationship Id="rId149" Type="http://schemas.openxmlformats.org/officeDocument/2006/relationships/slide" Target="slides/slide127.xml"/><Relationship Id="rId5" Type="http://schemas.openxmlformats.org/officeDocument/2006/relationships/slideMaster" Target="slideMasters/slideMaster2.xml"/><Relationship Id="rId95" Type="http://schemas.openxmlformats.org/officeDocument/2006/relationships/slide" Target="slides/slide73.xml"/><Relationship Id="rId160" Type="http://schemas.openxmlformats.org/officeDocument/2006/relationships/slide" Target="slides/slide138.xml"/><Relationship Id="rId181" Type="http://schemas.openxmlformats.org/officeDocument/2006/relationships/slide" Target="slides/slide159.xml"/><Relationship Id="rId22" Type="http://schemas.openxmlformats.org/officeDocument/2006/relationships/slideMaster" Target="slideMasters/slideMaster19.xml"/><Relationship Id="rId43" Type="http://schemas.openxmlformats.org/officeDocument/2006/relationships/slide" Target="slides/slide21.xml"/><Relationship Id="rId64" Type="http://schemas.openxmlformats.org/officeDocument/2006/relationships/slide" Target="slides/slide42.xml"/><Relationship Id="rId118" Type="http://schemas.openxmlformats.org/officeDocument/2006/relationships/slide" Target="slides/slide96.xml"/><Relationship Id="rId139" Type="http://schemas.openxmlformats.org/officeDocument/2006/relationships/slide" Target="slides/slide117.xml"/><Relationship Id="rId85" Type="http://schemas.openxmlformats.org/officeDocument/2006/relationships/slide" Target="slides/slide63.xml"/><Relationship Id="rId150" Type="http://schemas.openxmlformats.org/officeDocument/2006/relationships/slide" Target="slides/slide128.xml"/><Relationship Id="rId171" Type="http://schemas.openxmlformats.org/officeDocument/2006/relationships/slide" Target="slides/slide149.xml"/><Relationship Id="rId192" Type="http://schemas.openxmlformats.org/officeDocument/2006/relationships/slide" Target="slides/slide170.xml"/><Relationship Id="rId206" Type="http://schemas.openxmlformats.org/officeDocument/2006/relationships/tableStyles" Target="tableStyles.xml"/><Relationship Id="rId12" Type="http://schemas.openxmlformats.org/officeDocument/2006/relationships/slideMaster" Target="slideMasters/slideMaster9.xml"/><Relationship Id="rId33" Type="http://schemas.openxmlformats.org/officeDocument/2006/relationships/slide" Target="slides/slide11.xml"/><Relationship Id="rId108" Type="http://schemas.openxmlformats.org/officeDocument/2006/relationships/slide" Target="slides/slide86.xml"/><Relationship Id="rId129" Type="http://schemas.openxmlformats.org/officeDocument/2006/relationships/slide" Target="slides/slide107.xml"/><Relationship Id="rId54" Type="http://schemas.openxmlformats.org/officeDocument/2006/relationships/slide" Target="slides/slide32.xml"/><Relationship Id="rId75" Type="http://schemas.openxmlformats.org/officeDocument/2006/relationships/slide" Target="slides/slide53.xml"/><Relationship Id="rId96" Type="http://schemas.openxmlformats.org/officeDocument/2006/relationships/slide" Target="slides/slide74.xml"/><Relationship Id="rId140" Type="http://schemas.openxmlformats.org/officeDocument/2006/relationships/slide" Target="slides/slide118.xml"/><Relationship Id="rId161" Type="http://schemas.openxmlformats.org/officeDocument/2006/relationships/slide" Target="slides/slide139.xml"/><Relationship Id="rId182" Type="http://schemas.openxmlformats.org/officeDocument/2006/relationships/slide" Target="slides/slide160.xml"/><Relationship Id="rId6" Type="http://schemas.openxmlformats.org/officeDocument/2006/relationships/slideMaster" Target="slideMasters/slideMaster3.xml"/><Relationship Id="rId23" Type="http://schemas.openxmlformats.org/officeDocument/2006/relationships/slide" Target="slides/slide1.xml"/><Relationship Id="rId119" Type="http://schemas.openxmlformats.org/officeDocument/2006/relationships/slide" Target="slides/slide97.xml"/><Relationship Id="rId44" Type="http://schemas.openxmlformats.org/officeDocument/2006/relationships/slide" Target="slides/slide22.xml"/><Relationship Id="rId65" Type="http://schemas.openxmlformats.org/officeDocument/2006/relationships/slide" Target="slides/slide43.xml"/><Relationship Id="rId86" Type="http://schemas.openxmlformats.org/officeDocument/2006/relationships/slide" Target="slides/slide64.xml"/><Relationship Id="rId130" Type="http://schemas.openxmlformats.org/officeDocument/2006/relationships/slide" Target="slides/slide108.xml"/><Relationship Id="rId151" Type="http://schemas.openxmlformats.org/officeDocument/2006/relationships/slide" Target="slides/slide129.xml"/><Relationship Id="rId172" Type="http://schemas.openxmlformats.org/officeDocument/2006/relationships/slide" Target="slides/slide150.xml"/><Relationship Id="rId193" Type="http://schemas.openxmlformats.org/officeDocument/2006/relationships/slide" Target="slides/slide171.xml"/><Relationship Id="rId207" Type="http://schemas.microsoft.com/office/2016/11/relationships/changesInfo" Target="changesInfos/changesInfo1.xml"/><Relationship Id="rId13" Type="http://schemas.openxmlformats.org/officeDocument/2006/relationships/slideMaster" Target="slideMasters/slideMaster10.xml"/><Relationship Id="rId109" Type="http://schemas.openxmlformats.org/officeDocument/2006/relationships/slide" Target="slides/slide87.xml"/><Relationship Id="rId34" Type="http://schemas.openxmlformats.org/officeDocument/2006/relationships/slide" Target="slides/slide12.xml"/><Relationship Id="rId55" Type="http://schemas.openxmlformats.org/officeDocument/2006/relationships/slide" Target="slides/slide33.xml"/><Relationship Id="rId76" Type="http://schemas.openxmlformats.org/officeDocument/2006/relationships/slide" Target="slides/slide54.xml"/><Relationship Id="rId97" Type="http://schemas.openxmlformats.org/officeDocument/2006/relationships/slide" Target="slides/slide75.xml"/><Relationship Id="rId120" Type="http://schemas.openxmlformats.org/officeDocument/2006/relationships/slide" Target="slides/slide98.xml"/><Relationship Id="rId141" Type="http://schemas.openxmlformats.org/officeDocument/2006/relationships/slide" Target="slides/slide119.xml"/><Relationship Id="rId7" Type="http://schemas.openxmlformats.org/officeDocument/2006/relationships/slideMaster" Target="slideMasters/slideMaster4.xml"/><Relationship Id="rId162" Type="http://schemas.openxmlformats.org/officeDocument/2006/relationships/slide" Target="slides/slide140.xml"/><Relationship Id="rId183" Type="http://schemas.openxmlformats.org/officeDocument/2006/relationships/slide" Target="slides/slide161.xml"/><Relationship Id="rId24" Type="http://schemas.openxmlformats.org/officeDocument/2006/relationships/slide" Target="slides/slide2.xml"/><Relationship Id="rId40" Type="http://schemas.openxmlformats.org/officeDocument/2006/relationships/slide" Target="slides/slide18.xml"/><Relationship Id="rId45" Type="http://schemas.openxmlformats.org/officeDocument/2006/relationships/slide" Target="slides/slide23.xml"/><Relationship Id="rId66" Type="http://schemas.openxmlformats.org/officeDocument/2006/relationships/slide" Target="slides/slide44.xml"/><Relationship Id="rId87" Type="http://schemas.openxmlformats.org/officeDocument/2006/relationships/slide" Target="slides/slide65.xml"/><Relationship Id="rId110" Type="http://schemas.openxmlformats.org/officeDocument/2006/relationships/slide" Target="slides/slide88.xml"/><Relationship Id="rId115" Type="http://schemas.openxmlformats.org/officeDocument/2006/relationships/slide" Target="slides/slide93.xml"/><Relationship Id="rId131" Type="http://schemas.openxmlformats.org/officeDocument/2006/relationships/slide" Target="slides/slide109.xml"/><Relationship Id="rId136" Type="http://schemas.openxmlformats.org/officeDocument/2006/relationships/slide" Target="slides/slide114.xml"/><Relationship Id="rId157" Type="http://schemas.openxmlformats.org/officeDocument/2006/relationships/slide" Target="slides/slide135.xml"/><Relationship Id="rId178" Type="http://schemas.openxmlformats.org/officeDocument/2006/relationships/slide" Target="slides/slide156.xml"/><Relationship Id="rId61" Type="http://schemas.openxmlformats.org/officeDocument/2006/relationships/slide" Target="slides/slide39.xml"/><Relationship Id="rId82" Type="http://schemas.openxmlformats.org/officeDocument/2006/relationships/slide" Target="slides/slide60.xml"/><Relationship Id="rId152" Type="http://schemas.openxmlformats.org/officeDocument/2006/relationships/slide" Target="slides/slide130.xml"/><Relationship Id="rId173" Type="http://schemas.openxmlformats.org/officeDocument/2006/relationships/slide" Target="slides/slide151.xml"/><Relationship Id="rId194" Type="http://schemas.openxmlformats.org/officeDocument/2006/relationships/slide" Target="slides/slide172.xml"/><Relationship Id="rId199" Type="http://schemas.openxmlformats.org/officeDocument/2006/relationships/slide" Target="slides/slide177.xml"/><Relationship Id="rId203" Type="http://schemas.openxmlformats.org/officeDocument/2006/relationships/presProps" Target="presProps.xml"/><Relationship Id="rId208" Type="http://schemas.microsoft.com/office/2015/10/relationships/revisionInfo" Target="revisionInfo.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8.xml"/><Relationship Id="rId35" Type="http://schemas.openxmlformats.org/officeDocument/2006/relationships/slide" Target="slides/slide13.xml"/><Relationship Id="rId56" Type="http://schemas.openxmlformats.org/officeDocument/2006/relationships/slide" Target="slides/slide34.xml"/><Relationship Id="rId77" Type="http://schemas.openxmlformats.org/officeDocument/2006/relationships/slide" Target="slides/slide55.xml"/><Relationship Id="rId100" Type="http://schemas.openxmlformats.org/officeDocument/2006/relationships/slide" Target="slides/slide78.xml"/><Relationship Id="rId105" Type="http://schemas.openxmlformats.org/officeDocument/2006/relationships/slide" Target="slides/slide83.xml"/><Relationship Id="rId126" Type="http://schemas.openxmlformats.org/officeDocument/2006/relationships/slide" Target="slides/slide104.xml"/><Relationship Id="rId147" Type="http://schemas.openxmlformats.org/officeDocument/2006/relationships/slide" Target="slides/slide125.xml"/><Relationship Id="rId168" Type="http://schemas.openxmlformats.org/officeDocument/2006/relationships/slide" Target="slides/slide146.xml"/><Relationship Id="rId8" Type="http://schemas.openxmlformats.org/officeDocument/2006/relationships/slideMaster" Target="slideMasters/slideMaster5.xml"/><Relationship Id="rId51" Type="http://schemas.openxmlformats.org/officeDocument/2006/relationships/slide" Target="slides/slide29.xml"/><Relationship Id="rId72" Type="http://schemas.openxmlformats.org/officeDocument/2006/relationships/slide" Target="slides/slide50.xml"/><Relationship Id="rId93" Type="http://schemas.openxmlformats.org/officeDocument/2006/relationships/slide" Target="slides/slide71.xml"/><Relationship Id="rId98" Type="http://schemas.openxmlformats.org/officeDocument/2006/relationships/slide" Target="slides/slide76.xml"/><Relationship Id="rId121" Type="http://schemas.openxmlformats.org/officeDocument/2006/relationships/slide" Target="slides/slide99.xml"/><Relationship Id="rId142" Type="http://schemas.openxmlformats.org/officeDocument/2006/relationships/slide" Target="slides/slide120.xml"/><Relationship Id="rId163" Type="http://schemas.openxmlformats.org/officeDocument/2006/relationships/slide" Target="slides/slide141.xml"/><Relationship Id="rId184" Type="http://schemas.openxmlformats.org/officeDocument/2006/relationships/slide" Target="slides/slide162.xml"/><Relationship Id="rId189" Type="http://schemas.openxmlformats.org/officeDocument/2006/relationships/slide" Target="slides/slide167.xml"/><Relationship Id="rId3" Type="http://schemas.openxmlformats.org/officeDocument/2006/relationships/customXml" Target="../customXml/item3.xml"/><Relationship Id="rId25" Type="http://schemas.openxmlformats.org/officeDocument/2006/relationships/slide" Target="slides/slide3.xml"/><Relationship Id="rId46" Type="http://schemas.openxmlformats.org/officeDocument/2006/relationships/slide" Target="slides/slide24.xml"/><Relationship Id="rId67" Type="http://schemas.openxmlformats.org/officeDocument/2006/relationships/slide" Target="slides/slide45.xml"/><Relationship Id="rId116" Type="http://schemas.openxmlformats.org/officeDocument/2006/relationships/slide" Target="slides/slide94.xml"/><Relationship Id="rId137" Type="http://schemas.openxmlformats.org/officeDocument/2006/relationships/slide" Target="slides/slide115.xml"/><Relationship Id="rId158" Type="http://schemas.openxmlformats.org/officeDocument/2006/relationships/slide" Target="slides/slide136.xml"/><Relationship Id="rId20" Type="http://schemas.openxmlformats.org/officeDocument/2006/relationships/slideMaster" Target="slideMasters/slideMaster17.xml"/><Relationship Id="rId41" Type="http://schemas.openxmlformats.org/officeDocument/2006/relationships/slide" Target="slides/slide19.xml"/><Relationship Id="rId62" Type="http://schemas.openxmlformats.org/officeDocument/2006/relationships/slide" Target="slides/slide40.xml"/><Relationship Id="rId83" Type="http://schemas.openxmlformats.org/officeDocument/2006/relationships/slide" Target="slides/slide61.xml"/><Relationship Id="rId88" Type="http://schemas.openxmlformats.org/officeDocument/2006/relationships/slide" Target="slides/slide66.xml"/><Relationship Id="rId111" Type="http://schemas.openxmlformats.org/officeDocument/2006/relationships/slide" Target="slides/slide89.xml"/><Relationship Id="rId132" Type="http://schemas.openxmlformats.org/officeDocument/2006/relationships/slide" Target="slides/slide110.xml"/><Relationship Id="rId153" Type="http://schemas.openxmlformats.org/officeDocument/2006/relationships/slide" Target="slides/slide131.xml"/><Relationship Id="rId174" Type="http://schemas.openxmlformats.org/officeDocument/2006/relationships/slide" Target="slides/slide152.xml"/><Relationship Id="rId179" Type="http://schemas.openxmlformats.org/officeDocument/2006/relationships/slide" Target="slides/slide157.xml"/><Relationship Id="rId195" Type="http://schemas.openxmlformats.org/officeDocument/2006/relationships/slide" Target="slides/slide173.xml"/><Relationship Id="rId190" Type="http://schemas.openxmlformats.org/officeDocument/2006/relationships/slide" Target="slides/slide168.xml"/><Relationship Id="rId204" Type="http://schemas.openxmlformats.org/officeDocument/2006/relationships/viewProps" Target="viewProps.xml"/><Relationship Id="rId15" Type="http://schemas.openxmlformats.org/officeDocument/2006/relationships/slideMaster" Target="slideMasters/slideMaster12.xml"/><Relationship Id="rId36" Type="http://schemas.openxmlformats.org/officeDocument/2006/relationships/slide" Target="slides/slide14.xml"/><Relationship Id="rId57" Type="http://schemas.openxmlformats.org/officeDocument/2006/relationships/slide" Target="slides/slide35.xml"/><Relationship Id="rId106" Type="http://schemas.openxmlformats.org/officeDocument/2006/relationships/slide" Target="slides/slide84.xml"/><Relationship Id="rId127" Type="http://schemas.openxmlformats.org/officeDocument/2006/relationships/slide" Target="slides/slide105.xml"/><Relationship Id="rId10" Type="http://schemas.openxmlformats.org/officeDocument/2006/relationships/slideMaster" Target="slideMasters/slideMaster7.xml"/><Relationship Id="rId31" Type="http://schemas.openxmlformats.org/officeDocument/2006/relationships/slide" Target="slides/slide9.xml"/><Relationship Id="rId52" Type="http://schemas.openxmlformats.org/officeDocument/2006/relationships/slide" Target="slides/slide30.xml"/><Relationship Id="rId73" Type="http://schemas.openxmlformats.org/officeDocument/2006/relationships/slide" Target="slides/slide51.xml"/><Relationship Id="rId78" Type="http://schemas.openxmlformats.org/officeDocument/2006/relationships/slide" Target="slides/slide56.xml"/><Relationship Id="rId94" Type="http://schemas.openxmlformats.org/officeDocument/2006/relationships/slide" Target="slides/slide72.xml"/><Relationship Id="rId99" Type="http://schemas.openxmlformats.org/officeDocument/2006/relationships/slide" Target="slides/slide77.xml"/><Relationship Id="rId101" Type="http://schemas.openxmlformats.org/officeDocument/2006/relationships/slide" Target="slides/slide79.xml"/><Relationship Id="rId122" Type="http://schemas.openxmlformats.org/officeDocument/2006/relationships/slide" Target="slides/slide100.xml"/><Relationship Id="rId143" Type="http://schemas.openxmlformats.org/officeDocument/2006/relationships/slide" Target="slides/slide121.xml"/><Relationship Id="rId148" Type="http://schemas.openxmlformats.org/officeDocument/2006/relationships/slide" Target="slides/slide126.xml"/><Relationship Id="rId164" Type="http://schemas.openxmlformats.org/officeDocument/2006/relationships/slide" Target="slides/slide142.xml"/><Relationship Id="rId169" Type="http://schemas.openxmlformats.org/officeDocument/2006/relationships/slide" Target="slides/slide147.xml"/><Relationship Id="rId185" Type="http://schemas.openxmlformats.org/officeDocument/2006/relationships/slide" Target="slides/slide163.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58.xml"/><Relationship Id="rId26" Type="http://schemas.openxmlformats.org/officeDocument/2006/relationships/slide" Target="slides/slide4.xml"/><Relationship Id="rId47" Type="http://schemas.openxmlformats.org/officeDocument/2006/relationships/slide" Target="slides/slide25.xml"/><Relationship Id="rId68" Type="http://schemas.openxmlformats.org/officeDocument/2006/relationships/slide" Target="slides/slide46.xml"/><Relationship Id="rId89" Type="http://schemas.openxmlformats.org/officeDocument/2006/relationships/slide" Target="slides/slide67.xml"/><Relationship Id="rId112" Type="http://schemas.openxmlformats.org/officeDocument/2006/relationships/slide" Target="slides/slide90.xml"/><Relationship Id="rId133" Type="http://schemas.openxmlformats.org/officeDocument/2006/relationships/slide" Target="slides/slide111.xml"/><Relationship Id="rId154" Type="http://schemas.openxmlformats.org/officeDocument/2006/relationships/slide" Target="slides/slide132.xml"/><Relationship Id="rId175" Type="http://schemas.openxmlformats.org/officeDocument/2006/relationships/slide" Target="slides/slide153.xml"/><Relationship Id="rId196" Type="http://schemas.openxmlformats.org/officeDocument/2006/relationships/slide" Target="slides/slide174.xml"/><Relationship Id="rId200" Type="http://schemas.openxmlformats.org/officeDocument/2006/relationships/slide" Target="slides/slide178.xml"/><Relationship Id="rId16" Type="http://schemas.openxmlformats.org/officeDocument/2006/relationships/slideMaster" Target="slideMasters/slideMaster13.xml"/><Relationship Id="rId37" Type="http://schemas.openxmlformats.org/officeDocument/2006/relationships/slide" Target="slides/slide15.xml"/><Relationship Id="rId58" Type="http://schemas.openxmlformats.org/officeDocument/2006/relationships/slide" Target="slides/slide36.xml"/><Relationship Id="rId79" Type="http://schemas.openxmlformats.org/officeDocument/2006/relationships/slide" Target="slides/slide57.xml"/><Relationship Id="rId102" Type="http://schemas.openxmlformats.org/officeDocument/2006/relationships/slide" Target="slides/slide80.xml"/><Relationship Id="rId123" Type="http://schemas.openxmlformats.org/officeDocument/2006/relationships/slide" Target="slides/slide101.xml"/><Relationship Id="rId144" Type="http://schemas.openxmlformats.org/officeDocument/2006/relationships/slide" Target="slides/slide122.xml"/><Relationship Id="rId90" Type="http://schemas.openxmlformats.org/officeDocument/2006/relationships/slide" Target="slides/slide68.xml"/><Relationship Id="rId165" Type="http://schemas.openxmlformats.org/officeDocument/2006/relationships/slide" Target="slides/slide143.xml"/><Relationship Id="rId186" Type="http://schemas.openxmlformats.org/officeDocument/2006/relationships/slide" Target="slides/slide164.xml"/><Relationship Id="rId27" Type="http://schemas.openxmlformats.org/officeDocument/2006/relationships/slide" Target="slides/slide5.xml"/><Relationship Id="rId48" Type="http://schemas.openxmlformats.org/officeDocument/2006/relationships/slide" Target="slides/slide26.xml"/><Relationship Id="rId69" Type="http://schemas.openxmlformats.org/officeDocument/2006/relationships/slide" Target="slides/slide47.xml"/><Relationship Id="rId113" Type="http://schemas.openxmlformats.org/officeDocument/2006/relationships/slide" Target="slides/slide91.xml"/><Relationship Id="rId134" Type="http://schemas.openxmlformats.org/officeDocument/2006/relationships/slide" Target="slides/slide112.xml"/><Relationship Id="rId80" Type="http://schemas.openxmlformats.org/officeDocument/2006/relationships/slide" Target="slides/slide58.xml"/><Relationship Id="rId155" Type="http://schemas.openxmlformats.org/officeDocument/2006/relationships/slide" Target="slides/slide133.xml"/><Relationship Id="rId176" Type="http://schemas.openxmlformats.org/officeDocument/2006/relationships/slide" Target="slides/slide154.xml"/><Relationship Id="rId197" Type="http://schemas.openxmlformats.org/officeDocument/2006/relationships/slide" Target="slides/slide175.xml"/><Relationship Id="rId201" Type="http://schemas.openxmlformats.org/officeDocument/2006/relationships/notesMaster" Target="notesMasters/notesMaster1.xml"/><Relationship Id="rId17" Type="http://schemas.openxmlformats.org/officeDocument/2006/relationships/slideMaster" Target="slideMasters/slideMaster14.xml"/><Relationship Id="rId38" Type="http://schemas.openxmlformats.org/officeDocument/2006/relationships/slide" Target="slides/slide16.xml"/><Relationship Id="rId59" Type="http://schemas.openxmlformats.org/officeDocument/2006/relationships/slide" Target="slides/slide37.xml"/><Relationship Id="rId103" Type="http://schemas.openxmlformats.org/officeDocument/2006/relationships/slide" Target="slides/slide81.xml"/><Relationship Id="rId124" Type="http://schemas.openxmlformats.org/officeDocument/2006/relationships/slide" Target="slides/slide102.xml"/><Relationship Id="rId70" Type="http://schemas.openxmlformats.org/officeDocument/2006/relationships/slide" Target="slides/slide48.xml"/><Relationship Id="rId91" Type="http://schemas.openxmlformats.org/officeDocument/2006/relationships/slide" Target="slides/slide69.xml"/><Relationship Id="rId145" Type="http://schemas.openxmlformats.org/officeDocument/2006/relationships/slide" Target="slides/slide123.xml"/><Relationship Id="rId166" Type="http://schemas.openxmlformats.org/officeDocument/2006/relationships/slide" Target="slides/slide144.xml"/><Relationship Id="rId187" Type="http://schemas.openxmlformats.org/officeDocument/2006/relationships/slide" Target="slides/slide165.xml"/><Relationship Id="rId1" Type="http://schemas.openxmlformats.org/officeDocument/2006/relationships/customXml" Target="../customXml/item1.xml"/><Relationship Id="rId28" Type="http://schemas.openxmlformats.org/officeDocument/2006/relationships/slide" Target="slides/slide6.xml"/><Relationship Id="rId49" Type="http://schemas.openxmlformats.org/officeDocument/2006/relationships/slide" Target="slides/slide27.xml"/><Relationship Id="rId114" Type="http://schemas.openxmlformats.org/officeDocument/2006/relationships/slide" Target="slides/slide92.xml"/><Relationship Id="rId60" Type="http://schemas.openxmlformats.org/officeDocument/2006/relationships/slide" Target="slides/slide38.xml"/><Relationship Id="rId81" Type="http://schemas.openxmlformats.org/officeDocument/2006/relationships/slide" Target="slides/slide59.xml"/><Relationship Id="rId135" Type="http://schemas.openxmlformats.org/officeDocument/2006/relationships/slide" Target="slides/slide113.xml"/><Relationship Id="rId156" Type="http://schemas.openxmlformats.org/officeDocument/2006/relationships/slide" Target="slides/slide134.xml"/><Relationship Id="rId177" Type="http://schemas.openxmlformats.org/officeDocument/2006/relationships/slide" Target="slides/slide155.xml"/><Relationship Id="rId198" Type="http://schemas.openxmlformats.org/officeDocument/2006/relationships/slide" Target="slides/slide176.xml"/><Relationship Id="rId202" Type="http://schemas.openxmlformats.org/officeDocument/2006/relationships/handoutMaster" Target="handoutMasters/handoutMaster1.xml"/><Relationship Id="rId18" Type="http://schemas.openxmlformats.org/officeDocument/2006/relationships/slideMaster" Target="slideMasters/slideMaster15.xml"/><Relationship Id="rId39" Type="http://schemas.openxmlformats.org/officeDocument/2006/relationships/slide" Target="slides/slide17.xml"/><Relationship Id="rId50" Type="http://schemas.openxmlformats.org/officeDocument/2006/relationships/slide" Target="slides/slide28.xml"/><Relationship Id="rId104" Type="http://schemas.openxmlformats.org/officeDocument/2006/relationships/slide" Target="slides/slide82.xml"/><Relationship Id="rId125" Type="http://schemas.openxmlformats.org/officeDocument/2006/relationships/slide" Target="slides/slide103.xml"/><Relationship Id="rId146" Type="http://schemas.openxmlformats.org/officeDocument/2006/relationships/slide" Target="slides/slide124.xml"/><Relationship Id="rId167" Type="http://schemas.openxmlformats.org/officeDocument/2006/relationships/slide" Target="slides/slide145.xml"/><Relationship Id="rId188" Type="http://schemas.openxmlformats.org/officeDocument/2006/relationships/slide" Target="slides/slide166.xml"/><Relationship Id="rId71" Type="http://schemas.openxmlformats.org/officeDocument/2006/relationships/slide" Target="slides/slide49.xml"/><Relationship Id="rId92" Type="http://schemas.openxmlformats.org/officeDocument/2006/relationships/slide" Target="slides/slide70.xml"/><Relationship Id="rId2" Type="http://schemas.openxmlformats.org/officeDocument/2006/relationships/customXml" Target="../customXml/item2.xml"/><Relationship Id="rId29"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ean Gallagher" userId="577446c3-45ae-4097-b8f0-9d862fa3a0df" providerId="ADAL" clId="{745C9583-45C5-47D3-8071-B764E5296B11}"/>
    <pc:docChg chg="undo custSel addSld delSld modSld sldOrd modMainMaster">
      <pc:chgData name="Sean Gallagher" userId="577446c3-45ae-4097-b8f0-9d862fa3a0df" providerId="ADAL" clId="{745C9583-45C5-47D3-8071-B764E5296B11}" dt="2024-04-29T15:17:40.743" v="40" actId="47"/>
      <pc:docMkLst>
        <pc:docMk/>
      </pc:docMkLst>
      <pc:sldChg chg="add ord">
        <pc:chgData name="Sean Gallagher" userId="577446c3-45ae-4097-b8f0-9d862fa3a0df" providerId="ADAL" clId="{745C9583-45C5-47D3-8071-B764E5296B11}" dt="2024-04-29T14:53:22.237" v="5"/>
        <pc:sldMkLst>
          <pc:docMk/>
          <pc:sldMk cId="3675703319" sldId="279"/>
        </pc:sldMkLst>
      </pc:sldChg>
      <pc:sldChg chg="modSp mod">
        <pc:chgData name="Sean Gallagher" userId="577446c3-45ae-4097-b8f0-9d862fa3a0df" providerId="ADAL" clId="{745C9583-45C5-47D3-8071-B764E5296B11}" dt="2024-04-29T14:57:43.431" v="35" actId="404"/>
        <pc:sldMkLst>
          <pc:docMk/>
          <pc:sldMk cId="3111996064" sldId="2134958649"/>
        </pc:sldMkLst>
        <pc:spChg chg="mod">
          <ac:chgData name="Sean Gallagher" userId="577446c3-45ae-4097-b8f0-9d862fa3a0df" providerId="ADAL" clId="{745C9583-45C5-47D3-8071-B764E5296B11}" dt="2024-04-29T14:57:43.431" v="35" actId="404"/>
          <ac:spMkLst>
            <pc:docMk/>
            <pc:sldMk cId="3111996064" sldId="2134958649"/>
            <ac:spMk id="3" creationId="{AE7567E0-9FB4-E2D0-F57B-56251EA6FA1C}"/>
          </ac:spMkLst>
        </pc:spChg>
      </pc:sldChg>
      <pc:sldChg chg="addSp delSp modSp add del mod">
        <pc:chgData name="Sean Gallagher" userId="577446c3-45ae-4097-b8f0-9d862fa3a0df" providerId="ADAL" clId="{745C9583-45C5-47D3-8071-B764E5296B11}" dt="2024-04-29T15:17:40.743" v="40" actId="47"/>
        <pc:sldMkLst>
          <pc:docMk/>
          <pc:sldMk cId="4281471524" sldId="2134958655"/>
        </pc:sldMkLst>
        <pc:picChg chg="add mod">
          <ac:chgData name="Sean Gallagher" userId="577446c3-45ae-4097-b8f0-9d862fa3a0df" providerId="ADAL" clId="{745C9583-45C5-47D3-8071-B764E5296B11}" dt="2024-04-29T14:55:18.115" v="22" actId="1076"/>
          <ac:picMkLst>
            <pc:docMk/>
            <pc:sldMk cId="4281471524" sldId="2134958655"/>
            <ac:picMk id="3" creationId="{B3F74BC7-42D0-1FDA-778F-7867C05D337B}"/>
          </ac:picMkLst>
        </pc:picChg>
        <pc:picChg chg="del">
          <ac:chgData name="Sean Gallagher" userId="577446c3-45ae-4097-b8f0-9d862fa3a0df" providerId="ADAL" clId="{745C9583-45C5-47D3-8071-B764E5296B11}" dt="2024-04-29T14:53:48.151" v="9" actId="478"/>
          <ac:picMkLst>
            <pc:docMk/>
            <pc:sldMk cId="4281471524" sldId="2134958655"/>
            <ac:picMk id="5" creationId="{FB595AA7-1B5E-C3BE-C95B-82B408E89F5D}"/>
          </ac:picMkLst>
        </pc:picChg>
        <pc:picChg chg="add mod">
          <ac:chgData name="Sean Gallagher" userId="577446c3-45ae-4097-b8f0-9d862fa3a0df" providerId="ADAL" clId="{745C9583-45C5-47D3-8071-B764E5296B11}" dt="2024-04-29T14:55:19.780" v="23" actId="1076"/>
          <ac:picMkLst>
            <pc:docMk/>
            <pc:sldMk cId="4281471524" sldId="2134958655"/>
            <ac:picMk id="7" creationId="{3BEAA07C-81C7-68EF-6A8A-874982EB39F5}"/>
          </ac:picMkLst>
        </pc:picChg>
        <pc:picChg chg="del">
          <ac:chgData name="Sean Gallagher" userId="577446c3-45ae-4097-b8f0-9d862fa3a0df" providerId="ADAL" clId="{745C9583-45C5-47D3-8071-B764E5296B11}" dt="2024-04-29T14:53:49.721" v="10" actId="478"/>
          <ac:picMkLst>
            <pc:docMk/>
            <pc:sldMk cId="4281471524" sldId="2134958655"/>
            <ac:picMk id="8" creationId="{7D2B56A4-0F02-B458-ED4E-A0CB9D9CBF13}"/>
          </ac:picMkLst>
        </pc:picChg>
      </pc:sldChg>
      <pc:sldChg chg="modSp mod">
        <pc:chgData name="Sean Gallagher" userId="577446c3-45ae-4097-b8f0-9d862fa3a0df" providerId="ADAL" clId="{745C9583-45C5-47D3-8071-B764E5296B11}" dt="2024-04-29T14:53:43.834" v="8" actId="113"/>
        <pc:sldMkLst>
          <pc:docMk/>
          <pc:sldMk cId="1250068653" sldId="2134958656"/>
        </pc:sldMkLst>
        <pc:spChg chg="mod">
          <ac:chgData name="Sean Gallagher" userId="577446c3-45ae-4097-b8f0-9d862fa3a0df" providerId="ADAL" clId="{745C9583-45C5-47D3-8071-B764E5296B11}" dt="2024-04-29T14:53:43.834" v="8" actId="113"/>
          <ac:spMkLst>
            <pc:docMk/>
            <pc:sldMk cId="1250068653" sldId="2134958656"/>
            <ac:spMk id="2" creationId="{00000000-0000-0000-0000-000000000000}"/>
          </ac:spMkLst>
        </pc:spChg>
      </pc:sldChg>
      <pc:sldChg chg="del">
        <pc:chgData name="Sean Gallagher" userId="577446c3-45ae-4097-b8f0-9d862fa3a0df" providerId="ADAL" clId="{745C9583-45C5-47D3-8071-B764E5296B11}" dt="2024-04-29T14:53:10.495" v="0" actId="47"/>
        <pc:sldMkLst>
          <pc:docMk/>
          <pc:sldMk cId="4041399824" sldId="2134958657"/>
        </pc:sldMkLst>
      </pc:sldChg>
      <pc:sldMasterChg chg="addSp modSp mod">
        <pc:chgData name="Sean Gallagher" userId="577446c3-45ae-4097-b8f0-9d862fa3a0df" providerId="ADAL" clId="{745C9583-45C5-47D3-8071-B764E5296B11}" dt="2024-04-29T14:58:53.663" v="38" actId="1076"/>
        <pc:sldMasterMkLst>
          <pc:docMk/>
          <pc:sldMasterMk cId="1070809925" sldId="2147483692"/>
        </pc:sldMasterMkLst>
        <pc:picChg chg="add mod">
          <ac:chgData name="Sean Gallagher" userId="577446c3-45ae-4097-b8f0-9d862fa3a0df" providerId="ADAL" clId="{745C9583-45C5-47D3-8071-B764E5296B11}" dt="2024-04-29T14:58:53.663" v="38" actId="1076"/>
          <ac:picMkLst>
            <pc:docMk/>
            <pc:sldMasterMk cId="1070809925" sldId="2147483692"/>
            <ac:picMk id="2" creationId="{74D0F7A2-81A2-FAE4-3E41-D96010523B7D}"/>
          </ac:picMkLst>
        </pc:picChg>
      </pc:sldMasterChg>
    </pc:docChg>
  </pc:docChgLst>
  <pc:docChgLst>
    <pc:chgData name="Sean Gallagher" userId="577446c3-45ae-4097-b8f0-9d862fa3a0df" providerId="ADAL" clId="{ACC44D45-7AAF-4F89-AE4D-9E5BDA7FB0C9}"/>
    <pc:docChg chg="custSel addSld delSld modSld sldOrd modMainMaster">
      <pc:chgData name="Sean Gallagher" userId="577446c3-45ae-4097-b8f0-9d862fa3a0df" providerId="ADAL" clId="{ACC44D45-7AAF-4F89-AE4D-9E5BDA7FB0C9}" dt="2023-11-30T15:15:15.114" v="118" actId="1076"/>
      <pc:docMkLst>
        <pc:docMk/>
      </pc:docMkLst>
      <pc:sldChg chg="add del ord">
        <pc:chgData name="Sean Gallagher" userId="577446c3-45ae-4097-b8f0-9d862fa3a0df" providerId="ADAL" clId="{ACC44D45-7AAF-4F89-AE4D-9E5BDA7FB0C9}" dt="2023-11-30T14:40:46.572" v="3"/>
        <pc:sldMkLst>
          <pc:docMk/>
          <pc:sldMk cId="1770905082" sldId="269"/>
        </pc:sldMkLst>
      </pc:sldChg>
      <pc:sldChg chg="modSp mod">
        <pc:chgData name="Sean Gallagher" userId="577446c3-45ae-4097-b8f0-9d862fa3a0df" providerId="ADAL" clId="{ACC44D45-7AAF-4F89-AE4D-9E5BDA7FB0C9}" dt="2023-11-30T15:13:15.778" v="107" actId="20577"/>
        <pc:sldMkLst>
          <pc:docMk/>
          <pc:sldMk cId="3111996064" sldId="2134958649"/>
        </pc:sldMkLst>
        <pc:spChg chg="mod">
          <ac:chgData name="Sean Gallagher" userId="577446c3-45ae-4097-b8f0-9d862fa3a0df" providerId="ADAL" clId="{ACC44D45-7AAF-4F89-AE4D-9E5BDA7FB0C9}" dt="2023-11-30T15:13:15.778" v="107" actId="20577"/>
          <ac:spMkLst>
            <pc:docMk/>
            <pc:sldMk cId="3111996064" sldId="2134958649"/>
            <ac:spMk id="3" creationId="{AE7567E0-9FB4-E2D0-F57B-56251EA6FA1C}"/>
          </ac:spMkLst>
        </pc:spChg>
      </pc:sldChg>
      <pc:sldChg chg="modSp mod">
        <pc:chgData name="Sean Gallagher" userId="577446c3-45ae-4097-b8f0-9d862fa3a0df" providerId="ADAL" clId="{ACC44D45-7AAF-4F89-AE4D-9E5BDA7FB0C9}" dt="2023-11-30T15:15:15.114" v="118" actId="1076"/>
        <pc:sldMkLst>
          <pc:docMk/>
          <pc:sldMk cId="548871033" sldId="2134958650"/>
        </pc:sldMkLst>
        <pc:picChg chg="mod">
          <ac:chgData name="Sean Gallagher" userId="577446c3-45ae-4097-b8f0-9d862fa3a0df" providerId="ADAL" clId="{ACC44D45-7AAF-4F89-AE4D-9E5BDA7FB0C9}" dt="2023-11-30T15:15:15.114" v="118" actId="1076"/>
          <ac:picMkLst>
            <pc:docMk/>
            <pc:sldMk cId="548871033" sldId="2134958650"/>
            <ac:picMk id="5" creationId="{B7E43BC3-672D-24DC-CC75-0B51AD1CD7C1}"/>
          </ac:picMkLst>
        </pc:picChg>
      </pc:sldChg>
      <pc:sldChg chg="addSp delSp modSp mod">
        <pc:chgData name="Sean Gallagher" userId="577446c3-45ae-4097-b8f0-9d862fa3a0df" providerId="ADAL" clId="{ACC44D45-7AAF-4F89-AE4D-9E5BDA7FB0C9}" dt="2023-11-30T14:59:30.605" v="23" actId="1076"/>
        <pc:sldMkLst>
          <pc:docMk/>
          <pc:sldMk cId="4281471524" sldId="2134958655"/>
        </pc:sldMkLst>
        <pc:picChg chg="add mod">
          <ac:chgData name="Sean Gallagher" userId="577446c3-45ae-4097-b8f0-9d862fa3a0df" providerId="ADAL" clId="{ACC44D45-7AAF-4F89-AE4D-9E5BDA7FB0C9}" dt="2023-11-30T14:59:30.605" v="23" actId="1076"/>
          <ac:picMkLst>
            <pc:docMk/>
            <pc:sldMk cId="4281471524" sldId="2134958655"/>
            <ac:picMk id="3" creationId="{68693916-6A76-8EAB-BCA1-29D906795EE4}"/>
          </ac:picMkLst>
        </pc:picChg>
        <pc:picChg chg="del">
          <ac:chgData name="Sean Gallagher" userId="577446c3-45ae-4097-b8f0-9d862fa3a0df" providerId="ADAL" clId="{ACC44D45-7AAF-4F89-AE4D-9E5BDA7FB0C9}" dt="2023-11-30T14:53:05.804" v="7" actId="478"/>
          <ac:picMkLst>
            <pc:docMk/>
            <pc:sldMk cId="4281471524" sldId="2134958655"/>
            <ac:picMk id="5" creationId="{B9E12EA1-AA94-8202-2181-843995F10958}"/>
          </ac:picMkLst>
        </pc:picChg>
        <pc:picChg chg="add mod">
          <ac:chgData name="Sean Gallagher" userId="577446c3-45ae-4097-b8f0-9d862fa3a0df" providerId="ADAL" clId="{ACC44D45-7AAF-4F89-AE4D-9E5BDA7FB0C9}" dt="2023-11-30T14:59:22.471" v="22" actId="1076"/>
          <ac:picMkLst>
            <pc:docMk/>
            <pc:sldMk cId="4281471524" sldId="2134958655"/>
            <ac:picMk id="7" creationId="{5F418658-5493-A8A1-F75E-D85E2C5FFE8D}"/>
          </ac:picMkLst>
        </pc:picChg>
        <pc:picChg chg="mod">
          <ac:chgData name="Sean Gallagher" userId="577446c3-45ae-4097-b8f0-9d862fa3a0df" providerId="ADAL" clId="{ACC44D45-7AAF-4F89-AE4D-9E5BDA7FB0C9}" dt="2023-11-30T14:59:19.328" v="21" actId="1076"/>
          <ac:picMkLst>
            <pc:docMk/>
            <pc:sldMk cId="4281471524" sldId="2134958655"/>
            <ac:picMk id="8" creationId="{77AF75E9-8743-794D-5E44-1F4C34773734}"/>
          </ac:picMkLst>
        </pc:picChg>
        <pc:picChg chg="del">
          <ac:chgData name="Sean Gallagher" userId="577446c3-45ae-4097-b8f0-9d862fa3a0df" providerId="ADAL" clId="{ACC44D45-7AAF-4F89-AE4D-9E5BDA7FB0C9}" dt="2023-11-30T14:53:06.239" v="8" actId="478"/>
          <ac:picMkLst>
            <pc:docMk/>
            <pc:sldMk cId="4281471524" sldId="2134958655"/>
            <ac:picMk id="12" creationId="{DDC78594-340B-F41F-2625-5EB7230C08D9}"/>
          </ac:picMkLst>
        </pc:picChg>
      </pc:sldChg>
      <pc:sldChg chg="modSp mod">
        <pc:chgData name="Sean Gallagher" userId="577446c3-45ae-4097-b8f0-9d862fa3a0df" providerId="ADAL" clId="{ACC44D45-7AAF-4F89-AE4D-9E5BDA7FB0C9}" dt="2023-11-30T14:51:57.433" v="6" actId="113"/>
        <pc:sldMkLst>
          <pc:docMk/>
          <pc:sldMk cId="1250068653" sldId="2134958656"/>
        </pc:sldMkLst>
        <pc:spChg chg="mod">
          <ac:chgData name="Sean Gallagher" userId="577446c3-45ae-4097-b8f0-9d862fa3a0df" providerId="ADAL" clId="{ACC44D45-7AAF-4F89-AE4D-9E5BDA7FB0C9}" dt="2023-11-30T14:51:57.433" v="6" actId="113"/>
          <ac:spMkLst>
            <pc:docMk/>
            <pc:sldMk cId="1250068653" sldId="2134958656"/>
            <ac:spMk id="2" creationId="{00000000-0000-0000-0000-000000000000}"/>
          </ac:spMkLst>
        </pc:spChg>
      </pc:sldChg>
      <pc:sldMasterChg chg="addSp delSp modSp mod">
        <pc:chgData name="Sean Gallagher" userId="577446c3-45ae-4097-b8f0-9d862fa3a0df" providerId="ADAL" clId="{ACC44D45-7AAF-4F89-AE4D-9E5BDA7FB0C9}" dt="2023-11-30T15:14:49.902" v="115" actId="1076"/>
        <pc:sldMasterMkLst>
          <pc:docMk/>
          <pc:sldMasterMk cId="1070809925" sldId="2147483692"/>
        </pc:sldMasterMkLst>
        <pc:picChg chg="add mod">
          <ac:chgData name="Sean Gallagher" userId="577446c3-45ae-4097-b8f0-9d862fa3a0df" providerId="ADAL" clId="{ACC44D45-7AAF-4F89-AE4D-9E5BDA7FB0C9}" dt="2023-11-30T15:14:49.902" v="115" actId="1076"/>
          <ac:picMkLst>
            <pc:docMk/>
            <pc:sldMasterMk cId="1070809925" sldId="2147483692"/>
            <ac:picMk id="3" creationId="{C10087DA-64A1-8C98-2319-2B5DF551EDB3}"/>
          </ac:picMkLst>
        </pc:picChg>
        <pc:picChg chg="del">
          <ac:chgData name="Sean Gallagher" userId="577446c3-45ae-4097-b8f0-9d862fa3a0df" providerId="ADAL" clId="{ACC44D45-7AAF-4F89-AE4D-9E5BDA7FB0C9}" dt="2023-11-30T15:14:30.341" v="108" actId="478"/>
          <ac:picMkLst>
            <pc:docMk/>
            <pc:sldMasterMk cId="1070809925" sldId="2147483692"/>
            <ac:picMk id="4" creationId="{52CCD6C4-9F58-3616-2E9B-9119F46CD5E5}"/>
          </ac:picMkLst>
        </pc:picChg>
      </pc:sldMasterChg>
    </pc:docChg>
  </pc:docChgLst>
  <pc:docChgLst>
    <pc:chgData name="Sean Gallagher" userId="577446c3-45ae-4097-b8f0-9d862fa3a0df" providerId="ADAL" clId="{C8FF2AE4-D582-4D51-9A92-76963FA39E0C}"/>
    <pc:docChg chg="undo redo custSel addSld delSld modSld">
      <pc:chgData name="Sean Gallagher" userId="577446c3-45ae-4097-b8f0-9d862fa3a0df" providerId="ADAL" clId="{C8FF2AE4-D582-4D51-9A92-76963FA39E0C}" dt="2024-05-10T21:25:01.844" v="124" actId="47"/>
      <pc:docMkLst>
        <pc:docMk/>
      </pc:docMkLst>
      <pc:sldChg chg="add">
        <pc:chgData name="Sean Gallagher" userId="577446c3-45ae-4097-b8f0-9d862fa3a0df" providerId="ADAL" clId="{C8FF2AE4-D582-4D51-9A92-76963FA39E0C}" dt="2024-05-10T21:15:52.239" v="0"/>
        <pc:sldMkLst>
          <pc:docMk/>
          <pc:sldMk cId="1643160523" sldId="265"/>
        </pc:sldMkLst>
      </pc:sldChg>
      <pc:sldChg chg="add">
        <pc:chgData name="Sean Gallagher" userId="577446c3-45ae-4097-b8f0-9d862fa3a0df" providerId="ADAL" clId="{C8FF2AE4-D582-4D51-9A92-76963FA39E0C}" dt="2024-05-10T21:15:52.239" v="0"/>
        <pc:sldMkLst>
          <pc:docMk/>
          <pc:sldMk cId="1249712676" sldId="266"/>
        </pc:sldMkLst>
      </pc:sldChg>
      <pc:sldChg chg="add">
        <pc:chgData name="Sean Gallagher" userId="577446c3-45ae-4097-b8f0-9d862fa3a0df" providerId="ADAL" clId="{C8FF2AE4-D582-4D51-9A92-76963FA39E0C}" dt="2024-05-10T21:15:52.239" v="0"/>
        <pc:sldMkLst>
          <pc:docMk/>
          <pc:sldMk cId="1037678653" sldId="270"/>
        </pc:sldMkLst>
      </pc:sldChg>
      <pc:sldChg chg="add">
        <pc:chgData name="Sean Gallagher" userId="577446c3-45ae-4097-b8f0-9d862fa3a0df" providerId="ADAL" clId="{C8FF2AE4-D582-4D51-9A92-76963FA39E0C}" dt="2024-05-10T21:16:27.081" v="3"/>
        <pc:sldMkLst>
          <pc:docMk/>
          <pc:sldMk cId="1895578605" sldId="271"/>
        </pc:sldMkLst>
      </pc:sldChg>
      <pc:sldChg chg="add">
        <pc:chgData name="Sean Gallagher" userId="577446c3-45ae-4097-b8f0-9d862fa3a0df" providerId="ADAL" clId="{C8FF2AE4-D582-4D51-9A92-76963FA39E0C}" dt="2024-05-10T21:16:04.604" v="1"/>
        <pc:sldMkLst>
          <pc:docMk/>
          <pc:sldMk cId="149403827" sldId="282"/>
        </pc:sldMkLst>
      </pc:sldChg>
      <pc:sldChg chg="add">
        <pc:chgData name="Sean Gallagher" userId="577446c3-45ae-4097-b8f0-9d862fa3a0df" providerId="ADAL" clId="{C8FF2AE4-D582-4D51-9A92-76963FA39E0C}" dt="2024-05-10T21:16:04.604" v="1"/>
        <pc:sldMkLst>
          <pc:docMk/>
          <pc:sldMk cId="3211370206" sldId="283"/>
        </pc:sldMkLst>
      </pc:sldChg>
      <pc:sldChg chg="add">
        <pc:chgData name="Sean Gallagher" userId="577446c3-45ae-4097-b8f0-9d862fa3a0df" providerId="ADAL" clId="{C8FF2AE4-D582-4D51-9A92-76963FA39E0C}" dt="2024-05-10T21:15:52.239" v="0"/>
        <pc:sldMkLst>
          <pc:docMk/>
          <pc:sldMk cId="758171597" sldId="284"/>
        </pc:sldMkLst>
      </pc:sldChg>
      <pc:sldChg chg="add">
        <pc:chgData name="Sean Gallagher" userId="577446c3-45ae-4097-b8f0-9d862fa3a0df" providerId="ADAL" clId="{C8FF2AE4-D582-4D51-9A92-76963FA39E0C}" dt="2024-05-10T21:15:52.239" v="0"/>
        <pc:sldMkLst>
          <pc:docMk/>
          <pc:sldMk cId="2126611566" sldId="285"/>
        </pc:sldMkLst>
      </pc:sldChg>
      <pc:sldChg chg="add">
        <pc:chgData name="Sean Gallagher" userId="577446c3-45ae-4097-b8f0-9d862fa3a0df" providerId="ADAL" clId="{C8FF2AE4-D582-4D51-9A92-76963FA39E0C}" dt="2024-05-10T21:16:04.604" v="1"/>
        <pc:sldMkLst>
          <pc:docMk/>
          <pc:sldMk cId="2374184854" sldId="286"/>
        </pc:sldMkLst>
      </pc:sldChg>
      <pc:sldChg chg="add">
        <pc:chgData name="Sean Gallagher" userId="577446c3-45ae-4097-b8f0-9d862fa3a0df" providerId="ADAL" clId="{C8FF2AE4-D582-4D51-9A92-76963FA39E0C}" dt="2024-05-10T21:15:52.239" v="0"/>
        <pc:sldMkLst>
          <pc:docMk/>
          <pc:sldMk cId="2570281823" sldId="287"/>
        </pc:sldMkLst>
      </pc:sldChg>
      <pc:sldChg chg="add">
        <pc:chgData name="Sean Gallagher" userId="577446c3-45ae-4097-b8f0-9d862fa3a0df" providerId="ADAL" clId="{C8FF2AE4-D582-4D51-9A92-76963FA39E0C}" dt="2024-05-10T21:16:04.604" v="1"/>
        <pc:sldMkLst>
          <pc:docMk/>
          <pc:sldMk cId="1161024876" sldId="288"/>
        </pc:sldMkLst>
      </pc:sldChg>
      <pc:sldChg chg="add">
        <pc:chgData name="Sean Gallagher" userId="577446c3-45ae-4097-b8f0-9d862fa3a0df" providerId="ADAL" clId="{C8FF2AE4-D582-4D51-9A92-76963FA39E0C}" dt="2024-05-10T21:15:52.239" v="0"/>
        <pc:sldMkLst>
          <pc:docMk/>
          <pc:sldMk cId="2853091731" sldId="289"/>
        </pc:sldMkLst>
      </pc:sldChg>
      <pc:sldChg chg="add">
        <pc:chgData name="Sean Gallagher" userId="577446c3-45ae-4097-b8f0-9d862fa3a0df" providerId="ADAL" clId="{C8FF2AE4-D582-4D51-9A92-76963FA39E0C}" dt="2024-05-10T21:16:04.604" v="1"/>
        <pc:sldMkLst>
          <pc:docMk/>
          <pc:sldMk cId="465183142" sldId="290"/>
        </pc:sldMkLst>
      </pc:sldChg>
      <pc:sldChg chg="add">
        <pc:chgData name="Sean Gallagher" userId="577446c3-45ae-4097-b8f0-9d862fa3a0df" providerId="ADAL" clId="{C8FF2AE4-D582-4D51-9A92-76963FA39E0C}" dt="2024-05-10T21:15:52.239" v="0"/>
        <pc:sldMkLst>
          <pc:docMk/>
          <pc:sldMk cId="432780674" sldId="291"/>
        </pc:sldMkLst>
      </pc:sldChg>
      <pc:sldChg chg="add">
        <pc:chgData name="Sean Gallagher" userId="577446c3-45ae-4097-b8f0-9d862fa3a0df" providerId="ADAL" clId="{C8FF2AE4-D582-4D51-9A92-76963FA39E0C}" dt="2024-05-10T21:15:52.239" v="0"/>
        <pc:sldMkLst>
          <pc:docMk/>
          <pc:sldMk cId="4200253825" sldId="292"/>
        </pc:sldMkLst>
      </pc:sldChg>
      <pc:sldChg chg="add">
        <pc:chgData name="Sean Gallagher" userId="577446c3-45ae-4097-b8f0-9d862fa3a0df" providerId="ADAL" clId="{C8FF2AE4-D582-4D51-9A92-76963FA39E0C}" dt="2024-05-10T21:15:52.239" v="0"/>
        <pc:sldMkLst>
          <pc:docMk/>
          <pc:sldMk cId="2809783483" sldId="293"/>
        </pc:sldMkLst>
      </pc:sldChg>
      <pc:sldChg chg="add">
        <pc:chgData name="Sean Gallagher" userId="577446c3-45ae-4097-b8f0-9d862fa3a0df" providerId="ADAL" clId="{C8FF2AE4-D582-4D51-9A92-76963FA39E0C}" dt="2024-05-10T21:16:04.604" v="1"/>
        <pc:sldMkLst>
          <pc:docMk/>
          <pc:sldMk cId="2434310233" sldId="294"/>
        </pc:sldMkLst>
      </pc:sldChg>
      <pc:sldChg chg="add">
        <pc:chgData name="Sean Gallagher" userId="577446c3-45ae-4097-b8f0-9d862fa3a0df" providerId="ADAL" clId="{C8FF2AE4-D582-4D51-9A92-76963FA39E0C}" dt="2024-05-10T21:16:04.604" v="1"/>
        <pc:sldMkLst>
          <pc:docMk/>
          <pc:sldMk cId="3719245415" sldId="295"/>
        </pc:sldMkLst>
      </pc:sldChg>
      <pc:sldChg chg="add">
        <pc:chgData name="Sean Gallagher" userId="577446c3-45ae-4097-b8f0-9d862fa3a0df" providerId="ADAL" clId="{C8FF2AE4-D582-4D51-9A92-76963FA39E0C}" dt="2024-05-10T21:16:14.392" v="2"/>
        <pc:sldMkLst>
          <pc:docMk/>
          <pc:sldMk cId="742757525" sldId="296"/>
        </pc:sldMkLst>
      </pc:sldChg>
      <pc:sldChg chg="add">
        <pc:chgData name="Sean Gallagher" userId="577446c3-45ae-4097-b8f0-9d862fa3a0df" providerId="ADAL" clId="{C8FF2AE4-D582-4D51-9A92-76963FA39E0C}" dt="2024-05-10T21:16:14.392" v="2"/>
        <pc:sldMkLst>
          <pc:docMk/>
          <pc:sldMk cId="1698988614" sldId="297"/>
        </pc:sldMkLst>
      </pc:sldChg>
      <pc:sldChg chg="add">
        <pc:chgData name="Sean Gallagher" userId="577446c3-45ae-4097-b8f0-9d862fa3a0df" providerId="ADAL" clId="{C8FF2AE4-D582-4D51-9A92-76963FA39E0C}" dt="2024-05-10T21:16:14.392" v="2"/>
        <pc:sldMkLst>
          <pc:docMk/>
          <pc:sldMk cId="3531898224" sldId="298"/>
        </pc:sldMkLst>
      </pc:sldChg>
      <pc:sldChg chg="add">
        <pc:chgData name="Sean Gallagher" userId="577446c3-45ae-4097-b8f0-9d862fa3a0df" providerId="ADAL" clId="{C8FF2AE4-D582-4D51-9A92-76963FA39E0C}" dt="2024-05-10T21:16:14.392" v="2"/>
        <pc:sldMkLst>
          <pc:docMk/>
          <pc:sldMk cId="242552118" sldId="299"/>
        </pc:sldMkLst>
      </pc:sldChg>
      <pc:sldChg chg="add">
        <pc:chgData name="Sean Gallagher" userId="577446c3-45ae-4097-b8f0-9d862fa3a0df" providerId="ADAL" clId="{C8FF2AE4-D582-4D51-9A92-76963FA39E0C}" dt="2024-05-10T21:16:14.392" v="2"/>
        <pc:sldMkLst>
          <pc:docMk/>
          <pc:sldMk cId="3491658502" sldId="300"/>
        </pc:sldMkLst>
      </pc:sldChg>
      <pc:sldChg chg="add">
        <pc:chgData name="Sean Gallagher" userId="577446c3-45ae-4097-b8f0-9d862fa3a0df" providerId="ADAL" clId="{C8FF2AE4-D582-4D51-9A92-76963FA39E0C}" dt="2024-05-10T21:16:14.392" v="2"/>
        <pc:sldMkLst>
          <pc:docMk/>
          <pc:sldMk cId="1002094481" sldId="301"/>
        </pc:sldMkLst>
      </pc:sldChg>
      <pc:sldChg chg="add">
        <pc:chgData name="Sean Gallagher" userId="577446c3-45ae-4097-b8f0-9d862fa3a0df" providerId="ADAL" clId="{C8FF2AE4-D582-4D51-9A92-76963FA39E0C}" dt="2024-05-10T21:16:14.392" v="2"/>
        <pc:sldMkLst>
          <pc:docMk/>
          <pc:sldMk cId="1349057116" sldId="302"/>
        </pc:sldMkLst>
      </pc:sldChg>
      <pc:sldChg chg="add">
        <pc:chgData name="Sean Gallagher" userId="577446c3-45ae-4097-b8f0-9d862fa3a0df" providerId="ADAL" clId="{C8FF2AE4-D582-4D51-9A92-76963FA39E0C}" dt="2024-05-10T21:16:14.392" v="2"/>
        <pc:sldMkLst>
          <pc:docMk/>
          <pc:sldMk cId="2596029707" sldId="303"/>
        </pc:sldMkLst>
      </pc:sldChg>
      <pc:sldChg chg="add">
        <pc:chgData name="Sean Gallagher" userId="577446c3-45ae-4097-b8f0-9d862fa3a0df" providerId="ADAL" clId="{C8FF2AE4-D582-4D51-9A92-76963FA39E0C}" dt="2024-05-10T21:15:52.239" v="0"/>
        <pc:sldMkLst>
          <pc:docMk/>
          <pc:sldMk cId="3934819828" sldId="304"/>
        </pc:sldMkLst>
      </pc:sldChg>
      <pc:sldChg chg="add">
        <pc:chgData name="Sean Gallagher" userId="577446c3-45ae-4097-b8f0-9d862fa3a0df" providerId="ADAL" clId="{C8FF2AE4-D582-4D51-9A92-76963FA39E0C}" dt="2024-05-10T21:16:14.392" v="2"/>
        <pc:sldMkLst>
          <pc:docMk/>
          <pc:sldMk cId="4031151356" sldId="305"/>
        </pc:sldMkLst>
      </pc:sldChg>
      <pc:sldChg chg="add">
        <pc:chgData name="Sean Gallagher" userId="577446c3-45ae-4097-b8f0-9d862fa3a0df" providerId="ADAL" clId="{C8FF2AE4-D582-4D51-9A92-76963FA39E0C}" dt="2024-05-10T21:15:52.239" v="0"/>
        <pc:sldMkLst>
          <pc:docMk/>
          <pc:sldMk cId="617969072" sldId="306"/>
        </pc:sldMkLst>
      </pc:sldChg>
      <pc:sldChg chg="add">
        <pc:chgData name="Sean Gallagher" userId="577446c3-45ae-4097-b8f0-9d862fa3a0df" providerId="ADAL" clId="{C8FF2AE4-D582-4D51-9A92-76963FA39E0C}" dt="2024-05-10T21:24:55.664" v="123"/>
        <pc:sldMkLst>
          <pc:docMk/>
          <pc:sldMk cId="3884103291" sldId="307"/>
        </pc:sldMkLst>
      </pc:sldChg>
      <pc:sldChg chg="add">
        <pc:chgData name="Sean Gallagher" userId="577446c3-45ae-4097-b8f0-9d862fa3a0df" providerId="ADAL" clId="{C8FF2AE4-D582-4D51-9A92-76963FA39E0C}" dt="2024-05-10T21:24:55.664" v="123"/>
        <pc:sldMkLst>
          <pc:docMk/>
          <pc:sldMk cId="1013429161" sldId="308"/>
        </pc:sldMkLst>
      </pc:sldChg>
      <pc:sldChg chg="add">
        <pc:chgData name="Sean Gallagher" userId="577446c3-45ae-4097-b8f0-9d862fa3a0df" providerId="ADAL" clId="{C8FF2AE4-D582-4D51-9A92-76963FA39E0C}" dt="2024-05-10T21:24:55.664" v="123"/>
        <pc:sldMkLst>
          <pc:docMk/>
          <pc:sldMk cId="521182126" sldId="309"/>
        </pc:sldMkLst>
      </pc:sldChg>
      <pc:sldChg chg="add">
        <pc:chgData name="Sean Gallagher" userId="577446c3-45ae-4097-b8f0-9d862fa3a0df" providerId="ADAL" clId="{C8FF2AE4-D582-4D51-9A92-76963FA39E0C}" dt="2024-05-10T21:24:55.664" v="123"/>
        <pc:sldMkLst>
          <pc:docMk/>
          <pc:sldMk cId="2285651390" sldId="310"/>
        </pc:sldMkLst>
      </pc:sldChg>
      <pc:sldChg chg="add">
        <pc:chgData name="Sean Gallagher" userId="577446c3-45ae-4097-b8f0-9d862fa3a0df" providerId="ADAL" clId="{C8FF2AE4-D582-4D51-9A92-76963FA39E0C}" dt="2024-05-10T21:15:52.239" v="0"/>
        <pc:sldMkLst>
          <pc:docMk/>
          <pc:sldMk cId="82095942" sldId="311"/>
        </pc:sldMkLst>
      </pc:sldChg>
      <pc:sldChg chg="add">
        <pc:chgData name="Sean Gallagher" userId="577446c3-45ae-4097-b8f0-9d862fa3a0df" providerId="ADAL" clId="{C8FF2AE4-D582-4D51-9A92-76963FA39E0C}" dt="2024-05-10T21:15:52.239" v="0"/>
        <pc:sldMkLst>
          <pc:docMk/>
          <pc:sldMk cId="3953966041" sldId="312"/>
        </pc:sldMkLst>
      </pc:sldChg>
      <pc:sldChg chg="add">
        <pc:chgData name="Sean Gallagher" userId="577446c3-45ae-4097-b8f0-9d862fa3a0df" providerId="ADAL" clId="{C8FF2AE4-D582-4D51-9A92-76963FA39E0C}" dt="2024-05-10T21:17:08.557" v="4"/>
        <pc:sldMkLst>
          <pc:docMk/>
          <pc:sldMk cId="1853485343" sldId="313"/>
        </pc:sldMkLst>
      </pc:sldChg>
      <pc:sldChg chg="add">
        <pc:chgData name="Sean Gallagher" userId="577446c3-45ae-4097-b8f0-9d862fa3a0df" providerId="ADAL" clId="{C8FF2AE4-D582-4D51-9A92-76963FA39E0C}" dt="2024-05-10T21:17:08.557" v="4"/>
        <pc:sldMkLst>
          <pc:docMk/>
          <pc:sldMk cId="3473101382" sldId="314"/>
        </pc:sldMkLst>
      </pc:sldChg>
      <pc:sldChg chg="add">
        <pc:chgData name="Sean Gallagher" userId="577446c3-45ae-4097-b8f0-9d862fa3a0df" providerId="ADAL" clId="{C8FF2AE4-D582-4D51-9A92-76963FA39E0C}" dt="2024-05-10T21:15:52.239" v="0"/>
        <pc:sldMkLst>
          <pc:docMk/>
          <pc:sldMk cId="3011015130" sldId="315"/>
        </pc:sldMkLst>
      </pc:sldChg>
      <pc:sldChg chg="add">
        <pc:chgData name="Sean Gallagher" userId="577446c3-45ae-4097-b8f0-9d862fa3a0df" providerId="ADAL" clId="{C8FF2AE4-D582-4D51-9A92-76963FA39E0C}" dt="2024-05-10T21:15:52.239" v="0"/>
        <pc:sldMkLst>
          <pc:docMk/>
          <pc:sldMk cId="1352029251" sldId="316"/>
        </pc:sldMkLst>
      </pc:sldChg>
      <pc:sldChg chg="add">
        <pc:chgData name="Sean Gallagher" userId="577446c3-45ae-4097-b8f0-9d862fa3a0df" providerId="ADAL" clId="{C8FF2AE4-D582-4D51-9A92-76963FA39E0C}" dt="2024-05-10T21:15:52.239" v="0"/>
        <pc:sldMkLst>
          <pc:docMk/>
          <pc:sldMk cId="831354879" sldId="317"/>
        </pc:sldMkLst>
      </pc:sldChg>
      <pc:sldChg chg="add">
        <pc:chgData name="Sean Gallagher" userId="577446c3-45ae-4097-b8f0-9d862fa3a0df" providerId="ADAL" clId="{C8FF2AE4-D582-4D51-9A92-76963FA39E0C}" dt="2024-05-10T21:15:52.239" v="0"/>
        <pc:sldMkLst>
          <pc:docMk/>
          <pc:sldMk cId="3226291250" sldId="318"/>
        </pc:sldMkLst>
      </pc:sldChg>
      <pc:sldChg chg="add">
        <pc:chgData name="Sean Gallagher" userId="577446c3-45ae-4097-b8f0-9d862fa3a0df" providerId="ADAL" clId="{C8FF2AE4-D582-4D51-9A92-76963FA39E0C}" dt="2024-05-10T21:15:52.239" v="0"/>
        <pc:sldMkLst>
          <pc:docMk/>
          <pc:sldMk cId="2578208328" sldId="319"/>
        </pc:sldMkLst>
      </pc:sldChg>
      <pc:sldChg chg="add">
        <pc:chgData name="Sean Gallagher" userId="577446c3-45ae-4097-b8f0-9d862fa3a0df" providerId="ADAL" clId="{C8FF2AE4-D582-4D51-9A92-76963FA39E0C}" dt="2024-05-10T21:15:52.239" v="0"/>
        <pc:sldMkLst>
          <pc:docMk/>
          <pc:sldMk cId="2823237774" sldId="321"/>
        </pc:sldMkLst>
      </pc:sldChg>
      <pc:sldChg chg="add">
        <pc:chgData name="Sean Gallagher" userId="577446c3-45ae-4097-b8f0-9d862fa3a0df" providerId="ADAL" clId="{C8FF2AE4-D582-4D51-9A92-76963FA39E0C}" dt="2024-05-10T21:15:52.239" v="0"/>
        <pc:sldMkLst>
          <pc:docMk/>
          <pc:sldMk cId="3451156404" sldId="322"/>
        </pc:sldMkLst>
      </pc:sldChg>
      <pc:sldChg chg="add">
        <pc:chgData name="Sean Gallagher" userId="577446c3-45ae-4097-b8f0-9d862fa3a0df" providerId="ADAL" clId="{C8FF2AE4-D582-4D51-9A92-76963FA39E0C}" dt="2024-05-10T21:15:52.239" v="0"/>
        <pc:sldMkLst>
          <pc:docMk/>
          <pc:sldMk cId="1615861598" sldId="323"/>
        </pc:sldMkLst>
      </pc:sldChg>
      <pc:sldChg chg="add">
        <pc:chgData name="Sean Gallagher" userId="577446c3-45ae-4097-b8f0-9d862fa3a0df" providerId="ADAL" clId="{C8FF2AE4-D582-4D51-9A92-76963FA39E0C}" dt="2024-05-10T21:15:52.239" v="0"/>
        <pc:sldMkLst>
          <pc:docMk/>
          <pc:sldMk cId="444323748" sldId="324"/>
        </pc:sldMkLst>
      </pc:sldChg>
      <pc:sldChg chg="add">
        <pc:chgData name="Sean Gallagher" userId="577446c3-45ae-4097-b8f0-9d862fa3a0df" providerId="ADAL" clId="{C8FF2AE4-D582-4D51-9A92-76963FA39E0C}" dt="2024-05-10T21:15:52.239" v="0"/>
        <pc:sldMkLst>
          <pc:docMk/>
          <pc:sldMk cId="2118191825" sldId="325"/>
        </pc:sldMkLst>
      </pc:sldChg>
      <pc:sldChg chg="add">
        <pc:chgData name="Sean Gallagher" userId="577446c3-45ae-4097-b8f0-9d862fa3a0df" providerId="ADAL" clId="{C8FF2AE4-D582-4D51-9A92-76963FA39E0C}" dt="2024-05-10T21:15:52.239" v="0"/>
        <pc:sldMkLst>
          <pc:docMk/>
          <pc:sldMk cId="1907629857" sldId="326"/>
        </pc:sldMkLst>
      </pc:sldChg>
      <pc:sldChg chg="add">
        <pc:chgData name="Sean Gallagher" userId="577446c3-45ae-4097-b8f0-9d862fa3a0df" providerId="ADAL" clId="{C8FF2AE4-D582-4D51-9A92-76963FA39E0C}" dt="2024-05-10T21:15:52.239" v="0"/>
        <pc:sldMkLst>
          <pc:docMk/>
          <pc:sldMk cId="38772148" sldId="327"/>
        </pc:sldMkLst>
      </pc:sldChg>
      <pc:sldChg chg="add">
        <pc:chgData name="Sean Gallagher" userId="577446c3-45ae-4097-b8f0-9d862fa3a0df" providerId="ADAL" clId="{C8FF2AE4-D582-4D51-9A92-76963FA39E0C}" dt="2024-05-10T21:15:52.239" v="0"/>
        <pc:sldMkLst>
          <pc:docMk/>
          <pc:sldMk cId="2824093427" sldId="328"/>
        </pc:sldMkLst>
      </pc:sldChg>
      <pc:sldChg chg="add">
        <pc:chgData name="Sean Gallagher" userId="577446c3-45ae-4097-b8f0-9d862fa3a0df" providerId="ADAL" clId="{C8FF2AE4-D582-4D51-9A92-76963FA39E0C}" dt="2024-05-10T21:15:52.239" v="0"/>
        <pc:sldMkLst>
          <pc:docMk/>
          <pc:sldMk cId="1281662962" sldId="329"/>
        </pc:sldMkLst>
      </pc:sldChg>
      <pc:sldChg chg="add">
        <pc:chgData name="Sean Gallagher" userId="577446c3-45ae-4097-b8f0-9d862fa3a0df" providerId="ADAL" clId="{C8FF2AE4-D582-4D51-9A92-76963FA39E0C}" dt="2024-05-10T21:15:52.239" v="0"/>
        <pc:sldMkLst>
          <pc:docMk/>
          <pc:sldMk cId="1323673022" sldId="330"/>
        </pc:sldMkLst>
      </pc:sldChg>
      <pc:sldChg chg="add">
        <pc:chgData name="Sean Gallagher" userId="577446c3-45ae-4097-b8f0-9d862fa3a0df" providerId="ADAL" clId="{C8FF2AE4-D582-4D51-9A92-76963FA39E0C}" dt="2024-05-10T21:15:52.239" v="0"/>
        <pc:sldMkLst>
          <pc:docMk/>
          <pc:sldMk cId="3242155915" sldId="331"/>
        </pc:sldMkLst>
      </pc:sldChg>
      <pc:sldChg chg="add">
        <pc:chgData name="Sean Gallagher" userId="577446c3-45ae-4097-b8f0-9d862fa3a0df" providerId="ADAL" clId="{C8FF2AE4-D582-4D51-9A92-76963FA39E0C}" dt="2024-05-10T21:15:52.239" v="0"/>
        <pc:sldMkLst>
          <pc:docMk/>
          <pc:sldMk cId="2859839863" sldId="332"/>
        </pc:sldMkLst>
      </pc:sldChg>
      <pc:sldChg chg="add">
        <pc:chgData name="Sean Gallagher" userId="577446c3-45ae-4097-b8f0-9d862fa3a0df" providerId="ADAL" clId="{C8FF2AE4-D582-4D51-9A92-76963FA39E0C}" dt="2024-05-10T21:16:27.081" v="3"/>
        <pc:sldMkLst>
          <pc:docMk/>
          <pc:sldMk cId="457488352" sldId="436"/>
        </pc:sldMkLst>
      </pc:sldChg>
      <pc:sldChg chg="add">
        <pc:chgData name="Sean Gallagher" userId="577446c3-45ae-4097-b8f0-9d862fa3a0df" providerId="ADAL" clId="{C8FF2AE4-D582-4D51-9A92-76963FA39E0C}" dt="2024-05-10T21:16:27.081" v="3"/>
        <pc:sldMkLst>
          <pc:docMk/>
          <pc:sldMk cId="2930145710" sldId="457"/>
        </pc:sldMkLst>
      </pc:sldChg>
      <pc:sldChg chg="add">
        <pc:chgData name="Sean Gallagher" userId="577446c3-45ae-4097-b8f0-9d862fa3a0df" providerId="ADAL" clId="{C8FF2AE4-D582-4D51-9A92-76963FA39E0C}" dt="2024-05-10T21:16:27.081" v="3"/>
        <pc:sldMkLst>
          <pc:docMk/>
          <pc:sldMk cId="2212675718" sldId="459"/>
        </pc:sldMkLst>
      </pc:sldChg>
      <pc:sldChg chg="add">
        <pc:chgData name="Sean Gallagher" userId="577446c3-45ae-4097-b8f0-9d862fa3a0df" providerId="ADAL" clId="{C8FF2AE4-D582-4D51-9A92-76963FA39E0C}" dt="2024-05-10T21:16:27.081" v="3"/>
        <pc:sldMkLst>
          <pc:docMk/>
          <pc:sldMk cId="2538528418" sldId="460"/>
        </pc:sldMkLst>
      </pc:sldChg>
      <pc:sldChg chg="add">
        <pc:chgData name="Sean Gallagher" userId="577446c3-45ae-4097-b8f0-9d862fa3a0df" providerId="ADAL" clId="{C8FF2AE4-D582-4D51-9A92-76963FA39E0C}" dt="2024-05-10T21:16:27.081" v="3"/>
        <pc:sldMkLst>
          <pc:docMk/>
          <pc:sldMk cId="3030440136" sldId="462"/>
        </pc:sldMkLst>
      </pc:sldChg>
      <pc:sldChg chg="add">
        <pc:chgData name="Sean Gallagher" userId="577446c3-45ae-4097-b8f0-9d862fa3a0df" providerId="ADAL" clId="{C8FF2AE4-D582-4D51-9A92-76963FA39E0C}" dt="2024-05-10T21:16:27.081" v="3"/>
        <pc:sldMkLst>
          <pc:docMk/>
          <pc:sldMk cId="3142156150" sldId="463"/>
        </pc:sldMkLst>
      </pc:sldChg>
      <pc:sldChg chg="add">
        <pc:chgData name="Sean Gallagher" userId="577446c3-45ae-4097-b8f0-9d862fa3a0df" providerId="ADAL" clId="{C8FF2AE4-D582-4D51-9A92-76963FA39E0C}" dt="2024-05-10T21:16:27.081" v="3"/>
        <pc:sldMkLst>
          <pc:docMk/>
          <pc:sldMk cId="2391144804" sldId="466"/>
        </pc:sldMkLst>
      </pc:sldChg>
      <pc:sldChg chg="add">
        <pc:chgData name="Sean Gallagher" userId="577446c3-45ae-4097-b8f0-9d862fa3a0df" providerId="ADAL" clId="{C8FF2AE4-D582-4D51-9A92-76963FA39E0C}" dt="2024-05-10T21:16:27.081" v="3"/>
        <pc:sldMkLst>
          <pc:docMk/>
          <pc:sldMk cId="2940659918" sldId="467"/>
        </pc:sldMkLst>
      </pc:sldChg>
      <pc:sldChg chg="add">
        <pc:chgData name="Sean Gallagher" userId="577446c3-45ae-4097-b8f0-9d862fa3a0df" providerId="ADAL" clId="{C8FF2AE4-D582-4D51-9A92-76963FA39E0C}" dt="2024-05-10T21:16:27.081" v="3"/>
        <pc:sldMkLst>
          <pc:docMk/>
          <pc:sldMk cId="507609598" sldId="469"/>
        </pc:sldMkLst>
      </pc:sldChg>
      <pc:sldChg chg="add">
        <pc:chgData name="Sean Gallagher" userId="577446c3-45ae-4097-b8f0-9d862fa3a0df" providerId="ADAL" clId="{C8FF2AE4-D582-4D51-9A92-76963FA39E0C}" dt="2024-05-10T21:16:27.081" v="3"/>
        <pc:sldMkLst>
          <pc:docMk/>
          <pc:sldMk cId="3273148034" sldId="484"/>
        </pc:sldMkLst>
      </pc:sldChg>
      <pc:sldChg chg="add">
        <pc:chgData name="Sean Gallagher" userId="577446c3-45ae-4097-b8f0-9d862fa3a0df" providerId="ADAL" clId="{C8FF2AE4-D582-4D51-9A92-76963FA39E0C}" dt="2024-05-10T21:16:27.081" v="3"/>
        <pc:sldMkLst>
          <pc:docMk/>
          <pc:sldMk cId="1004704787" sldId="495"/>
        </pc:sldMkLst>
      </pc:sldChg>
      <pc:sldChg chg="add">
        <pc:chgData name="Sean Gallagher" userId="577446c3-45ae-4097-b8f0-9d862fa3a0df" providerId="ADAL" clId="{C8FF2AE4-D582-4D51-9A92-76963FA39E0C}" dt="2024-05-10T21:16:27.081" v="3"/>
        <pc:sldMkLst>
          <pc:docMk/>
          <pc:sldMk cId="2265129783" sldId="521"/>
        </pc:sldMkLst>
      </pc:sldChg>
      <pc:sldChg chg="add">
        <pc:chgData name="Sean Gallagher" userId="577446c3-45ae-4097-b8f0-9d862fa3a0df" providerId="ADAL" clId="{C8FF2AE4-D582-4D51-9A92-76963FA39E0C}" dt="2024-05-10T21:16:27.081" v="3"/>
        <pc:sldMkLst>
          <pc:docMk/>
          <pc:sldMk cId="2501131517" sldId="529"/>
        </pc:sldMkLst>
      </pc:sldChg>
      <pc:sldChg chg="add">
        <pc:chgData name="Sean Gallagher" userId="577446c3-45ae-4097-b8f0-9d862fa3a0df" providerId="ADAL" clId="{C8FF2AE4-D582-4D51-9A92-76963FA39E0C}" dt="2024-05-10T21:16:27.081" v="3"/>
        <pc:sldMkLst>
          <pc:docMk/>
          <pc:sldMk cId="67794750" sldId="530"/>
        </pc:sldMkLst>
      </pc:sldChg>
      <pc:sldChg chg="add">
        <pc:chgData name="Sean Gallagher" userId="577446c3-45ae-4097-b8f0-9d862fa3a0df" providerId="ADAL" clId="{C8FF2AE4-D582-4D51-9A92-76963FA39E0C}" dt="2024-05-10T21:16:27.081" v="3"/>
        <pc:sldMkLst>
          <pc:docMk/>
          <pc:sldMk cId="3231304936" sldId="533"/>
        </pc:sldMkLst>
      </pc:sldChg>
      <pc:sldChg chg="add">
        <pc:chgData name="Sean Gallagher" userId="577446c3-45ae-4097-b8f0-9d862fa3a0df" providerId="ADAL" clId="{C8FF2AE4-D582-4D51-9A92-76963FA39E0C}" dt="2024-05-10T21:16:27.081" v="3"/>
        <pc:sldMkLst>
          <pc:docMk/>
          <pc:sldMk cId="2185741075" sldId="534"/>
        </pc:sldMkLst>
      </pc:sldChg>
      <pc:sldChg chg="add">
        <pc:chgData name="Sean Gallagher" userId="577446c3-45ae-4097-b8f0-9d862fa3a0df" providerId="ADAL" clId="{C8FF2AE4-D582-4D51-9A92-76963FA39E0C}" dt="2024-05-10T21:16:27.081" v="3"/>
        <pc:sldMkLst>
          <pc:docMk/>
          <pc:sldMk cId="1998389424" sldId="535"/>
        </pc:sldMkLst>
      </pc:sldChg>
      <pc:sldChg chg="add">
        <pc:chgData name="Sean Gallagher" userId="577446c3-45ae-4097-b8f0-9d862fa3a0df" providerId="ADAL" clId="{C8FF2AE4-D582-4D51-9A92-76963FA39E0C}" dt="2024-05-10T21:16:27.081" v="3"/>
        <pc:sldMkLst>
          <pc:docMk/>
          <pc:sldMk cId="1287176092" sldId="536"/>
        </pc:sldMkLst>
      </pc:sldChg>
      <pc:sldChg chg="add">
        <pc:chgData name="Sean Gallagher" userId="577446c3-45ae-4097-b8f0-9d862fa3a0df" providerId="ADAL" clId="{C8FF2AE4-D582-4D51-9A92-76963FA39E0C}" dt="2024-05-10T21:16:27.081" v="3"/>
        <pc:sldMkLst>
          <pc:docMk/>
          <pc:sldMk cId="1943600627" sldId="537"/>
        </pc:sldMkLst>
      </pc:sldChg>
      <pc:sldChg chg="add">
        <pc:chgData name="Sean Gallagher" userId="577446c3-45ae-4097-b8f0-9d862fa3a0df" providerId="ADAL" clId="{C8FF2AE4-D582-4D51-9A92-76963FA39E0C}" dt="2024-05-10T21:16:27.081" v="3"/>
        <pc:sldMkLst>
          <pc:docMk/>
          <pc:sldMk cId="270935970" sldId="538"/>
        </pc:sldMkLst>
      </pc:sldChg>
      <pc:sldChg chg="add">
        <pc:chgData name="Sean Gallagher" userId="577446c3-45ae-4097-b8f0-9d862fa3a0df" providerId="ADAL" clId="{C8FF2AE4-D582-4D51-9A92-76963FA39E0C}" dt="2024-05-10T21:16:27.081" v="3"/>
        <pc:sldMkLst>
          <pc:docMk/>
          <pc:sldMk cId="1089117539" sldId="539"/>
        </pc:sldMkLst>
      </pc:sldChg>
      <pc:sldChg chg="add">
        <pc:chgData name="Sean Gallagher" userId="577446c3-45ae-4097-b8f0-9d862fa3a0df" providerId="ADAL" clId="{C8FF2AE4-D582-4D51-9A92-76963FA39E0C}" dt="2024-05-10T21:16:27.081" v="3"/>
        <pc:sldMkLst>
          <pc:docMk/>
          <pc:sldMk cId="407486193" sldId="540"/>
        </pc:sldMkLst>
      </pc:sldChg>
      <pc:sldChg chg="add">
        <pc:chgData name="Sean Gallagher" userId="577446c3-45ae-4097-b8f0-9d862fa3a0df" providerId="ADAL" clId="{C8FF2AE4-D582-4D51-9A92-76963FA39E0C}" dt="2024-05-10T21:16:27.081" v="3"/>
        <pc:sldMkLst>
          <pc:docMk/>
          <pc:sldMk cId="1769534436" sldId="541"/>
        </pc:sldMkLst>
      </pc:sldChg>
      <pc:sldChg chg="add">
        <pc:chgData name="Sean Gallagher" userId="577446c3-45ae-4097-b8f0-9d862fa3a0df" providerId="ADAL" clId="{C8FF2AE4-D582-4D51-9A92-76963FA39E0C}" dt="2024-05-10T21:16:27.081" v="3"/>
        <pc:sldMkLst>
          <pc:docMk/>
          <pc:sldMk cId="1784862114" sldId="542"/>
        </pc:sldMkLst>
      </pc:sldChg>
      <pc:sldChg chg="add">
        <pc:chgData name="Sean Gallagher" userId="577446c3-45ae-4097-b8f0-9d862fa3a0df" providerId="ADAL" clId="{C8FF2AE4-D582-4D51-9A92-76963FA39E0C}" dt="2024-05-10T21:16:27.081" v="3"/>
        <pc:sldMkLst>
          <pc:docMk/>
          <pc:sldMk cId="2373250049" sldId="543"/>
        </pc:sldMkLst>
      </pc:sldChg>
      <pc:sldChg chg="modSp add mod">
        <pc:chgData name="Sean Gallagher" userId="577446c3-45ae-4097-b8f0-9d862fa3a0df" providerId="ADAL" clId="{C8FF2AE4-D582-4D51-9A92-76963FA39E0C}" dt="2024-05-10T21:17:33.803" v="21" actId="404"/>
        <pc:sldMkLst>
          <pc:docMk/>
          <pc:sldMk cId="1889059743" sldId="562"/>
        </pc:sldMkLst>
        <pc:spChg chg="mod">
          <ac:chgData name="Sean Gallagher" userId="577446c3-45ae-4097-b8f0-9d862fa3a0df" providerId="ADAL" clId="{C8FF2AE4-D582-4D51-9A92-76963FA39E0C}" dt="2024-05-10T21:17:20.338" v="19" actId="404"/>
          <ac:spMkLst>
            <pc:docMk/>
            <pc:sldMk cId="1889059743" sldId="562"/>
            <ac:spMk id="3" creationId="{00000000-0000-0000-0000-000000000000}"/>
          </ac:spMkLst>
        </pc:spChg>
        <pc:spChg chg="mod">
          <ac:chgData name="Sean Gallagher" userId="577446c3-45ae-4097-b8f0-9d862fa3a0df" providerId="ADAL" clId="{C8FF2AE4-D582-4D51-9A92-76963FA39E0C}" dt="2024-05-10T21:17:33.803" v="21" actId="404"/>
          <ac:spMkLst>
            <pc:docMk/>
            <pc:sldMk cId="1889059743" sldId="562"/>
            <ac:spMk id="4" creationId="{00000000-0000-0000-0000-000000000000}"/>
          </ac:spMkLst>
        </pc:spChg>
      </pc:sldChg>
      <pc:sldChg chg="modSp add mod">
        <pc:chgData name="Sean Gallagher" userId="577446c3-45ae-4097-b8f0-9d862fa3a0df" providerId="ADAL" clId="{C8FF2AE4-D582-4D51-9A92-76963FA39E0C}" dt="2024-05-10T21:17:12.423" v="17" actId="1076"/>
        <pc:sldMkLst>
          <pc:docMk/>
          <pc:sldMk cId="3705476403" sldId="665"/>
        </pc:sldMkLst>
        <pc:spChg chg="mod">
          <ac:chgData name="Sean Gallagher" userId="577446c3-45ae-4097-b8f0-9d862fa3a0df" providerId="ADAL" clId="{C8FF2AE4-D582-4D51-9A92-76963FA39E0C}" dt="2024-05-10T21:17:12.423" v="17" actId="1076"/>
          <ac:spMkLst>
            <pc:docMk/>
            <pc:sldMk cId="3705476403" sldId="665"/>
            <ac:spMk id="37891" creationId="{00000000-0000-0000-0000-000000000000}"/>
          </ac:spMkLst>
        </pc:spChg>
      </pc:sldChg>
      <pc:sldChg chg="modSp add mod">
        <pc:chgData name="Sean Gallagher" userId="577446c3-45ae-4097-b8f0-9d862fa3a0df" providerId="ADAL" clId="{C8FF2AE4-D582-4D51-9A92-76963FA39E0C}" dt="2024-05-10T21:22:46.277" v="95" actId="1076"/>
        <pc:sldMkLst>
          <pc:docMk/>
          <pc:sldMk cId="4227875932" sldId="736"/>
        </pc:sldMkLst>
        <pc:spChg chg="mod">
          <ac:chgData name="Sean Gallagher" userId="577446c3-45ae-4097-b8f0-9d862fa3a0df" providerId="ADAL" clId="{C8FF2AE4-D582-4D51-9A92-76963FA39E0C}" dt="2024-05-10T21:22:46.277" v="95" actId="1076"/>
          <ac:spMkLst>
            <pc:docMk/>
            <pc:sldMk cId="4227875932" sldId="736"/>
            <ac:spMk id="7" creationId="{717F256E-A79D-C7D7-7858-CC862663E2E7}"/>
          </ac:spMkLst>
        </pc:spChg>
        <pc:spChg chg="mod">
          <ac:chgData name="Sean Gallagher" userId="577446c3-45ae-4097-b8f0-9d862fa3a0df" providerId="ADAL" clId="{C8FF2AE4-D582-4D51-9A92-76963FA39E0C}" dt="2024-05-10T21:22:41.356" v="94" actId="207"/>
          <ac:spMkLst>
            <pc:docMk/>
            <pc:sldMk cId="4227875932" sldId="736"/>
            <ac:spMk id="35" creationId="{B6FAAE2C-77D9-49B0-9DF6-0DE4D2214F1D}"/>
          </ac:spMkLst>
        </pc:spChg>
      </pc:sldChg>
      <pc:sldChg chg="add">
        <pc:chgData name="Sean Gallagher" userId="577446c3-45ae-4097-b8f0-9d862fa3a0df" providerId="ADAL" clId="{C8FF2AE4-D582-4D51-9A92-76963FA39E0C}" dt="2024-05-10T21:15:52.239" v="0"/>
        <pc:sldMkLst>
          <pc:docMk/>
          <pc:sldMk cId="3879588722" sldId="2134958657"/>
        </pc:sldMkLst>
      </pc:sldChg>
      <pc:sldChg chg="add">
        <pc:chgData name="Sean Gallagher" userId="577446c3-45ae-4097-b8f0-9d862fa3a0df" providerId="ADAL" clId="{C8FF2AE4-D582-4D51-9A92-76963FA39E0C}" dt="2024-05-10T21:16:04.604" v="1"/>
        <pc:sldMkLst>
          <pc:docMk/>
          <pc:sldMk cId="1767604790" sldId="2134958658"/>
        </pc:sldMkLst>
      </pc:sldChg>
      <pc:sldChg chg="add">
        <pc:chgData name="Sean Gallagher" userId="577446c3-45ae-4097-b8f0-9d862fa3a0df" providerId="ADAL" clId="{C8FF2AE4-D582-4D51-9A92-76963FA39E0C}" dt="2024-05-10T21:16:04.604" v="1"/>
        <pc:sldMkLst>
          <pc:docMk/>
          <pc:sldMk cId="2927189694" sldId="2134958659"/>
        </pc:sldMkLst>
      </pc:sldChg>
      <pc:sldChg chg="add">
        <pc:chgData name="Sean Gallagher" userId="577446c3-45ae-4097-b8f0-9d862fa3a0df" providerId="ADAL" clId="{C8FF2AE4-D582-4D51-9A92-76963FA39E0C}" dt="2024-05-10T21:16:04.604" v="1"/>
        <pc:sldMkLst>
          <pc:docMk/>
          <pc:sldMk cId="1787495031" sldId="2134958660"/>
        </pc:sldMkLst>
      </pc:sldChg>
      <pc:sldChg chg="add">
        <pc:chgData name="Sean Gallagher" userId="577446c3-45ae-4097-b8f0-9d862fa3a0df" providerId="ADAL" clId="{C8FF2AE4-D582-4D51-9A92-76963FA39E0C}" dt="2024-05-10T21:16:04.604" v="1"/>
        <pc:sldMkLst>
          <pc:docMk/>
          <pc:sldMk cId="2087614669" sldId="2134958661"/>
        </pc:sldMkLst>
      </pc:sldChg>
      <pc:sldChg chg="add">
        <pc:chgData name="Sean Gallagher" userId="577446c3-45ae-4097-b8f0-9d862fa3a0df" providerId="ADAL" clId="{C8FF2AE4-D582-4D51-9A92-76963FA39E0C}" dt="2024-05-10T21:16:04.604" v="1"/>
        <pc:sldMkLst>
          <pc:docMk/>
          <pc:sldMk cId="3556633398" sldId="2134958662"/>
        </pc:sldMkLst>
      </pc:sldChg>
      <pc:sldChg chg="add">
        <pc:chgData name="Sean Gallagher" userId="577446c3-45ae-4097-b8f0-9d862fa3a0df" providerId="ADAL" clId="{C8FF2AE4-D582-4D51-9A92-76963FA39E0C}" dt="2024-05-10T21:16:04.604" v="1"/>
        <pc:sldMkLst>
          <pc:docMk/>
          <pc:sldMk cId="2234786306" sldId="2134958663"/>
        </pc:sldMkLst>
      </pc:sldChg>
      <pc:sldChg chg="add">
        <pc:chgData name="Sean Gallagher" userId="577446c3-45ae-4097-b8f0-9d862fa3a0df" providerId="ADAL" clId="{C8FF2AE4-D582-4D51-9A92-76963FA39E0C}" dt="2024-05-10T21:16:04.604" v="1"/>
        <pc:sldMkLst>
          <pc:docMk/>
          <pc:sldMk cId="2431713303" sldId="2134958664"/>
        </pc:sldMkLst>
      </pc:sldChg>
      <pc:sldChg chg="add">
        <pc:chgData name="Sean Gallagher" userId="577446c3-45ae-4097-b8f0-9d862fa3a0df" providerId="ADAL" clId="{C8FF2AE4-D582-4D51-9A92-76963FA39E0C}" dt="2024-05-10T21:16:04.604" v="1"/>
        <pc:sldMkLst>
          <pc:docMk/>
          <pc:sldMk cId="117535219" sldId="2134958665"/>
        </pc:sldMkLst>
      </pc:sldChg>
      <pc:sldChg chg="add">
        <pc:chgData name="Sean Gallagher" userId="577446c3-45ae-4097-b8f0-9d862fa3a0df" providerId="ADAL" clId="{C8FF2AE4-D582-4D51-9A92-76963FA39E0C}" dt="2024-05-10T21:16:04.604" v="1"/>
        <pc:sldMkLst>
          <pc:docMk/>
          <pc:sldMk cId="3780154796" sldId="2134958666"/>
        </pc:sldMkLst>
      </pc:sldChg>
      <pc:sldChg chg="add">
        <pc:chgData name="Sean Gallagher" userId="577446c3-45ae-4097-b8f0-9d862fa3a0df" providerId="ADAL" clId="{C8FF2AE4-D582-4D51-9A92-76963FA39E0C}" dt="2024-05-10T21:16:04.604" v="1"/>
        <pc:sldMkLst>
          <pc:docMk/>
          <pc:sldMk cId="3306426560" sldId="2134958667"/>
        </pc:sldMkLst>
      </pc:sldChg>
      <pc:sldChg chg="add">
        <pc:chgData name="Sean Gallagher" userId="577446c3-45ae-4097-b8f0-9d862fa3a0df" providerId="ADAL" clId="{C8FF2AE4-D582-4D51-9A92-76963FA39E0C}" dt="2024-05-10T21:16:04.604" v="1"/>
        <pc:sldMkLst>
          <pc:docMk/>
          <pc:sldMk cId="4254485563" sldId="2134958668"/>
        </pc:sldMkLst>
      </pc:sldChg>
      <pc:sldChg chg="add">
        <pc:chgData name="Sean Gallagher" userId="577446c3-45ae-4097-b8f0-9d862fa3a0df" providerId="ADAL" clId="{C8FF2AE4-D582-4D51-9A92-76963FA39E0C}" dt="2024-05-10T21:16:14.392" v="2"/>
        <pc:sldMkLst>
          <pc:docMk/>
          <pc:sldMk cId="1602359050" sldId="2134958669"/>
        </pc:sldMkLst>
      </pc:sldChg>
      <pc:sldChg chg="add">
        <pc:chgData name="Sean Gallagher" userId="577446c3-45ae-4097-b8f0-9d862fa3a0df" providerId="ADAL" clId="{C8FF2AE4-D582-4D51-9A92-76963FA39E0C}" dt="2024-05-10T21:16:14.392" v="2"/>
        <pc:sldMkLst>
          <pc:docMk/>
          <pc:sldMk cId="3556454588" sldId="2134958670"/>
        </pc:sldMkLst>
      </pc:sldChg>
      <pc:sldChg chg="add">
        <pc:chgData name="Sean Gallagher" userId="577446c3-45ae-4097-b8f0-9d862fa3a0df" providerId="ADAL" clId="{C8FF2AE4-D582-4D51-9A92-76963FA39E0C}" dt="2024-05-10T21:16:14.392" v="2"/>
        <pc:sldMkLst>
          <pc:docMk/>
          <pc:sldMk cId="1258030360" sldId="2134958671"/>
        </pc:sldMkLst>
      </pc:sldChg>
      <pc:sldChg chg="add">
        <pc:chgData name="Sean Gallagher" userId="577446c3-45ae-4097-b8f0-9d862fa3a0df" providerId="ADAL" clId="{C8FF2AE4-D582-4D51-9A92-76963FA39E0C}" dt="2024-05-10T21:16:14.392" v="2"/>
        <pc:sldMkLst>
          <pc:docMk/>
          <pc:sldMk cId="259419107" sldId="2134958672"/>
        </pc:sldMkLst>
      </pc:sldChg>
      <pc:sldChg chg="add">
        <pc:chgData name="Sean Gallagher" userId="577446c3-45ae-4097-b8f0-9d862fa3a0df" providerId="ADAL" clId="{C8FF2AE4-D582-4D51-9A92-76963FA39E0C}" dt="2024-05-10T21:16:14.392" v="2"/>
        <pc:sldMkLst>
          <pc:docMk/>
          <pc:sldMk cId="2922191332" sldId="2134958673"/>
        </pc:sldMkLst>
      </pc:sldChg>
      <pc:sldChg chg="add">
        <pc:chgData name="Sean Gallagher" userId="577446c3-45ae-4097-b8f0-9d862fa3a0df" providerId="ADAL" clId="{C8FF2AE4-D582-4D51-9A92-76963FA39E0C}" dt="2024-05-10T21:16:14.392" v="2"/>
        <pc:sldMkLst>
          <pc:docMk/>
          <pc:sldMk cId="2658995550" sldId="2134958674"/>
        </pc:sldMkLst>
      </pc:sldChg>
      <pc:sldChg chg="add">
        <pc:chgData name="Sean Gallagher" userId="577446c3-45ae-4097-b8f0-9d862fa3a0df" providerId="ADAL" clId="{C8FF2AE4-D582-4D51-9A92-76963FA39E0C}" dt="2024-05-10T21:16:14.392" v="2"/>
        <pc:sldMkLst>
          <pc:docMk/>
          <pc:sldMk cId="1807301788" sldId="2134958675"/>
        </pc:sldMkLst>
      </pc:sldChg>
      <pc:sldChg chg="add">
        <pc:chgData name="Sean Gallagher" userId="577446c3-45ae-4097-b8f0-9d862fa3a0df" providerId="ADAL" clId="{C8FF2AE4-D582-4D51-9A92-76963FA39E0C}" dt="2024-05-10T21:16:14.392" v="2"/>
        <pc:sldMkLst>
          <pc:docMk/>
          <pc:sldMk cId="3655141030" sldId="2134958676"/>
        </pc:sldMkLst>
      </pc:sldChg>
      <pc:sldChg chg="add">
        <pc:chgData name="Sean Gallagher" userId="577446c3-45ae-4097-b8f0-9d862fa3a0df" providerId="ADAL" clId="{C8FF2AE4-D582-4D51-9A92-76963FA39E0C}" dt="2024-05-10T21:16:14.392" v="2"/>
        <pc:sldMkLst>
          <pc:docMk/>
          <pc:sldMk cId="2509771754" sldId="2134958677"/>
        </pc:sldMkLst>
      </pc:sldChg>
      <pc:sldChg chg="add">
        <pc:chgData name="Sean Gallagher" userId="577446c3-45ae-4097-b8f0-9d862fa3a0df" providerId="ADAL" clId="{C8FF2AE4-D582-4D51-9A92-76963FA39E0C}" dt="2024-05-10T21:16:14.392" v="2"/>
        <pc:sldMkLst>
          <pc:docMk/>
          <pc:sldMk cId="2347899676" sldId="2134958678"/>
        </pc:sldMkLst>
      </pc:sldChg>
      <pc:sldChg chg="add">
        <pc:chgData name="Sean Gallagher" userId="577446c3-45ae-4097-b8f0-9d862fa3a0df" providerId="ADAL" clId="{C8FF2AE4-D582-4D51-9A92-76963FA39E0C}" dt="2024-05-10T21:16:27.081" v="3"/>
        <pc:sldMkLst>
          <pc:docMk/>
          <pc:sldMk cId="4278791534" sldId="2134958679"/>
        </pc:sldMkLst>
      </pc:sldChg>
      <pc:sldChg chg="add">
        <pc:chgData name="Sean Gallagher" userId="577446c3-45ae-4097-b8f0-9d862fa3a0df" providerId="ADAL" clId="{C8FF2AE4-D582-4D51-9A92-76963FA39E0C}" dt="2024-05-10T21:16:27.081" v="3"/>
        <pc:sldMkLst>
          <pc:docMk/>
          <pc:sldMk cId="591568" sldId="2134958680"/>
        </pc:sldMkLst>
      </pc:sldChg>
      <pc:sldChg chg="add">
        <pc:chgData name="Sean Gallagher" userId="577446c3-45ae-4097-b8f0-9d862fa3a0df" providerId="ADAL" clId="{C8FF2AE4-D582-4D51-9A92-76963FA39E0C}" dt="2024-05-10T21:16:27.081" v="3"/>
        <pc:sldMkLst>
          <pc:docMk/>
          <pc:sldMk cId="2537547692" sldId="2134958681"/>
        </pc:sldMkLst>
      </pc:sldChg>
      <pc:sldChg chg="add">
        <pc:chgData name="Sean Gallagher" userId="577446c3-45ae-4097-b8f0-9d862fa3a0df" providerId="ADAL" clId="{C8FF2AE4-D582-4D51-9A92-76963FA39E0C}" dt="2024-05-10T21:16:27.081" v="3"/>
        <pc:sldMkLst>
          <pc:docMk/>
          <pc:sldMk cId="240375538" sldId="2134958682"/>
        </pc:sldMkLst>
      </pc:sldChg>
      <pc:sldChg chg="modSp add mod">
        <pc:chgData name="Sean Gallagher" userId="577446c3-45ae-4097-b8f0-9d862fa3a0df" providerId="ADAL" clId="{C8FF2AE4-D582-4D51-9A92-76963FA39E0C}" dt="2024-05-10T21:17:08.636" v="5" actId="27636"/>
        <pc:sldMkLst>
          <pc:docMk/>
          <pc:sldMk cId="2008150058" sldId="2134958683"/>
        </pc:sldMkLst>
        <pc:spChg chg="mod">
          <ac:chgData name="Sean Gallagher" userId="577446c3-45ae-4097-b8f0-9d862fa3a0df" providerId="ADAL" clId="{C8FF2AE4-D582-4D51-9A92-76963FA39E0C}" dt="2024-05-10T21:17:08.636" v="5" actId="27636"/>
          <ac:spMkLst>
            <pc:docMk/>
            <pc:sldMk cId="2008150058" sldId="2134958683"/>
            <ac:spMk id="3" creationId="{6D84B8EF-B625-1BED-0B37-46CD90759F42}"/>
          </ac:spMkLst>
        </pc:spChg>
      </pc:sldChg>
      <pc:sldChg chg="modSp add mod">
        <pc:chgData name="Sean Gallagher" userId="577446c3-45ae-4097-b8f0-9d862fa3a0df" providerId="ADAL" clId="{C8FF2AE4-D582-4D51-9A92-76963FA39E0C}" dt="2024-05-10T21:23:51.102" v="108" actId="1076"/>
        <pc:sldMkLst>
          <pc:docMk/>
          <pc:sldMk cId="5242626" sldId="2145706221"/>
        </pc:sldMkLst>
        <pc:spChg chg="mod">
          <ac:chgData name="Sean Gallagher" userId="577446c3-45ae-4097-b8f0-9d862fa3a0df" providerId="ADAL" clId="{C8FF2AE4-D582-4D51-9A92-76963FA39E0C}" dt="2024-05-10T21:23:51.102" v="108" actId="1076"/>
          <ac:spMkLst>
            <pc:docMk/>
            <pc:sldMk cId="5242626" sldId="2145706221"/>
            <ac:spMk id="4" creationId="{BC9D92EC-C4D5-4EDD-89BF-A25F6E48AD7D}"/>
          </ac:spMkLst>
        </pc:spChg>
      </pc:sldChg>
      <pc:sldChg chg="modSp add mod">
        <pc:chgData name="Sean Gallagher" userId="577446c3-45ae-4097-b8f0-9d862fa3a0df" providerId="ADAL" clId="{C8FF2AE4-D582-4D51-9A92-76963FA39E0C}" dt="2024-05-10T21:22:34.097" v="93" actId="1076"/>
        <pc:sldMkLst>
          <pc:docMk/>
          <pc:sldMk cId="2304656922" sldId="2147471816"/>
        </pc:sldMkLst>
        <pc:spChg chg="mod">
          <ac:chgData name="Sean Gallagher" userId="577446c3-45ae-4097-b8f0-9d862fa3a0df" providerId="ADAL" clId="{C8FF2AE4-D582-4D51-9A92-76963FA39E0C}" dt="2024-05-10T21:22:32.038" v="92" actId="1076"/>
          <ac:spMkLst>
            <pc:docMk/>
            <pc:sldMk cId="2304656922" sldId="2147471816"/>
            <ac:spMk id="6" creationId="{90304FD3-1821-447B-8014-B677890F0007}"/>
          </ac:spMkLst>
        </pc:spChg>
        <pc:spChg chg="mod">
          <ac:chgData name="Sean Gallagher" userId="577446c3-45ae-4097-b8f0-9d862fa3a0df" providerId="ADAL" clId="{C8FF2AE4-D582-4D51-9A92-76963FA39E0C}" dt="2024-05-10T21:22:34.097" v="93" actId="1076"/>
          <ac:spMkLst>
            <pc:docMk/>
            <pc:sldMk cId="2304656922" sldId="2147471816"/>
            <ac:spMk id="9" creationId="{0128EF26-F3F4-413E-9006-B6FE58288233}"/>
          </ac:spMkLst>
        </pc:spChg>
        <pc:spChg chg="mod">
          <ac:chgData name="Sean Gallagher" userId="577446c3-45ae-4097-b8f0-9d862fa3a0df" providerId="ADAL" clId="{C8FF2AE4-D582-4D51-9A92-76963FA39E0C}" dt="2024-05-10T21:22:26.188" v="89" actId="207"/>
          <ac:spMkLst>
            <pc:docMk/>
            <pc:sldMk cId="2304656922" sldId="2147471816"/>
            <ac:spMk id="10" creationId="{012B0127-8817-7D9B-76E6-02C5AB82680D}"/>
          </ac:spMkLst>
        </pc:spChg>
        <pc:cxnChg chg="mod">
          <ac:chgData name="Sean Gallagher" userId="577446c3-45ae-4097-b8f0-9d862fa3a0df" providerId="ADAL" clId="{C8FF2AE4-D582-4D51-9A92-76963FA39E0C}" dt="2024-05-10T21:22:29.899" v="90" actId="1076"/>
          <ac:cxnSpMkLst>
            <pc:docMk/>
            <pc:sldMk cId="2304656922" sldId="2147471816"/>
            <ac:cxnSpMk id="3" creationId="{3F170077-F6A5-47AB-B690-4ECC056AD63D}"/>
          </ac:cxnSpMkLst>
        </pc:cxnChg>
      </pc:sldChg>
      <pc:sldChg chg="modSp add mod">
        <pc:chgData name="Sean Gallagher" userId="577446c3-45ae-4097-b8f0-9d862fa3a0df" providerId="ADAL" clId="{C8FF2AE4-D582-4D51-9A92-76963FA39E0C}" dt="2024-05-10T21:23:25.459" v="105" actId="207"/>
        <pc:sldMkLst>
          <pc:docMk/>
          <pc:sldMk cId="1575337040" sldId="2147472139"/>
        </pc:sldMkLst>
        <pc:spChg chg="mod">
          <ac:chgData name="Sean Gallagher" userId="577446c3-45ae-4097-b8f0-9d862fa3a0df" providerId="ADAL" clId="{C8FF2AE4-D582-4D51-9A92-76963FA39E0C}" dt="2024-05-10T21:23:25.459" v="105" actId="207"/>
          <ac:spMkLst>
            <pc:docMk/>
            <pc:sldMk cId="1575337040" sldId="2147472139"/>
            <ac:spMk id="5" creationId="{B0C74CA0-513B-4CB4-8B06-63796D94328F}"/>
          </ac:spMkLst>
        </pc:spChg>
      </pc:sldChg>
      <pc:sldChg chg="modSp add mod">
        <pc:chgData name="Sean Gallagher" userId="577446c3-45ae-4097-b8f0-9d862fa3a0df" providerId="ADAL" clId="{C8FF2AE4-D582-4D51-9A92-76963FA39E0C}" dt="2024-05-10T21:23:16.096" v="104" actId="207"/>
        <pc:sldMkLst>
          <pc:docMk/>
          <pc:sldMk cId="3836855309" sldId="2147472191"/>
        </pc:sldMkLst>
        <pc:spChg chg="mod">
          <ac:chgData name="Sean Gallagher" userId="577446c3-45ae-4097-b8f0-9d862fa3a0df" providerId="ADAL" clId="{C8FF2AE4-D582-4D51-9A92-76963FA39E0C}" dt="2024-05-10T21:17:08.745" v="13" actId="27636"/>
          <ac:spMkLst>
            <pc:docMk/>
            <pc:sldMk cId="3836855309" sldId="2147472191"/>
            <ac:spMk id="3" creationId="{D4481C23-56F2-99F2-138F-6BA2E3D21E3B}"/>
          </ac:spMkLst>
        </pc:spChg>
        <pc:spChg chg="mod">
          <ac:chgData name="Sean Gallagher" userId="577446c3-45ae-4097-b8f0-9d862fa3a0df" providerId="ADAL" clId="{C8FF2AE4-D582-4D51-9A92-76963FA39E0C}" dt="2024-05-10T21:23:16.096" v="104" actId="207"/>
          <ac:spMkLst>
            <pc:docMk/>
            <pc:sldMk cId="3836855309" sldId="2147472191"/>
            <ac:spMk id="8" creationId="{0A298E03-4A00-40B0-0FF2-DBA92DDAA00D}"/>
          </ac:spMkLst>
        </pc:spChg>
        <pc:spChg chg="mod">
          <ac:chgData name="Sean Gallagher" userId="577446c3-45ae-4097-b8f0-9d862fa3a0df" providerId="ADAL" clId="{C8FF2AE4-D582-4D51-9A92-76963FA39E0C}" dt="2024-05-10T21:17:08.745" v="14" actId="27636"/>
          <ac:spMkLst>
            <pc:docMk/>
            <pc:sldMk cId="3836855309" sldId="2147472191"/>
            <ac:spMk id="16" creationId="{F7591714-6534-5261-9E93-D90CD162A74B}"/>
          </ac:spMkLst>
        </pc:spChg>
      </pc:sldChg>
      <pc:sldChg chg="modSp add mod">
        <pc:chgData name="Sean Gallagher" userId="577446c3-45ae-4097-b8f0-9d862fa3a0df" providerId="ADAL" clId="{C8FF2AE4-D582-4D51-9A92-76963FA39E0C}" dt="2024-05-10T21:24:09.505" v="112" actId="1076"/>
        <pc:sldMkLst>
          <pc:docMk/>
          <pc:sldMk cId="421664077" sldId="2147472195"/>
        </pc:sldMkLst>
        <pc:spChg chg="mod">
          <ac:chgData name="Sean Gallagher" userId="577446c3-45ae-4097-b8f0-9d862fa3a0df" providerId="ADAL" clId="{C8FF2AE4-D582-4D51-9A92-76963FA39E0C}" dt="2024-05-10T21:24:06.161" v="111" actId="404"/>
          <ac:spMkLst>
            <pc:docMk/>
            <pc:sldMk cId="421664077" sldId="2147472195"/>
            <ac:spMk id="3" creationId="{EEAC41A9-B367-3BBB-73EA-487F48C1EB94}"/>
          </ac:spMkLst>
        </pc:spChg>
        <pc:spChg chg="mod">
          <ac:chgData name="Sean Gallagher" userId="577446c3-45ae-4097-b8f0-9d862fa3a0df" providerId="ADAL" clId="{C8FF2AE4-D582-4D51-9A92-76963FA39E0C}" dt="2024-05-10T21:24:09.505" v="112" actId="1076"/>
          <ac:spMkLst>
            <pc:docMk/>
            <pc:sldMk cId="421664077" sldId="2147472195"/>
            <ac:spMk id="4" creationId="{750E5861-D030-C790-452F-F610A5C3FDDA}"/>
          </ac:spMkLst>
        </pc:spChg>
      </pc:sldChg>
      <pc:sldChg chg="modSp add mod">
        <pc:chgData name="Sean Gallagher" userId="577446c3-45ae-4097-b8f0-9d862fa3a0df" providerId="ADAL" clId="{C8FF2AE4-D582-4D51-9A92-76963FA39E0C}" dt="2024-05-10T21:22:02.940" v="84" actId="1076"/>
        <pc:sldMkLst>
          <pc:docMk/>
          <pc:sldMk cId="2188271341" sldId="2147472197"/>
        </pc:sldMkLst>
        <pc:spChg chg="mod">
          <ac:chgData name="Sean Gallagher" userId="577446c3-45ae-4097-b8f0-9d862fa3a0df" providerId="ADAL" clId="{C8FF2AE4-D582-4D51-9A92-76963FA39E0C}" dt="2024-05-10T21:21:55.616" v="82" actId="404"/>
          <ac:spMkLst>
            <pc:docMk/>
            <pc:sldMk cId="2188271341" sldId="2147472197"/>
            <ac:spMk id="2" creationId="{BCE396BA-4071-583B-9F9B-9291D204AF4F}"/>
          </ac:spMkLst>
        </pc:spChg>
        <pc:spChg chg="mod">
          <ac:chgData name="Sean Gallagher" userId="577446c3-45ae-4097-b8f0-9d862fa3a0df" providerId="ADAL" clId="{C8FF2AE4-D582-4D51-9A92-76963FA39E0C}" dt="2024-05-10T21:22:01.760" v="83" actId="1076"/>
          <ac:spMkLst>
            <pc:docMk/>
            <pc:sldMk cId="2188271341" sldId="2147472197"/>
            <ac:spMk id="5" creationId="{3DA535B2-C6F7-E183-8E47-FFDC770B8E1A}"/>
          </ac:spMkLst>
        </pc:spChg>
        <pc:picChg chg="mod">
          <ac:chgData name="Sean Gallagher" userId="577446c3-45ae-4097-b8f0-9d862fa3a0df" providerId="ADAL" clId="{C8FF2AE4-D582-4D51-9A92-76963FA39E0C}" dt="2024-05-10T21:22:02.940" v="84" actId="1076"/>
          <ac:picMkLst>
            <pc:docMk/>
            <pc:sldMk cId="2188271341" sldId="2147472197"/>
            <ac:picMk id="4" creationId="{223FFFAE-81F9-519E-A47B-741DF9BD6AEB}"/>
          </ac:picMkLst>
        </pc:picChg>
        <pc:picChg chg="mod">
          <ac:chgData name="Sean Gallagher" userId="577446c3-45ae-4097-b8f0-9d862fa3a0df" providerId="ADAL" clId="{C8FF2AE4-D582-4D51-9A92-76963FA39E0C}" dt="2024-05-10T21:21:51.748" v="80" actId="14100"/>
          <ac:picMkLst>
            <pc:docMk/>
            <pc:sldMk cId="2188271341" sldId="2147472197"/>
            <ac:picMk id="3074" creationId="{A40500EC-4A98-DC67-7EF8-B49547D85488}"/>
          </ac:picMkLst>
        </pc:picChg>
      </pc:sldChg>
      <pc:sldChg chg="modSp add mod">
        <pc:chgData name="Sean Gallagher" userId="577446c3-45ae-4097-b8f0-9d862fa3a0df" providerId="ADAL" clId="{C8FF2AE4-D582-4D51-9A92-76963FA39E0C}" dt="2024-05-10T21:24:18.069" v="116" actId="1076"/>
        <pc:sldMkLst>
          <pc:docMk/>
          <pc:sldMk cId="3809189080" sldId="2147472198"/>
        </pc:sldMkLst>
        <pc:spChg chg="mod">
          <ac:chgData name="Sean Gallagher" userId="577446c3-45ae-4097-b8f0-9d862fa3a0df" providerId="ADAL" clId="{C8FF2AE4-D582-4D51-9A92-76963FA39E0C}" dt="2024-05-10T21:24:15.678" v="115" actId="404"/>
          <ac:spMkLst>
            <pc:docMk/>
            <pc:sldMk cId="3809189080" sldId="2147472198"/>
            <ac:spMk id="2" creationId="{2DFFA333-0B85-DCE3-0F21-0B3DF1953A26}"/>
          </ac:spMkLst>
        </pc:spChg>
        <pc:spChg chg="mod">
          <ac:chgData name="Sean Gallagher" userId="577446c3-45ae-4097-b8f0-9d862fa3a0df" providerId="ADAL" clId="{C8FF2AE4-D582-4D51-9A92-76963FA39E0C}" dt="2024-05-10T21:24:18.069" v="116" actId="1076"/>
          <ac:spMkLst>
            <pc:docMk/>
            <pc:sldMk cId="3809189080" sldId="2147472198"/>
            <ac:spMk id="3" creationId="{9DCB8392-7B7D-B976-DAC9-DF401E695292}"/>
          </ac:spMkLst>
        </pc:spChg>
      </pc:sldChg>
      <pc:sldChg chg="modSp add mod">
        <pc:chgData name="Sean Gallagher" userId="577446c3-45ae-4097-b8f0-9d862fa3a0df" providerId="ADAL" clId="{C8FF2AE4-D582-4D51-9A92-76963FA39E0C}" dt="2024-05-10T21:21:42.427" v="78" actId="1076"/>
        <pc:sldMkLst>
          <pc:docMk/>
          <pc:sldMk cId="1605971645" sldId="2147472200"/>
        </pc:sldMkLst>
        <pc:spChg chg="mod">
          <ac:chgData name="Sean Gallagher" userId="577446c3-45ae-4097-b8f0-9d862fa3a0df" providerId="ADAL" clId="{C8FF2AE4-D582-4D51-9A92-76963FA39E0C}" dt="2024-05-10T21:21:42.427" v="78" actId="1076"/>
          <ac:spMkLst>
            <pc:docMk/>
            <pc:sldMk cId="1605971645" sldId="2147472200"/>
            <ac:spMk id="5" creationId="{033FD9BC-EB1E-9F4B-7608-35536DFD23E7}"/>
          </ac:spMkLst>
        </pc:spChg>
      </pc:sldChg>
      <pc:sldChg chg="modSp add del mod">
        <pc:chgData name="Sean Gallagher" userId="577446c3-45ae-4097-b8f0-9d862fa3a0df" providerId="ADAL" clId="{C8FF2AE4-D582-4D51-9A92-76963FA39E0C}" dt="2024-05-10T21:23:07.412" v="103" actId="27636"/>
        <pc:sldMkLst>
          <pc:docMk/>
          <pc:sldMk cId="2072230460" sldId="2147472201"/>
        </pc:sldMkLst>
        <pc:spChg chg="mod">
          <ac:chgData name="Sean Gallagher" userId="577446c3-45ae-4097-b8f0-9d862fa3a0df" providerId="ADAL" clId="{C8FF2AE4-D582-4D51-9A92-76963FA39E0C}" dt="2024-05-10T21:22:54.891" v="97" actId="404"/>
          <ac:spMkLst>
            <pc:docMk/>
            <pc:sldMk cId="2072230460" sldId="2147472201"/>
            <ac:spMk id="2" creationId="{FB5A20EC-AB35-F5D7-813C-DAF53C32781D}"/>
          </ac:spMkLst>
        </pc:spChg>
        <pc:spChg chg="mod">
          <ac:chgData name="Sean Gallagher" userId="577446c3-45ae-4097-b8f0-9d862fa3a0df" providerId="ADAL" clId="{C8FF2AE4-D582-4D51-9A92-76963FA39E0C}" dt="2024-05-10T21:23:03.766" v="98" actId="6549"/>
          <ac:spMkLst>
            <pc:docMk/>
            <pc:sldMk cId="2072230460" sldId="2147472201"/>
            <ac:spMk id="13" creationId="{7C5C0821-E3F5-4290-BBF5-AB7F8C056398}"/>
          </ac:spMkLst>
        </pc:spChg>
        <pc:spChg chg="mod">
          <ac:chgData name="Sean Gallagher" userId="577446c3-45ae-4097-b8f0-9d862fa3a0df" providerId="ADAL" clId="{C8FF2AE4-D582-4D51-9A92-76963FA39E0C}" dt="2024-05-10T21:23:07.412" v="102" actId="27636"/>
          <ac:spMkLst>
            <pc:docMk/>
            <pc:sldMk cId="2072230460" sldId="2147472201"/>
            <ac:spMk id="22" creationId="{EAE5F1C6-8904-5FA7-61B1-F03A8F6C8B5B}"/>
          </ac:spMkLst>
        </pc:spChg>
        <pc:spChg chg="mod">
          <ac:chgData name="Sean Gallagher" userId="577446c3-45ae-4097-b8f0-9d862fa3a0df" providerId="ADAL" clId="{C8FF2AE4-D582-4D51-9A92-76963FA39E0C}" dt="2024-05-10T21:23:07.412" v="103" actId="27636"/>
          <ac:spMkLst>
            <pc:docMk/>
            <pc:sldMk cId="2072230460" sldId="2147472201"/>
            <ac:spMk id="30" creationId="{41B92415-E850-6ECF-BAF4-2DDEBC4EC2B5}"/>
          </ac:spMkLst>
        </pc:spChg>
        <pc:spChg chg="mod">
          <ac:chgData name="Sean Gallagher" userId="577446c3-45ae-4097-b8f0-9d862fa3a0df" providerId="ADAL" clId="{C8FF2AE4-D582-4D51-9A92-76963FA39E0C}" dt="2024-05-10T21:23:07.412" v="101" actId="27636"/>
          <ac:spMkLst>
            <pc:docMk/>
            <pc:sldMk cId="2072230460" sldId="2147472201"/>
            <ac:spMk id="31" creationId="{135EF3FE-CBB7-E1E0-258D-E9DBB43F1385}"/>
          </ac:spMkLst>
        </pc:spChg>
      </pc:sldChg>
      <pc:sldChg chg="modSp add mod">
        <pc:chgData name="Sean Gallagher" userId="577446c3-45ae-4097-b8f0-9d862fa3a0df" providerId="ADAL" clId="{C8FF2AE4-D582-4D51-9A92-76963FA39E0C}" dt="2024-05-10T21:19:11.459" v="47" actId="1076"/>
        <pc:sldMkLst>
          <pc:docMk/>
          <pc:sldMk cId="1333992503" sldId="2147478525"/>
        </pc:sldMkLst>
        <pc:spChg chg="mod">
          <ac:chgData name="Sean Gallagher" userId="577446c3-45ae-4097-b8f0-9d862fa3a0df" providerId="ADAL" clId="{C8FF2AE4-D582-4D51-9A92-76963FA39E0C}" dt="2024-05-10T21:17:08.713" v="7" actId="27636"/>
          <ac:spMkLst>
            <pc:docMk/>
            <pc:sldMk cId="1333992503" sldId="2147478525"/>
            <ac:spMk id="4" creationId="{29F70E2D-27D4-1C85-F189-460C9756107F}"/>
          </ac:spMkLst>
        </pc:spChg>
        <pc:picChg chg="mod">
          <ac:chgData name="Sean Gallagher" userId="577446c3-45ae-4097-b8f0-9d862fa3a0df" providerId="ADAL" clId="{C8FF2AE4-D582-4D51-9A92-76963FA39E0C}" dt="2024-05-10T21:19:11.459" v="47" actId="1076"/>
          <ac:picMkLst>
            <pc:docMk/>
            <pc:sldMk cId="1333992503" sldId="2147478525"/>
            <ac:picMk id="1026" creationId="{BCB4278E-5FC8-FED4-78F0-BB304E41944D}"/>
          </ac:picMkLst>
        </pc:picChg>
      </pc:sldChg>
      <pc:sldChg chg="addSp delSp modSp add del mod">
        <pc:chgData name="Sean Gallagher" userId="577446c3-45ae-4097-b8f0-9d862fa3a0df" providerId="ADAL" clId="{C8FF2AE4-D582-4D51-9A92-76963FA39E0C}" dt="2024-05-10T21:19:56.794" v="51" actId="47"/>
        <pc:sldMkLst>
          <pc:docMk/>
          <pc:sldMk cId="1912563941" sldId="2147478526"/>
        </pc:sldMkLst>
        <pc:spChg chg="del mod">
          <ac:chgData name="Sean Gallagher" userId="577446c3-45ae-4097-b8f0-9d862fa3a0df" providerId="ADAL" clId="{C8FF2AE4-D582-4D51-9A92-76963FA39E0C}" dt="2024-05-10T21:19:51.314" v="49" actId="478"/>
          <ac:spMkLst>
            <pc:docMk/>
            <pc:sldMk cId="1912563941" sldId="2147478526"/>
            <ac:spMk id="4" creationId="{D04DCAE1-047E-8051-5FD7-A7843DC6C153}"/>
          </ac:spMkLst>
        </pc:spChg>
        <pc:spChg chg="add mod">
          <ac:chgData name="Sean Gallagher" userId="577446c3-45ae-4097-b8f0-9d862fa3a0df" providerId="ADAL" clId="{C8FF2AE4-D582-4D51-9A92-76963FA39E0C}" dt="2024-05-10T21:19:51.314" v="49" actId="478"/>
          <ac:spMkLst>
            <pc:docMk/>
            <pc:sldMk cId="1912563941" sldId="2147478526"/>
            <ac:spMk id="10" creationId="{A1318BA7-A3D0-BE7A-D9EA-5C69FAF40EE6}"/>
          </ac:spMkLst>
        </pc:spChg>
      </pc:sldChg>
      <pc:sldChg chg="modSp add del mod">
        <pc:chgData name="Sean Gallagher" userId="577446c3-45ae-4097-b8f0-9d862fa3a0df" providerId="ADAL" clId="{C8FF2AE4-D582-4D51-9A92-76963FA39E0C}" dt="2024-05-10T21:20:05.316" v="53"/>
        <pc:sldMkLst>
          <pc:docMk/>
          <pc:sldMk cId="3086220693" sldId="2147478533"/>
        </pc:sldMkLst>
        <pc:spChg chg="mod">
          <ac:chgData name="Sean Gallagher" userId="577446c3-45ae-4097-b8f0-9d862fa3a0df" providerId="ADAL" clId="{C8FF2AE4-D582-4D51-9A92-76963FA39E0C}" dt="2024-05-10T21:17:08.713" v="8" actId="27636"/>
          <ac:spMkLst>
            <pc:docMk/>
            <pc:sldMk cId="3086220693" sldId="2147478533"/>
            <ac:spMk id="3" creationId="{B9A3FC45-6AA1-2238-983A-B2165707106A}"/>
          </ac:spMkLst>
        </pc:spChg>
      </pc:sldChg>
      <pc:sldChg chg="add del">
        <pc:chgData name="Sean Gallagher" userId="577446c3-45ae-4097-b8f0-9d862fa3a0df" providerId="ADAL" clId="{C8FF2AE4-D582-4D51-9A92-76963FA39E0C}" dt="2024-05-10T21:22:12.043" v="86"/>
        <pc:sldMkLst>
          <pc:docMk/>
          <pc:sldMk cId="3601715538" sldId="2147478534"/>
        </pc:sldMkLst>
      </pc:sldChg>
      <pc:sldChg chg="add">
        <pc:chgData name="Sean Gallagher" userId="577446c3-45ae-4097-b8f0-9d862fa3a0df" providerId="ADAL" clId="{C8FF2AE4-D582-4D51-9A92-76963FA39E0C}" dt="2024-05-10T21:17:08.557" v="4"/>
        <pc:sldMkLst>
          <pc:docMk/>
          <pc:sldMk cId="2812448454" sldId="2147478535"/>
        </pc:sldMkLst>
      </pc:sldChg>
      <pc:sldChg chg="add del">
        <pc:chgData name="Sean Gallagher" userId="577446c3-45ae-4097-b8f0-9d862fa3a0df" providerId="ADAL" clId="{C8FF2AE4-D582-4D51-9A92-76963FA39E0C}" dt="2024-05-10T21:23:38.998" v="107"/>
        <pc:sldMkLst>
          <pc:docMk/>
          <pc:sldMk cId="1976140233" sldId="2147478536"/>
        </pc:sldMkLst>
      </pc:sldChg>
      <pc:sldChg chg="modSp add">
        <pc:chgData name="Sean Gallagher" userId="577446c3-45ae-4097-b8f0-9d862fa3a0df" providerId="ADAL" clId="{C8FF2AE4-D582-4D51-9A92-76963FA39E0C}" dt="2024-05-10T21:18:44.432" v="35" actId="1076"/>
        <pc:sldMkLst>
          <pc:docMk/>
          <pc:sldMk cId="456787482" sldId="2147478539"/>
        </pc:sldMkLst>
        <pc:picChg chg="mod">
          <ac:chgData name="Sean Gallagher" userId="577446c3-45ae-4097-b8f0-9d862fa3a0df" providerId="ADAL" clId="{C8FF2AE4-D582-4D51-9A92-76963FA39E0C}" dt="2024-05-10T21:18:44.432" v="35" actId="1076"/>
          <ac:picMkLst>
            <pc:docMk/>
            <pc:sldMk cId="456787482" sldId="2147478539"/>
            <ac:picMk id="1026" creationId="{2538B175-6414-B42A-4E64-36874A32712A}"/>
          </ac:picMkLst>
        </pc:picChg>
      </pc:sldChg>
      <pc:sldChg chg="modSp add mod">
        <pc:chgData name="Sean Gallagher" userId="577446c3-45ae-4097-b8f0-9d862fa3a0df" providerId="ADAL" clId="{C8FF2AE4-D582-4D51-9A92-76963FA39E0C}" dt="2024-05-10T21:18:37.703" v="33" actId="1076"/>
        <pc:sldMkLst>
          <pc:docMk/>
          <pc:sldMk cId="3269564166" sldId="2147478540"/>
        </pc:sldMkLst>
        <pc:spChg chg="mod">
          <ac:chgData name="Sean Gallagher" userId="577446c3-45ae-4097-b8f0-9d862fa3a0df" providerId="ADAL" clId="{C8FF2AE4-D582-4D51-9A92-76963FA39E0C}" dt="2024-05-10T21:18:37.703" v="33" actId="1076"/>
          <ac:spMkLst>
            <pc:docMk/>
            <pc:sldMk cId="3269564166" sldId="2147478540"/>
            <ac:spMk id="6" creationId="{952E412C-68FC-D778-9054-3836F5632072}"/>
          </ac:spMkLst>
        </pc:spChg>
        <pc:spChg chg="mod">
          <ac:chgData name="Sean Gallagher" userId="577446c3-45ae-4097-b8f0-9d862fa3a0df" providerId="ADAL" clId="{C8FF2AE4-D582-4D51-9A92-76963FA39E0C}" dt="2024-05-10T21:18:22.733" v="29" actId="1076"/>
          <ac:spMkLst>
            <pc:docMk/>
            <pc:sldMk cId="3269564166" sldId="2147478540"/>
            <ac:spMk id="7" creationId="{72FBD91D-EB6F-2D61-3AFD-1A35FD01EDE3}"/>
          </ac:spMkLst>
        </pc:spChg>
      </pc:sldChg>
      <pc:sldChg chg="modSp add mod">
        <pc:chgData name="Sean Gallagher" userId="577446c3-45ae-4097-b8f0-9d862fa3a0df" providerId="ADAL" clId="{C8FF2AE4-D582-4D51-9A92-76963FA39E0C}" dt="2024-05-10T21:21:19.531" v="74" actId="1076"/>
        <pc:sldMkLst>
          <pc:docMk/>
          <pc:sldMk cId="832120449" sldId="2147478541"/>
        </pc:sldMkLst>
        <pc:spChg chg="mod">
          <ac:chgData name="Sean Gallagher" userId="577446c3-45ae-4097-b8f0-9d862fa3a0df" providerId="ADAL" clId="{C8FF2AE4-D582-4D51-9A92-76963FA39E0C}" dt="2024-05-10T21:21:19.531" v="74" actId="1076"/>
          <ac:spMkLst>
            <pc:docMk/>
            <pc:sldMk cId="832120449" sldId="2147478541"/>
            <ac:spMk id="3" creationId="{AB5F2DE3-94A0-04D0-0C22-0AF8EE6C4E97}"/>
          </ac:spMkLst>
        </pc:spChg>
        <pc:spChg chg="mod">
          <ac:chgData name="Sean Gallagher" userId="577446c3-45ae-4097-b8f0-9d862fa3a0df" providerId="ADAL" clId="{C8FF2AE4-D582-4D51-9A92-76963FA39E0C}" dt="2024-05-10T21:21:01.986" v="68" actId="1076"/>
          <ac:spMkLst>
            <pc:docMk/>
            <pc:sldMk cId="832120449" sldId="2147478541"/>
            <ac:spMk id="8" creationId="{86A9B832-3B7A-184A-B71A-A55D60A97431}"/>
          </ac:spMkLst>
        </pc:spChg>
        <pc:spChg chg="mod">
          <ac:chgData name="Sean Gallagher" userId="577446c3-45ae-4097-b8f0-9d862fa3a0df" providerId="ADAL" clId="{C8FF2AE4-D582-4D51-9A92-76963FA39E0C}" dt="2024-05-10T21:21:03.889" v="69" actId="1076"/>
          <ac:spMkLst>
            <pc:docMk/>
            <pc:sldMk cId="832120449" sldId="2147478541"/>
            <ac:spMk id="10" creationId="{03C9E653-9FC0-3A21-5027-FF01E3C9CC61}"/>
          </ac:spMkLst>
        </pc:spChg>
        <pc:spChg chg="mod">
          <ac:chgData name="Sean Gallagher" userId="577446c3-45ae-4097-b8f0-9d862fa3a0df" providerId="ADAL" clId="{C8FF2AE4-D582-4D51-9A92-76963FA39E0C}" dt="2024-05-10T21:20:22.793" v="57" actId="1076"/>
          <ac:spMkLst>
            <pc:docMk/>
            <pc:sldMk cId="832120449" sldId="2147478541"/>
            <ac:spMk id="11" creationId="{8C481F9B-0E0D-85B4-A70D-D45F1A77B00F}"/>
          </ac:spMkLst>
        </pc:spChg>
        <pc:spChg chg="mod">
          <ac:chgData name="Sean Gallagher" userId="577446c3-45ae-4097-b8f0-9d862fa3a0df" providerId="ADAL" clId="{C8FF2AE4-D582-4D51-9A92-76963FA39E0C}" dt="2024-05-10T21:21:12.930" v="72" actId="1076"/>
          <ac:spMkLst>
            <pc:docMk/>
            <pc:sldMk cId="832120449" sldId="2147478541"/>
            <ac:spMk id="12" creationId="{5155B02A-B32D-3900-2040-F6A338078274}"/>
          </ac:spMkLst>
        </pc:spChg>
        <pc:spChg chg="mod">
          <ac:chgData name="Sean Gallagher" userId="577446c3-45ae-4097-b8f0-9d862fa3a0df" providerId="ADAL" clId="{C8FF2AE4-D582-4D51-9A92-76963FA39E0C}" dt="2024-05-10T21:20:30.230" v="59" actId="1076"/>
          <ac:spMkLst>
            <pc:docMk/>
            <pc:sldMk cId="832120449" sldId="2147478541"/>
            <ac:spMk id="13" creationId="{6B351BD5-F5BC-3DB3-2036-9BA4D777A148}"/>
          </ac:spMkLst>
        </pc:spChg>
        <pc:spChg chg="mod">
          <ac:chgData name="Sean Gallagher" userId="577446c3-45ae-4097-b8f0-9d862fa3a0df" providerId="ADAL" clId="{C8FF2AE4-D582-4D51-9A92-76963FA39E0C}" dt="2024-05-10T21:20:33.972" v="60" actId="1076"/>
          <ac:spMkLst>
            <pc:docMk/>
            <pc:sldMk cId="832120449" sldId="2147478541"/>
            <ac:spMk id="14" creationId="{50454830-400A-6C88-A935-3923F1A3614C}"/>
          </ac:spMkLst>
        </pc:spChg>
        <pc:spChg chg="mod">
          <ac:chgData name="Sean Gallagher" userId="577446c3-45ae-4097-b8f0-9d862fa3a0df" providerId="ADAL" clId="{C8FF2AE4-D582-4D51-9A92-76963FA39E0C}" dt="2024-05-10T21:20:46.335" v="64" actId="1076"/>
          <ac:spMkLst>
            <pc:docMk/>
            <pc:sldMk cId="832120449" sldId="2147478541"/>
            <ac:spMk id="21" creationId="{DF940D6A-CFC4-B739-A09A-2A12AFD94004}"/>
          </ac:spMkLst>
        </pc:spChg>
        <pc:picChg chg="mod">
          <ac:chgData name="Sean Gallagher" userId="577446c3-45ae-4097-b8f0-9d862fa3a0df" providerId="ADAL" clId="{C8FF2AE4-D582-4D51-9A92-76963FA39E0C}" dt="2024-05-10T21:20:56.324" v="67" actId="1076"/>
          <ac:picMkLst>
            <pc:docMk/>
            <pc:sldMk cId="832120449" sldId="2147478541"/>
            <ac:picMk id="2" creationId="{95A76603-952C-F21D-7D71-A3C428C44DD5}"/>
          </ac:picMkLst>
        </pc:picChg>
        <pc:picChg chg="mod">
          <ac:chgData name="Sean Gallagher" userId="577446c3-45ae-4097-b8f0-9d862fa3a0df" providerId="ADAL" clId="{C8FF2AE4-D582-4D51-9A92-76963FA39E0C}" dt="2024-05-10T21:21:15.411" v="73" actId="1076"/>
          <ac:picMkLst>
            <pc:docMk/>
            <pc:sldMk cId="832120449" sldId="2147478541"/>
            <ac:picMk id="5" creationId="{1D8015D9-8269-CD32-D8A4-6DAA7B78AC27}"/>
          </ac:picMkLst>
        </pc:picChg>
        <pc:picChg chg="mod">
          <ac:chgData name="Sean Gallagher" userId="577446c3-45ae-4097-b8f0-9d862fa3a0df" providerId="ADAL" clId="{C8FF2AE4-D582-4D51-9A92-76963FA39E0C}" dt="2024-05-10T21:20:25.563" v="58" actId="1076"/>
          <ac:picMkLst>
            <pc:docMk/>
            <pc:sldMk cId="832120449" sldId="2147478541"/>
            <ac:picMk id="9" creationId="{D21296A1-FA2B-D553-5F07-911BBD4EBCAE}"/>
          </ac:picMkLst>
        </pc:picChg>
      </pc:sldChg>
      <pc:sldChg chg="modSp add mod">
        <pc:chgData name="Sean Gallagher" userId="577446c3-45ae-4097-b8f0-9d862fa3a0df" providerId="ADAL" clId="{C8FF2AE4-D582-4D51-9A92-76963FA39E0C}" dt="2024-05-10T21:17:54.352" v="27" actId="1076"/>
        <pc:sldMkLst>
          <pc:docMk/>
          <pc:sldMk cId="4121267045" sldId="2147478542"/>
        </pc:sldMkLst>
        <pc:spChg chg="mod">
          <ac:chgData name="Sean Gallagher" userId="577446c3-45ae-4097-b8f0-9d862fa3a0df" providerId="ADAL" clId="{C8FF2AE4-D582-4D51-9A92-76963FA39E0C}" dt="2024-05-10T21:17:41.164" v="23" actId="1076"/>
          <ac:spMkLst>
            <pc:docMk/>
            <pc:sldMk cId="4121267045" sldId="2147478542"/>
            <ac:spMk id="7" creationId="{41D7FEB4-7C63-386F-16E5-CB4309D3664C}"/>
          </ac:spMkLst>
        </pc:spChg>
        <pc:spChg chg="mod">
          <ac:chgData name="Sean Gallagher" userId="577446c3-45ae-4097-b8f0-9d862fa3a0df" providerId="ADAL" clId="{C8FF2AE4-D582-4D51-9A92-76963FA39E0C}" dt="2024-05-10T21:17:43.887" v="24" actId="1076"/>
          <ac:spMkLst>
            <pc:docMk/>
            <pc:sldMk cId="4121267045" sldId="2147478542"/>
            <ac:spMk id="8" creationId="{732ABDAB-DD08-4DD8-4E61-EF0E2685304C}"/>
          </ac:spMkLst>
        </pc:spChg>
        <pc:spChg chg="mod">
          <ac:chgData name="Sean Gallagher" userId="577446c3-45ae-4097-b8f0-9d862fa3a0df" providerId="ADAL" clId="{C8FF2AE4-D582-4D51-9A92-76963FA39E0C}" dt="2024-05-10T21:17:48.395" v="26" actId="1076"/>
          <ac:spMkLst>
            <pc:docMk/>
            <pc:sldMk cId="4121267045" sldId="2147478542"/>
            <ac:spMk id="9" creationId="{05D852A3-37D0-B689-74EC-3F1B3E4BEC22}"/>
          </ac:spMkLst>
        </pc:spChg>
        <pc:graphicFrameChg chg="mod">
          <ac:chgData name="Sean Gallagher" userId="577446c3-45ae-4097-b8f0-9d862fa3a0df" providerId="ADAL" clId="{C8FF2AE4-D582-4D51-9A92-76963FA39E0C}" dt="2024-05-10T21:17:54.352" v="27" actId="1076"/>
          <ac:graphicFrameMkLst>
            <pc:docMk/>
            <pc:sldMk cId="4121267045" sldId="2147478542"/>
            <ac:graphicFrameMk id="5" creationId="{90AD5D2A-D7F2-D69E-F6AF-AB89DCB07833}"/>
          </ac:graphicFrameMkLst>
        </pc:graphicFrameChg>
        <pc:picChg chg="mod">
          <ac:chgData name="Sean Gallagher" userId="577446c3-45ae-4097-b8f0-9d862fa3a0df" providerId="ADAL" clId="{C8FF2AE4-D582-4D51-9A92-76963FA39E0C}" dt="2024-05-10T21:17:38.713" v="22" actId="1076"/>
          <ac:picMkLst>
            <pc:docMk/>
            <pc:sldMk cId="4121267045" sldId="2147478542"/>
            <ac:picMk id="3074" creationId="{F0C52CDB-28C4-CB2D-D2C7-C0252DF4B54F}"/>
          </ac:picMkLst>
        </pc:picChg>
        <pc:picChg chg="mod">
          <ac:chgData name="Sean Gallagher" userId="577446c3-45ae-4097-b8f0-9d862fa3a0df" providerId="ADAL" clId="{C8FF2AE4-D582-4D51-9A92-76963FA39E0C}" dt="2024-05-10T21:17:45.333" v="25" actId="1076"/>
          <ac:picMkLst>
            <pc:docMk/>
            <pc:sldMk cId="4121267045" sldId="2147478542"/>
            <ac:picMk id="3076" creationId="{13405377-A9C3-C701-0738-847C086354CF}"/>
          </ac:picMkLst>
        </pc:picChg>
      </pc:sldChg>
      <pc:sldChg chg="modSp add mod">
        <pc:chgData name="Sean Gallagher" userId="577446c3-45ae-4097-b8f0-9d862fa3a0df" providerId="ADAL" clId="{C8FF2AE4-D582-4D51-9A92-76963FA39E0C}" dt="2024-05-10T21:24:42.343" v="122" actId="1076"/>
        <pc:sldMkLst>
          <pc:docMk/>
          <pc:sldMk cId="3865065241" sldId="2147478543"/>
        </pc:sldMkLst>
        <pc:spChg chg="mod">
          <ac:chgData name="Sean Gallagher" userId="577446c3-45ae-4097-b8f0-9d862fa3a0df" providerId="ADAL" clId="{C8FF2AE4-D582-4D51-9A92-76963FA39E0C}" dt="2024-05-10T21:24:42.343" v="122" actId="1076"/>
          <ac:spMkLst>
            <pc:docMk/>
            <pc:sldMk cId="3865065241" sldId="2147478543"/>
            <ac:spMk id="6" creationId="{83982E03-44BC-D905-3508-36B23A3C1396}"/>
          </ac:spMkLst>
        </pc:spChg>
        <pc:picChg chg="mod">
          <ac:chgData name="Sean Gallagher" userId="577446c3-45ae-4097-b8f0-9d862fa3a0df" providerId="ADAL" clId="{C8FF2AE4-D582-4D51-9A92-76963FA39E0C}" dt="2024-05-10T21:24:39.596" v="121" actId="1076"/>
          <ac:picMkLst>
            <pc:docMk/>
            <pc:sldMk cId="3865065241" sldId="2147478543"/>
            <ac:picMk id="5" creationId="{BF99675C-6A53-9ED1-73A7-A934EA0D3605}"/>
          </ac:picMkLst>
        </pc:picChg>
      </pc:sldChg>
      <pc:sldChg chg="modSp add mod">
        <pc:chgData name="Sean Gallagher" userId="577446c3-45ae-4097-b8f0-9d862fa3a0df" providerId="ADAL" clId="{C8FF2AE4-D582-4D51-9A92-76963FA39E0C}" dt="2024-05-10T21:24:29.916" v="119" actId="1076"/>
        <pc:sldMkLst>
          <pc:docMk/>
          <pc:sldMk cId="3725270075" sldId="2147478544"/>
        </pc:sldMkLst>
        <pc:spChg chg="mod">
          <ac:chgData name="Sean Gallagher" userId="577446c3-45ae-4097-b8f0-9d862fa3a0df" providerId="ADAL" clId="{C8FF2AE4-D582-4D51-9A92-76963FA39E0C}" dt="2024-05-10T21:24:29.916" v="119" actId="1076"/>
          <ac:spMkLst>
            <pc:docMk/>
            <pc:sldMk cId="3725270075" sldId="2147478544"/>
            <ac:spMk id="4" creationId="{8B3608CC-9677-355F-1D45-CC3C2FD22439}"/>
          </ac:spMkLst>
        </pc:spChg>
        <pc:picChg chg="mod">
          <ac:chgData name="Sean Gallagher" userId="577446c3-45ae-4097-b8f0-9d862fa3a0df" providerId="ADAL" clId="{C8FF2AE4-D582-4D51-9A92-76963FA39E0C}" dt="2024-05-10T21:24:27.545" v="118" actId="1076"/>
          <ac:picMkLst>
            <pc:docMk/>
            <pc:sldMk cId="3725270075" sldId="2147478544"/>
            <ac:picMk id="3" creationId="{17258B00-075F-3BB0-033A-1910E4F45E92}"/>
          </ac:picMkLst>
        </pc:picChg>
      </pc:sldChg>
      <pc:sldChg chg="add">
        <pc:chgData name="Sean Gallagher" userId="577446c3-45ae-4097-b8f0-9d862fa3a0df" providerId="ADAL" clId="{C8FF2AE4-D582-4D51-9A92-76963FA39E0C}" dt="2024-05-10T21:19:54.510" v="50"/>
        <pc:sldMkLst>
          <pc:docMk/>
          <pc:sldMk cId="2200391867" sldId="2147478545"/>
        </pc:sldMkLst>
      </pc:sldChg>
      <pc:sldChg chg="add">
        <pc:chgData name="Sean Gallagher" userId="577446c3-45ae-4097-b8f0-9d862fa3a0df" providerId="ADAL" clId="{C8FF2AE4-D582-4D51-9A92-76963FA39E0C}" dt="2024-05-10T21:24:55.664" v="123"/>
        <pc:sldMkLst>
          <pc:docMk/>
          <pc:sldMk cId="2544746381" sldId="2147478546"/>
        </pc:sldMkLst>
      </pc:sldChg>
      <pc:sldChg chg="add">
        <pc:chgData name="Sean Gallagher" userId="577446c3-45ae-4097-b8f0-9d862fa3a0df" providerId="ADAL" clId="{C8FF2AE4-D582-4D51-9A92-76963FA39E0C}" dt="2024-05-10T21:24:55.664" v="123"/>
        <pc:sldMkLst>
          <pc:docMk/>
          <pc:sldMk cId="3859983578" sldId="2147478547"/>
        </pc:sldMkLst>
      </pc:sldChg>
      <pc:sldChg chg="add">
        <pc:chgData name="Sean Gallagher" userId="577446c3-45ae-4097-b8f0-9d862fa3a0df" providerId="ADAL" clId="{C8FF2AE4-D582-4D51-9A92-76963FA39E0C}" dt="2024-05-10T21:24:55.664" v="123"/>
        <pc:sldMkLst>
          <pc:docMk/>
          <pc:sldMk cId="526285667" sldId="2147478548"/>
        </pc:sldMkLst>
      </pc:sldChg>
      <pc:sldChg chg="add">
        <pc:chgData name="Sean Gallagher" userId="577446c3-45ae-4097-b8f0-9d862fa3a0df" providerId="ADAL" clId="{C8FF2AE4-D582-4D51-9A92-76963FA39E0C}" dt="2024-05-10T21:24:55.664" v="123"/>
        <pc:sldMkLst>
          <pc:docMk/>
          <pc:sldMk cId="1604562289" sldId="2147478549"/>
        </pc:sldMkLst>
      </pc:sldChg>
      <pc:sldChg chg="add">
        <pc:chgData name="Sean Gallagher" userId="577446c3-45ae-4097-b8f0-9d862fa3a0df" providerId="ADAL" clId="{C8FF2AE4-D582-4D51-9A92-76963FA39E0C}" dt="2024-05-10T21:24:55.664" v="123"/>
        <pc:sldMkLst>
          <pc:docMk/>
          <pc:sldMk cId="2191792316" sldId="2147478550"/>
        </pc:sldMkLst>
      </pc:sldChg>
      <pc:sldChg chg="add">
        <pc:chgData name="Sean Gallagher" userId="577446c3-45ae-4097-b8f0-9d862fa3a0df" providerId="ADAL" clId="{C8FF2AE4-D582-4D51-9A92-76963FA39E0C}" dt="2024-05-10T21:24:55.664" v="123"/>
        <pc:sldMkLst>
          <pc:docMk/>
          <pc:sldMk cId="3792787301" sldId="2147478551"/>
        </pc:sldMkLst>
      </pc:sldChg>
      <pc:sldChg chg="add">
        <pc:chgData name="Sean Gallagher" userId="577446c3-45ae-4097-b8f0-9d862fa3a0df" providerId="ADAL" clId="{C8FF2AE4-D582-4D51-9A92-76963FA39E0C}" dt="2024-05-10T21:24:55.664" v="123"/>
        <pc:sldMkLst>
          <pc:docMk/>
          <pc:sldMk cId="1846260459" sldId="2147478552"/>
        </pc:sldMkLst>
      </pc:sldChg>
      <pc:sldChg chg="add">
        <pc:chgData name="Sean Gallagher" userId="577446c3-45ae-4097-b8f0-9d862fa3a0df" providerId="ADAL" clId="{C8FF2AE4-D582-4D51-9A92-76963FA39E0C}" dt="2024-05-10T21:24:55.664" v="123"/>
        <pc:sldMkLst>
          <pc:docMk/>
          <pc:sldMk cId="3075074847" sldId="2147478553"/>
        </pc:sldMkLst>
      </pc:sldChg>
      <pc:sldChg chg="add">
        <pc:chgData name="Sean Gallagher" userId="577446c3-45ae-4097-b8f0-9d862fa3a0df" providerId="ADAL" clId="{C8FF2AE4-D582-4D51-9A92-76963FA39E0C}" dt="2024-05-10T21:24:55.664" v="123"/>
        <pc:sldMkLst>
          <pc:docMk/>
          <pc:sldMk cId="1649172828" sldId="2147478554"/>
        </pc:sldMkLst>
      </pc:sldChg>
      <pc:sldChg chg="add">
        <pc:chgData name="Sean Gallagher" userId="577446c3-45ae-4097-b8f0-9d862fa3a0df" providerId="ADAL" clId="{C8FF2AE4-D582-4D51-9A92-76963FA39E0C}" dt="2024-05-10T21:24:55.664" v="123"/>
        <pc:sldMkLst>
          <pc:docMk/>
          <pc:sldMk cId="3071517894" sldId="2147478555"/>
        </pc:sldMkLst>
      </pc:sldChg>
      <pc:sldChg chg="add">
        <pc:chgData name="Sean Gallagher" userId="577446c3-45ae-4097-b8f0-9d862fa3a0df" providerId="ADAL" clId="{C8FF2AE4-D582-4D51-9A92-76963FA39E0C}" dt="2024-05-10T21:24:55.664" v="123"/>
        <pc:sldMkLst>
          <pc:docMk/>
          <pc:sldMk cId="2698276730" sldId="2147478556"/>
        </pc:sldMkLst>
      </pc:sldChg>
      <pc:sldChg chg="add">
        <pc:chgData name="Sean Gallagher" userId="577446c3-45ae-4097-b8f0-9d862fa3a0df" providerId="ADAL" clId="{C8FF2AE4-D582-4D51-9A92-76963FA39E0C}" dt="2024-05-10T21:24:55.664" v="123"/>
        <pc:sldMkLst>
          <pc:docMk/>
          <pc:sldMk cId="649199748" sldId="2147478557"/>
        </pc:sldMkLst>
      </pc:sldChg>
      <pc:sldChg chg="add">
        <pc:chgData name="Sean Gallagher" userId="577446c3-45ae-4097-b8f0-9d862fa3a0df" providerId="ADAL" clId="{C8FF2AE4-D582-4D51-9A92-76963FA39E0C}" dt="2024-05-10T21:24:55.664" v="123"/>
        <pc:sldMkLst>
          <pc:docMk/>
          <pc:sldMk cId="3986962944" sldId="2147478558"/>
        </pc:sldMkLst>
      </pc:sldChg>
      <pc:sldChg chg="add">
        <pc:chgData name="Sean Gallagher" userId="577446c3-45ae-4097-b8f0-9d862fa3a0df" providerId="ADAL" clId="{C8FF2AE4-D582-4D51-9A92-76963FA39E0C}" dt="2024-05-10T21:24:55.664" v="123"/>
        <pc:sldMkLst>
          <pc:docMk/>
          <pc:sldMk cId="1882396372" sldId="2147478559"/>
        </pc:sldMkLst>
      </pc:sldChg>
      <pc:sldChg chg="add">
        <pc:chgData name="Sean Gallagher" userId="577446c3-45ae-4097-b8f0-9d862fa3a0df" providerId="ADAL" clId="{C8FF2AE4-D582-4D51-9A92-76963FA39E0C}" dt="2024-05-10T21:24:55.664" v="123"/>
        <pc:sldMkLst>
          <pc:docMk/>
          <pc:sldMk cId="1713673041" sldId="2147478560"/>
        </pc:sldMkLst>
      </pc:sldChg>
      <pc:sldChg chg="add">
        <pc:chgData name="Sean Gallagher" userId="577446c3-45ae-4097-b8f0-9d862fa3a0df" providerId="ADAL" clId="{C8FF2AE4-D582-4D51-9A92-76963FA39E0C}" dt="2024-05-10T21:24:55.664" v="123"/>
        <pc:sldMkLst>
          <pc:docMk/>
          <pc:sldMk cId="3477478229" sldId="2147478561"/>
        </pc:sldMkLst>
      </pc:sldChg>
      <pc:sldChg chg="add">
        <pc:chgData name="Sean Gallagher" userId="577446c3-45ae-4097-b8f0-9d862fa3a0df" providerId="ADAL" clId="{C8FF2AE4-D582-4D51-9A92-76963FA39E0C}" dt="2024-05-10T21:24:55.664" v="123"/>
        <pc:sldMkLst>
          <pc:docMk/>
          <pc:sldMk cId="3369637934" sldId="2147478562"/>
        </pc:sldMkLst>
      </pc:sldChg>
      <pc:sldChg chg="add">
        <pc:chgData name="Sean Gallagher" userId="577446c3-45ae-4097-b8f0-9d862fa3a0df" providerId="ADAL" clId="{C8FF2AE4-D582-4D51-9A92-76963FA39E0C}" dt="2024-05-10T21:24:55.664" v="123"/>
        <pc:sldMkLst>
          <pc:docMk/>
          <pc:sldMk cId="2641157775" sldId="2147478563"/>
        </pc:sldMkLst>
      </pc:sldChg>
      <pc:sldChg chg="add">
        <pc:chgData name="Sean Gallagher" userId="577446c3-45ae-4097-b8f0-9d862fa3a0df" providerId="ADAL" clId="{C8FF2AE4-D582-4D51-9A92-76963FA39E0C}" dt="2024-05-10T21:24:55.664" v="123"/>
        <pc:sldMkLst>
          <pc:docMk/>
          <pc:sldMk cId="1175964342" sldId="2147478564"/>
        </pc:sldMkLst>
      </pc:sldChg>
      <pc:sldChg chg="add">
        <pc:chgData name="Sean Gallagher" userId="577446c3-45ae-4097-b8f0-9d862fa3a0df" providerId="ADAL" clId="{C8FF2AE4-D582-4D51-9A92-76963FA39E0C}" dt="2024-05-10T21:24:55.664" v="123"/>
        <pc:sldMkLst>
          <pc:docMk/>
          <pc:sldMk cId="1760321553" sldId="2147478565"/>
        </pc:sldMkLst>
      </pc:sldChg>
      <pc:sldChg chg="add">
        <pc:chgData name="Sean Gallagher" userId="577446c3-45ae-4097-b8f0-9d862fa3a0df" providerId="ADAL" clId="{C8FF2AE4-D582-4D51-9A92-76963FA39E0C}" dt="2024-05-10T21:24:55.664" v="123"/>
        <pc:sldMkLst>
          <pc:docMk/>
          <pc:sldMk cId="518198952" sldId="2147478566"/>
        </pc:sldMkLst>
      </pc:sldChg>
      <pc:sldChg chg="add">
        <pc:chgData name="Sean Gallagher" userId="577446c3-45ae-4097-b8f0-9d862fa3a0df" providerId="ADAL" clId="{C8FF2AE4-D582-4D51-9A92-76963FA39E0C}" dt="2024-05-10T21:24:55.664" v="123"/>
        <pc:sldMkLst>
          <pc:docMk/>
          <pc:sldMk cId="1262630753" sldId="2147478567"/>
        </pc:sldMkLst>
      </pc:sldChg>
      <pc:sldChg chg="add">
        <pc:chgData name="Sean Gallagher" userId="577446c3-45ae-4097-b8f0-9d862fa3a0df" providerId="ADAL" clId="{C8FF2AE4-D582-4D51-9A92-76963FA39E0C}" dt="2024-05-10T21:24:55.664" v="123"/>
        <pc:sldMkLst>
          <pc:docMk/>
          <pc:sldMk cId="1941521208" sldId="2147478568"/>
        </pc:sldMkLst>
      </pc:sldChg>
      <pc:sldChg chg="add">
        <pc:chgData name="Sean Gallagher" userId="577446c3-45ae-4097-b8f0-9d862fa3a0df" providerId="ADAL" clId="{C8FF2AE4-D582-4D51-9A92-76963FA39E0C}" dt="2024-05-10T21:24:55.664" v="123"/>
        <pc:sldMkLst>
          <pc:docMk/>
          <pc:sldMk cId="3318311872" sldId="2147478569"/>
        </pc:sldMkLst>
      </pc:sldChg>
      <pc:sldChg chg="add">
        <pc:chgData name="Sean Gallagher" userId="577446c3-45ae-4097-b8f0-9d862fa3a0df" providerId="ADAL" clId="{C8FF2AE4-D582-4D51-9A92-76963FA39E0C}" dt="2024-05-10T21:24:55.664" v="123"/>
        <pc:sldMkLst>
          <pc:docMk/>
          <pc:sldMk cId="1397409047" sldId="2147478570"/>
        </pc:sldMkLst>
      </pc:sldChg>
      <pc:sldChg chg="add">
        <pc:chgData name="Sean Gallagher" userId="577446c3-45ae-4097-b8f0-9d862fa3a0df" providerId="ADAL" clId="{C8FF2AE4-D582-4D51-9A92-76963FA39E0C}" dt="2024-05-10T21:24:55.664" v="123"/>
        <pc:sldMkLst>
          <pc:docMk/>
          <pc:sldMk cId="851316566" sldId="2147478571"/>
        </pc:sldMkLst>
      </pc:sldChg>
      <pc:sldChg chg="add">
        <pc:chgData name="Sean Gallagher" userId="577446c3-45ae-4097-b8f0-9d862fa3a0df" providerId="ADAL" clId="{C8FF2AE4-D582-4D51-9A92-76963FA39E0C}" dt="2024-05-10T21:24:55.664" v="123"/>
        <pc:sldMkLst>
          <pc:docMk/>
          <pc:sldMk cId="985173371" sldId="2147478572"/>
        </pc:sldMkLst>
      </pc:sldChg>
      <pc:sldChg chg="add">
        <pc:chgData name="Sean Gallagher" userId="577446c3-45ae-4097-b8f0-9d862fa3a0df" providerId="ADAL" clId="{C8FF2AE4-D582-4D51-9A92-76963FA39E0C}" dt="2024-05-10T21:24:55.664" v="123"/>
        <pc:sldMkLst>
          <pc:docMk/>
          <pc:sldMk cId="2226236554" sldId="2147478573"/>
        </pc:sldMkLst>
      </pc:sldChg>
      <pc:sldChg chg="add">
        <pc:chgData name="Sean Gallagher" userId="577446c3-45ae-4097-b8f0-9d862fa3a0df" providerId="ADAL" clId="{C8FF2AE4-D582-4D51-9A92-76963FA39E0C}" dt="2024-05-10T21:24:55.664" v="123"/>
        <pc:sldMkLst>
          <pc:docMk/>
          <pc:sldMk cId="1658194277" sldId="2147478574"/>
        </pc:sldMkLst>
      </pc:sldChg>
      <pc:sldChg chg="add">
        <pc:chgData name="Sean Gallagher" userId="577446c3-45ae-4097-b8f0-9d862fa3a0df" providerId="ADAL" clId="{C8FF2AE4-D582-4D51-9A92-76963FA39E0C}" dt="2024-05-10T21:24:55.664" v="123"/>
        <pc:sldMkLst>
          <pc:docMk/>
          <pc:sldMk cId="3868598675" sldId="2147478575"/>
        </pc:sldMkLst>
      </pc:sldChg>
      <pc:sldChg chg="add">
        <pc:chgData name="Sean Gallagher" userId="577446c3-45ae-4097-b8f0-9d862fa3a0df" providerId="ADAL" clId="{C8FF2AE4-D582-4D51-9A92-76963FA39E0C}" dt="2024-05-10T21:24:55.664" v="123"/>
        <pc:sldMkLst>
          <pc:docMk/>
          <pc:sldMk cId="492322716" sldId="2147478576"/>
        </pc:sldMkLst>
      </pc:sldChg>
      <pc:sldChg chg="add">
        <pc:chgData name="Sean Gallagher" userId="577446c3-45ae-4097-b8f0-9d862fa3a0df" providerId="ADAL" clId="{C8FF2AE4-D582-4D51-9A92-76963FA39E0C}" dt="2024-05-10T21:24:55.664" v="123"/>
        <pc:sldMkLst>
          <pc:docMk/>
          <pc:sldMk cId="590615077" sldId="2147478577"/>
        </pc:sldMkLst>
      </pc:sldChg>
      <pc:sldChg chg="add">
        <pc:chgData name="Sean Gallagher" userId="577446c3-45ae-4097-b8f0-9d862fa3a0df" providerId="ADAL" clId="{C8FF2AE4-D582-4D51-9A92-76963FA39E0C}" dt="2024-05-10T21:24:55.664" v="123"/>
        <pc:sldMkLst>
          <pc:docMk/>
          <pc:sldMk cId="1874402042" sldId="2147478578"/>
        </pc:sldMkLst>
      </pc:sldChg>
      <pc:sldChg chg="add">
        <pc:chgData name="Sean Gallagher" userId="577446c3-45ae-4097-b8f0-9d862fa3a0df" providerId="ADAL" clId="{C8FF2AE4-D582-4D51-9A92-76963FA39E0C}" dt="2024-05-10T21:24:55.664" v="123"/>
        <pc:sldMkLst>
          <pc:docMk/>
          <pc:sldMk cId="2137862837" sldId="2147478579"/>
        </pc:sldMkLst>
      </pc:sldChg>
      <pc:sldChg chg="add">
        <pc:chgData name="Sean Gallagher" userId="577446c3-45ae-4097-b8f0-9d862fa3a0df" providerId="ADAL" clId="{C8FF2AE4-D582-4D51-9A92-76963FA39E0C}" dt="2024-05-10T21:24:55.664" v="123"/>
        <pc:sldMkLst>
          <pc:docMk/>
          <pc:sldMk cId="3279130244" sldId="2147478580"/>
        </pc:sldMkLst>
      </pc:sldChg>
      <pc:sldChg chg="add">
        <pc:chgData name="Sean Gallagher" userId="577446c3-45ae-4097-b8f0-9d862fa3a0df" providerId="ADAL" clId="{C8FF2AE4-D582-4D51-9A92-76963FA39E0C}" dt="2024-05-10T21:24:55.664" v="123"/>
        <pc:sldMkLst>
          <pc:docMk/>
          <pc:sldMk cId="3913347117" sldId="2147478581"/>
        </pc:sldMkLst>
      </pc:sldChg>
      <pc:sldChg chg="add">
        <pc:chgData name="Sean Gallagher" userId="577446c3-45ae-4097-b8f0-9d862fa3a0df" providerId="ADAL" clId="{C8FF2AE4-D582-4D51-9A92-76963FA39E0C}" dt="2024-05-10T21:24:55.664" v="123"/>
        <pc:sldMkLst>
          <pc:docMk/>
          <pc:sldMk cId="2705550771" sldId="2147478582"/>
        </pc:sldMkLst>
      </pc:sldChg>
      <pc:sldChg chg="add">
        <pc:chgData name="Sean Gallagher" userId="577446c3-45ae-4097-b8f0-9d862fa3a0df" providerId="ADAL" clId="{C8FF2AE4-D582-4D51-9A92-76963FA39E0C}" dt="2024-05-10T21:24:55.664" v="123"/>
        <pc:sldMkLst>
          <pc:docMk/>
          <pc:sldMk cId="4056211137" sldId="2147478583"/>
        </pc:sldMkLst>
      </pc:sldChg>
      <pc:sldChg chg="add">
        <pc:chgData name="Sean Gallagher" userId="577446c3-45ae-4097-b8f0-9d862fa3a0df" providerId="ADAL" clId="{C8FF2AE4-D582-4D51-9A92-76963FA39E0C}" dt="2024-05-10T21:24:55.664" v="123"/>
        <pc:sldMkLst>
          <pc:docMk/>
          <pc:sldMk cId="3182211827" sldId="2147478584"/>
        </pc:sldMkLst>
      </pc:sldChg>
      <pc:sldChg chg="add">
        <pc:chgData name="Sean Gallagher" userId="577446c3-45ae-4097-b8f0-9d862fa3a0df" providerId="ADAL" clId="{C8FF2AE4-D582-4D51-9A92-76963FA39E0C}" dt="2024-05-10T21:24:55.664" v="123"/>
        <pc:sldMkLst>
          <pc:docMk/>
          <pc:sldMk cId="1628467124" sldId="2147478585"/>
        </pc:sldMkLst>
      </pc:sldChg>
      <pc:sldChg chg="add del">
        <pc:chgData name="Sean Gallagher" userId="577446c3-45ae-4097-b8f0-9d862fa3a0df" providerId="ADAL" clId="{C8FF2AE4-D582-4D51-9A92-76963FA39E0C}" dt="2024-05-10T21:25:01.844" v="124" actId="47"/>
        <pc:sldMkLst>
          <pc:docMk/>
          <pc:sldMk cId="2411838609" sldId="2147478586"/>
        </pc:sldMkLst>
      </pc:sldChg>
      <pc:sldMasterChg chg="delSldLayout">
        <pc:chgData name="Sean Gallagher" userId="577446c3-45ae-4097-b8f0-9d862fa3a0df" providerId="ADAL" clId="{C8FF2AE4-D582-4D51-9A92-76963FA39E0C}" dt="2024-05-10T21:23:36.643" v="106" actId="2696"/>
        <pc:sldMasterMkLst>
          <pc:docMk/>
          <pc:sldMasterMk cId="1070809925" sldId="2147483692"/>
        </pc:sldMasterMkLst>
        <pc:sldLayoutChg chg="del">
          <pc:chgData name="Sean Gallagher" userId="577446c3-45ae-4097-b8f0-9d862fa3a0df" providerId="ADAL" clId="{C8FF2AE4-D582-4D51-9A92-76963FA39E0C}" dt="2024-05-10T21:23:05.182" v="99" actId="47"/>
          <pc:sldLayoutMkLst>
            <pc:docMk/>
            <pc:sldMasterMk cId="1070809925" sldId="2147483692"/>
            <pc:sldLayoutMk cId="651232326" sldId="2147483888"/>
          </pc:sldLayoutMkLst>
        </pc:sldLayoutChg>
        <pc:sldLayoutChg chg="del">
          <pc:chgData name="Sean Gallagher" userId="577446c3-45ae-4097-b8f0-9d862fa3a0df" providerId="ADAL" clId="{C8FF2AE4-D582-4D51-9A92-76963FA39E0C}" dt="2024-05-10T21:23:36.643" v="106" actId="2696"/>
          <pc:sldLayoutMkLst>
            <pc:docMk/>
            <pc:sldMasterMk cId="1070809925" sldId="2147483692"/>
            <pc:sldLayoutMk cId="3352122918" sldId="2147483890"/>
          </pc:sldLayoutMkLst>
        </pc:sldLayoutChg>
      </pc:sldMasterChg>
    </pc:docChg>
  </pc:docChgLst>
  <pc:docChgLst>
    <pc:chgData name="Sean Gallagher" userId="577446c3-45ae-4097-b8f0-9d862fa3a0df" providerId="ADAL" clId="{DAFDA841-9028-4C06-AD0D-BD3CBFFB1AEA}"/>
    <pc:docChg chg="custSel addSld delSld modSld sldOrd modMainMaster">
      <pc:chgData name="Sean Gallagher" userId="577446c3-45ae-4097-b8f0-9d862fa3a0df" providerId="ADAL" clId="{DAFDA841-9028-4C06-AD0D-BD3CBFFB1AEA}" dt="2023-11-16T14:28:44.375" v="26" actId="113"/>
      <pc:docMkLst>
        <pc:docMk/>
      </pc:docMkLst>
      <pc:sldChg chg="add del ord">
        <pc:chgData name="Sean Gallagher" userId="577446c3-45ae-4097-b8f0-9d862fa3a0df" providerId="ADAL" clId="{DAFDA841-9028-4C06-AD0D-BD3CBFFB1AEA}" dt="2023-11-16T14:23:52.785" v="3"/>
        <pc:sldMkLst>
          <pc:docMk/>
          <pc:sldMk cId="1770905082" sldId="269"/>
        </pc:sldMkLst>
      </pc:sldChg>
      <pc:sldChg chg="modSp mod">
        <pc:chgData name="Sean Gallagher" userId="577446c3-45ae-4097-b8f0-9d862fa3a0df" providerId="ADAL" clId="{DAFDA841-9028-4C06-AD0D-BD3CBFFB1AEA}" dt="2023-11-16T14:28:44.375" v="26" actId="113"/>
        <pc:sldMkLst>
          <pc:docMk/>
          <pc:sldMk cId="3111996064" sldId="2134958649"/>
        </pc:sldMkLst>
        <pc:spChg chg="mod">
          <ac:chgData name="Sean Gallagher" userId="577446c3-45ae-4097-b8f0-9d862fa3a0df" providerId="ADAL" clId="{DAFDA841-9028-4C06-AD0D-BD3CBFFB1AEA}" dt="2023-11-16T14:28:44.375" v="26" actId="113"/>
          <ac:spMkLst>
            <pc:docMk/>
            <pc:sldMk cId="3111996064" sldId="2134958649"/>
            <ac:spMk id="3" creationId="{AE7567E0-9FB4-E2D0-F57B-56251EA6FA1C}"/>
          </ac:spMkLst>
        </pc:spChg>
      </pc:sldChg>
      <pc:sldChg chg="del">
        <pc:chgData name="Sean Gallagher" userId="577446c3-45ae-4097-b8f0-9d862fa3a0df" providerId="ADAL" clId="{DAFDA841-9028-4C06-AD0D-BD3CBFFB1AEA}" dt="2023-11-16T14:27:40.243" v="23" actId="2696"/>
        <pc:sldMkLst>
          <pc:docMk/>
          <pc:sldMk cId="486879857" sldId="2134958653"/>
        </pc:sldMkLst>
      </pc:sldChg>
      <pc:sldChg chg="addSp delSp modSp mod">
        <pc:chgData name="Sean Gallagher" userId="577446c3-45ae-4097-b8f0-9d862fa3a0df" providerId="ADAL" clId="{DAFDA841-9028-4C06-AD0D-BD3CBFFB1AEA}" dt="2023-11-16T14:27:32.858" v="22" actId="1076"/>
        <pc:sldMkLst>
          <pc:docMk/>
          <pc:sldMk cId="4281471524" sldId="2134958655"/>
        </pc:sldMkLst>
        <pc:picChg chg="add mod">
          <ac:chgData name="Sean Gallagher" userId="577446c3-45ae-4097-b8f0-9d862fa3a0df" providerId="ADAL" clId="{DAFDA841-9028-4C06-AD0D-BD3CBFFB1AEA}" dt="2023-11-16T14:27:08.568" v="20" actId="1076"/>
          <ac:picMkLst>
            <pc:docMk/>
            <pc:sldMk cId="4281471524" sldId="2134958655"/>
            <ac:picMk id="3" creationId="{ED02AC07-F3D1-86B8-DC81-70A99996243D}"/>
          </ac:picMkLst>
        </pc:picChg>
        <pc:picChg chg="del">
          <ac:chgData name="Sean Gallagher" userId="577446c3-45ae-4097-b8f0-9d862fa3a0df" providerId="ADAL" clId="{DAFDA841-9028-4C06-AD0D-BD3CBFFB1AEA}" dt="2023-11-16T14:26:03.347" v="13" actId="478"/>
          <ac:picMkLst>
            <pc:docMk/>
            <pc:sldMk cId="4281471524" sldId="2134958655"/>
            <ac:picMk id="5" creationId="{B6DC9DF2-A34A-6251-9DEF-C03E95784EC0}"/>
          </ac:picMkLst>
        </pc:picChg>
        <pc:picChg chg="add mod">
          <ac:chgData name="Sean Gallagher" userId="577446c3-45ae-4097-b8f0-9d862fa3a0df" providerId="ADAL" clId="{DAFDA841-9028-4C06-AD0D-BD3CBFFB1AEA}" dt="2023-11-16T14:27:32.858" v="22" actId="1076"/>
          <ac:picMkLst>
            <pc:docMk/>
            <pc:sldMk cId="4281471524" sldId="2134958655"/>
            <ac:picMk id="7" creationId="{8CD9A6B2-6DCE-B52D-867E-9F515BD2D776}"/>
          </ac:picMkLst>
        </pc:picChg>
        <pc:picChg chg="del">
          <ac:chgData name="Sean Gallagher" userId="577446c3-45ae-4097-b8f0-9d862fa3a0df" providerId="ADAL" clId="{DAFDA841-9028-4C06-AD0D-BD3CBFFB1AEA}" dt="2023-11-16T14:26:03.973" v="14" actId="478"/>
          <ac:picMkLst>
            <pc:docMk/>
            <pc:sldMk cId="4281471524" sldId="2134958655"/>
            <ac:picMk id="10" creationId="{FF1CA5D2-3F0F-4E39-8E73-66DAA69BC1A7}"/>
          </ac:picMkLst>
        </pc:picChg>
      </pc:sldChg>
      <pc:sldChg chg="modSp mod">
        <pc:chgData name="Sean Gallagher" userId="577446c3-45ae-4097-b8f0-9d862fa3a0df" providerId="ADAL" clId="{DAFDA841-9028-4C06-AD0D-BD3CBFFB1AEA}" dt="2023-11-16T14:25:52.359" v="12" actId="113"/>
        <pc:sldMkLst>
          <pc:docMk/>
          <pc:sldMk cId="1250068653" sldId="2134958656"/>
        </pc:sldMkLst>
        <pc:spChg chg="mod">
          <ac:chgData name="Sean Gallagher" userId="577446c3-45ae-4097-b8f0-9d862fa3a0df" providerId="ADAL" clId="{DAFDA841-9028-4C06-AD0D-BD3CBFFB1AEA}" dt="2023-11-16T14:25:52.359" v="12" actId="113"/>
          <ac:spMkLst>
            <pc:docMk/>
            <pc:sldMk cId="1250068653" sldId="2134958656"/>
            <ac:spMk id="2" creationId="{00000000-0000-0000-0000-000000000000}"/>
          </ac:spMkLst>
        </pc:spChg>
      </pc:sldChg>
      <pc:sldChg chg="del">
        <pc:chgData name="Sean Gallagher" userId="577446c3-45ae-4097-b8f0-9d862fa3a0df" providerId="ADAL" clId="{DAFDA841-9028-4C06-AD0D-BD3CBFFB1AEA}" dt="2023-11-16T14:28:04.556" v="24" actId="2696"/>
        <pc:sldMkLst>
          <pc:docMk/>
          <pc:sldMk cId="343432579" sldId="2134958657"/>
        </pc:sldMkLst>
      </pc:sldChg>
      <pc:sldMasterChg chg="addSp delSp modSp mod">
        <pc:chgData name="Sean Gallagher" userId="577446c3-45ae-4097-b8f0-9d862fa3a0df" providerId="ADAL" clId="{DAFDA841-9028-4C06-AD0D-BD3CBFFB1AEA}" dt="2023-11-16T14:24:19.413" v="6" actId="1076"/>
        <pc:sldMasterMkLst>
          <pc:docMk/>
          <pc:sldMasterMk cId="1070809925" sldId="2147483659"/>
        </pc:sldMasterMkLst>
        <pc:picChg chg="del">
          <ac:chgData name="Sean Gallagher" userId="577446c3-45ae-4097-b8f0-9d862fa3a0df" providerId="ADAL" clId="{DAFDA841-9028-4C06-AD0D-BD3CBFFB1AEA}" dt="2023-11-16T14:24:15.227" v="4" actId="478"/>
          <ac:picMkLst>
            <pc:docMk/>
            <pc:sldMasterMk cId="1070809925" sldId="2147483659"/>
            <ac:picMk id="3" creationId="{91B8ACD5-476B-7D03-6800-A38AD0397A1E}"/>
          </ac:picMkLst>
        </pc:picChg>
        <pc:picChg chg="add mod">
          <ac:chgData name="Sean Gallagher" userId="577446c3-45ae-4097-b8f0-9d862fa3a0df" providerId="ADAL" clId="{DAFDA841-9028-4C06-AD0D-BD3CBFFB1AEA}" dt="2023-11-16T14:24:19.413" v="6" actId="1076"/>
          <ac:picMkLst>
            <pc:docMk/>
            <pc:sldMasterMk cId="1070809925" sldId="2147483659"/>
            <ac:picMk id="4" creationId="{86B9C6DC-7D9A-1CAB-01C5-ADEBD58AD97B}"/>
          </ac:picMkLst>
        </pc:picChg>
      </pc:sldMasterChg>
      <pc:sldMasterChg chg="addSp delSp modSp mod">
        <pc:chgData name="Sean Gallagher" userId="577446c3-45ae-4097-b8f0-9d862fa3a0df" providerId="ADAL" clId="{DAFDA841-9028-4C06-AD0D-BD3CBFFB1AEA}" dt="2023-11-16T14:24:44.328" v="9" actId="1076"/>
        <pc:sldMasterMkLst>
          <pc:docMk/>
          <pc:sldMasterMk cId="1070809925" sldId="2147483692"/>
        </pc:sldMasterMkLst>
        <pc:picChg chg="add mod">
          <ac:chgData name="Sean Gallagher" userId="577446c3-45ae-4097-b8f0-9d862fa3a0df" providerId="ADAL" clId="{DAFDA841-9028-4C06-AD0D-BD3CBFFB1AEA}" dt="2023-11-16T14:24:44.328" v="9" actId="1076"/>
          <ac:picMkLst>
            <pc:docMk/>
            <pc:sldMasterMk cId="1070809925" sldId="2147483692"/>
            <ac:picMk id="2" creationId="{79B93425-7BC3-2C35-A2EE-03F7007D943E}"/>
          </ac:picMkLst>
        </pc:picChg>
        <pc:picChg chg="del">
          <ac:chgData name="Sean Gallagher" userId="577446c3-45ae-4097-b8f0-9d862fa3a0df" providerId="ADAL" clId="{DAFDA841-9028-4C06-AD0D-BD3CBFFB1AEA}" dt="2023-11-16T14:24:37.067" v="7" actId="478"/>
          <ac:picMkLst>
            <pc:docMk/>
            <pc:sldMasterMk cId="1070809925" sldId="2147483692"/>
            <ac:picMk id="3" creationId="{C17D2D5C-E70F-05D9-F55F-B1ADCD95241D}"/>
          </ac:picMkLst>
        </pc:picChg>
      </pc:sldMasterChg>
    </pc:docChg>
  </pc:docChgLst>
  <pc:docChgLst>
    <pc:chgData name="Sean Gallagher" userId="577446c3-45ae-4097-b8f0-9d862fa3a0df" providerId="ADAL" clId="{9530ACC8-2DC6-4010-9AB3-5AD5E9E17FF6}"/>
    <pc:docChg chg="undo custSel addSld delSld modSld sldOrd modMainMaster">
      <pc:chgData name="Sean Gallagher" userId="577446c3-45ae-4097-b8f0-9d862fa3a0df" providerId="ADAL" clId="{9530ACC8-2DC6-4010-9AB3-5AD5E9E17FF6}" dt="2023-11-28T14:59:15.875" v="235" actId="20577"/>
      <pc:docMkLst>
        <pc:docMk/>
      </pc:docMkLst>
      <pc:sldChg chg="add del ord">
        <pc:chgData name="Sean Gallagher" userId="577446c3-45ae-4097-b8f0-9d862fa3a0df" providerId="ADAL" clId="{9530ACC8-2DC6-4010-9AB3-5AD5E9E17FF6}" dt="2023-11-28T14:50:47.386" v="3"/>
        <pc:sldMkLst>
          <pc:docMk/>
          <pc:sldMk cId="1770905082" sldId="269"/>
        </pc:sldMkLst>
      </pc:sldChg>
      <pc:sldChg chg="modSp mod">
        <pc:chgData name="Sean Gallagher" userId="577446c3-45ae-4097-b8f0-9d862fa3a0df" providerId="ADAL" clId="{9530ACC8-2DC6-4010-9AB3-5AD5E9E17FF6}" dt="2023-11-28T14:59:15.875" v="235" actId="20577"/>
        <pc:sldMkLst>
          <pc:docMk/>
          <pc:sldMk cId="3111996064" sldId="2134958649"/>
        </pc:sldMkLst>
        <pc:spChg chg="mod">
          <ac:chgData name="Sean Gallagher" userId="577446c3-45ae-4097-b8f0-9d862fa3a0df" providerId="ADAL" clId="{9530ACC8-2DC6-4010-9AB3-5AD5E9E17FF6}" dt="2023-11-28T14:59:15.875" v="235" actId="20577"/>
          <ac:spMkLst>
            <pc:docMk/>
            <pc:sldMk cId="3111996064" sldId="2134958649"/>
            <ac:spMk id="3" creationId="{AE7567E0-9FB4-E2D0-F57B-56251EA6FA1C}"/>
          </ac:spMkLst>
        </pc:spChg>
      </pc:sldChg>
      <pc:sldChg chg="addSp delSp modSp mod">
        <pc:chgData name="Sean Gallagher" userId="577446c3-45ae-4097-b8f0-9d862fa3a0df" providerId="ADAL" clId="{9530ACC8-2DC6-4010-9AB3-5AD5E9E17FF6}" dt="2023-11-28T14:56:10.341" v="46" actId="1076"/>
        <pc:sldMkLst>
          <pc:docMk/>
          <pc:sldMk cId="4281471524" sldId="2134958655"/>
        </pc:sldMkLst>
        <pc:picChg chg="del">
          <ac:chgData name="Sean Gallagher" userId="577446c3-45ae-4097-b8f0-9d862fa3a0df" providerId="ADAL" clId="{9530ACC8-2DC6-4010-9AB3-5AD5E9E17FF6}" dt="2023-11-28T14:54:38.558" v="19" actId="478"/>
          <ac:picMkLst>
            <pc:docMk/>
            <pc:sldMk cId="4281471524" sldId="2134958655"/>
            <ac:picMk id="3" creationId="{ED02AC07-F3D1-86B8-DC81-70A99996243D}"/>
          </ac:picMkLst>
        </pc:picChg>
        <pc:picChg chg="add mod">
          <ac:chgData name="Sean Gallagher" userId="577446c3-45ae-4097-b8f0-9d862fa3a0df" providerId="ADAL" clId="{9530ACC8-2DC6-4010-9AB3-5AD5E9E17FF6}" dt="2023-11-28T14:55:48.585" v="37" actId="1076"/>
          <ac:picMkLst>
            <pc:docMk/>
            <pc:sldMk cId="4281471524" sldId="2134958655"/>
            <ac:picMk id="5" creationId="{B9E12EA1-AA94-8202-2181-843995F10958}"/>
          </ac:picMkLst>
        </pc:picChg>
        <pc:picChg chg="del">
          <ac:chgData name="Sean Gallagher" userId="577446c3-45ae-4097-b8f0-9d862fa3a0df" providerId="ADAL" clId="{9530ACC8-2DC6-4010-9AB3-5AD5E9E17FF6}" dt="2023-11-28T14:54:39.179" v="20" actId="478"/>
          <ac:picMkLst>
            <pc:docMk/>
            <pc:sldMk cId="4281471524" sldId="2134958655"/>
            <ac:picMk id="7" creationId="{8CD9A6B2-6DCE-B52D-867E-9F515BD2D776}"/>
          </ac:picMkLst>
        </pc:picChg>
        <pc:picChg chg="add mod">
          <ac:chgData name="Sean Gallagher" userId="577446c3-45ae-4097-b8f0-9d862fa3a0df" providerId="ADAL" clId="{9530ACC8-2DC6-4010-9AB3-5AD5E9E17FF6}" dt="2023-11-28T14:55:50.549" v="38" actId="1076"/>
          <ac:picMkLst>
            <pc:docMk/>
            <pc:sldMk cId="4281471524" sldId="2134958655"/>
            <ac:picMk id="8" creationId="{77AF75E9-8743-794D-5E44-1F4C34773734}"/>
          </ac:picMkLst>
        </pc:picChg>
        <pc:picChg chg="add mod">
          <ac:chgData name="Sean Gallagher" userId="577446c3-45ae-4097-b8f0-9d862fa3a0df" providerId="ADAL" clId="{9530ACC8-2DC6-4010-9AB3-5AD5E9E17FF6}" dt="2023-11-28T14:55:55.668" v="41" actId="1076"/>
          <ac:picMkLst>
            <pc:docMk/>
            <pc:sldMk cId="4281471524" sldId="2134958655"/>
            <ac:picMk id="10" creationId="{63D11F7A-DE07-20D9-96AF-583F552F7304}"/>
          </ac:picMkLst>
        </pc:picChg>
        <pc:picChg chg="add mod">
          <ac:chgData name="Sean Gallagher" userId="577446c3-45ae-4097-b8f0-9d862fa3a0df" providerId="ADAL" clId="{9530ACC8-2DC6-4010-9AB3-5AD5E9E17FF6}" dt="2023-11-28T14:56:10.341" v="46" actId="1076"/>
          <ac:picMkLst>
            <pc:docMk/>
            <pc:sldMk cId="4281471524" sldId="2134958655"/>
            <ac:picMk id="12" creationId="{DDC78594-340B-F41F-2625-5EB7230C08D9}"/>
          </ac:picMkLst>
        </pc:picChg>
      </pc:sldChg>
      <pc:sldChg chg="addSp delSp modSp mod">
        <pc:chgData name="Sean Gallagher" userId="577446c3-45ae-4097-b8f0-9d862fa3a0df" providerId="ADAL" clId="{9530ACC8-2DC6-4010-9AB3-5AD5E9E17FF6}" dt="2023-11-28T14:54:23.574" v="18" actId="113"/>
        <pc:sldMkLst>
          <pc:docMk/>
          <pc:sldMk cId="1250068653" sldId="2134958656"/>
        </pc:sldMkLst>
        <pc:spChg chg="mod">
          <ac:chgData name="Sean Gallagher" userId="577446c3-45ae-4097-b8f0-9d862fa3a0df" providerId="ADAL" clId="{9530ACC8-2DC6-4010-9AB3-5AD5E9E17FF6}" dt="2023-11-28T14:54:23.574" v="18" actId="113"/>
          <ac:spMkLst>
            <pc:docMk/>
            <pc:sldMk cId="1250068653" sldId="2134958656"/>
            <ac:spMk id="2" creationId="{00000000-0000-0000-0000-000000000000}"/>
          </ac:spMkLst>
        </pc:spChg>
        <pc:picChg chg="add del">
          <ac:chgData name="Sean Gallagher" userId="577446c3-45ae-4097-b8f0-9d862fa3a0df" providerId="ADAL" clId="{9530ACC8-2DC6-4010-9AB3-5AD5E9E17FF6}" dt="2023-11-28T14:54:06.003" v="12" actId="478"/>
          <ac:picMkLst>
            <pc:docMk/>
            <pc:sldMk cId="1250068653" sldId="2134958656"/>
            <ac:picMk id="5" creationId="{97D53134-939C-3BAC-2272-4B84189D1896}"/>
          </ac:picMkLst>
        </pc:picChg>
      </pc:sldChg>
      <pc:sldMasterChg chg="addSp delSp modSp mod">
        <pc:chgData name="Sean Gallagher" userId="577446c3-45ae-4097-b8f0-9d862fa3a0df" providerId="ADAL" clId="{9530ACC8-2DC6-4010-9AB3-5AD5E9E17FF6}" dt="2023-11-28T14:51:35.112" v="8" actId="1076"/>
        <pc:sldMasterMkLst>
          <pc:docMk/>
          <pc:sldMasterMk cId="1070809925" sldId="2147483692"/>
        </pc:sldMasterMkLst>
        <pc:picChg chg="del">
          <ac:chgData name="Sean Gallagher" userId="577446c3-45ae-4097-b8f0-9d862fa3a0df" providerId="ADAL" clId="{9530ACC8-2DC6-4010-9AB3-5AD5E9E17FF6}" dt="2023-11-28T14:51:25.637" v="4" actId="478"/>
          <ac:picMkLst>
            <pc:docMk/>
            <pc:sldMasterMk cId="1070809925" sldId="2147483692"/>
            <ac:picMk id="2" creationId="{79B93425-7BC3-2C35-A2EE-03F7007D943E}"/>
          </ac:picMkLst>
        </pc:picChg>
        <pc:picChg chg="add mod">
          <ac:chgData name="Sean Gallagher" userId="577446c3-45ae-4097-b8f0-9d862fa3a0df" providerId="ADAL" clId="{9530ACC8-2DC6-4010-9AB3-5AD5E9E17FF6}" dt="2023-11-28T14:51:35.112" v="8" actId="1076"/>
          <ac:picMkLst>
            <pc:docMk/>
            <pc:sldMasterMk cId="1070809925" sldId="2147483692"/>
            <ac:picMk id="4" creationId="{52CCD6C4-9F58-3616-2E9B-9119F46CD5E5}"/>
          </ac:picMkLst>
        </pc:picChg>
      </pc:sldMasterChg>
    </pc:docChg>
  </pc:docChgLst>
  <pc:docChgLst>
    <pc:chgData name="Sean Gallagher" userId="577446c3-45ae-4097-b8f0-9d862fa3a0df" providerId="ADAL" clId="{AFD0D102-3039-4C55-8F09-0E8DA00068A9}"/>
    <pc:docChg chg="custSel modSld modMainMaster">
      <pc:chgData name="Sean Gallagher" userId="577446c3-45ae-4097-b8f0-9d862fa3a0df" providerId="ADAL" clId="{AFD0D102-3039-4C55-8F09-0E8DA00068A9}" dt="2024-01-16T14:42:27.196" v="58" actId="1076"/>
      <pc:docMkLst>
        <pc:docMk/>
      </pc:docMkLst>
      <pc:sldChg chg="modSp mod">
        <pc:chgData name="Sean Gallagher" userId="577446c3-45ae-4097-b8f0-9d862fa3a0df" providerId="ADAL" clId="{AFD0D102-3039-4C55-8F09-0E8DA00068A9}" dt="2024-01-16T14:36:18.063" v="1" actId="20577"/>
        <pc:sldMkLst>
          <pc:docMk/>
          <pc:sldMk cId="1433664020" sldId="275"/>
        </pc:sldMkLst>
        <pc:spChg chg="mod">
          <ac:chgData name="Sean Gallagher" userId="577446c3-45ae-4097-b8f0-9d862fa3a0df" providerId="ADAL" clId="{AFD0D102-3039-4C55-8F09-0E8DA00068A9}" dt="2024-01-16T14:36:18.063" v="1" actId="20577"/>
          <ac:spMkLst>
            <pc:docMk/>
            <pc:sldMk cId="1433664020" sldId="275"/>
            <ac:spMk id="3" creationId="{04D0B3D4-A1F3-CD14-3D64-A9979ABF7E26}"/>
          </ac:spMkLst>
        </pc:spChg>
      </pc:sldChg>
      <pc:sldChg chg="modSp mod">
        <pc:chgData name="Sean Gallagher" userId="577446c3-45ae-4097-b8f0-9d862fa3a0df" providerId="ADAL" clId="{AFD0D102-3039-4C55-8F09-0E8DA00068A9}" dt="2024-01-16T14:40:06.654" v="27" actId="113"/>
        <pc:sldMkLst>
          <pc:docMk/>
          <pc:sldMk cId="3111996064" sldId="2134958649"/>
        </pc:sldMkLst>
        <pc:spChg chg="mod">
          <ac:chgData name="Sean Gallagher" userId="577446c3-45ae-4097-b8f0-9d862fa3a0df" providerId="ADAL" clId="{AFD0D102-3039-4C55-8F09-0E8DA00068A9}" dt="2024-01-16T14:40:06.654" v="27" actId="113"/>
          <ac:spMkLst>
            <pc:docMk/>
            <pc:sldMk cId="3111996064" sldId="2134958649"/>
            <ac:spMk id="3" creationId="{AE7567E0-9FB4-E2D0-F57B-56251EA6FA1C}"/>
          </ac:spMkLst>
        </pc:spChg>
      </pc:sldChg>
      <pc:sldChg chg="addSp delSp modSp mod">
        <pc:chgData name="Sean Gallagher" userId="577446c3-45ae-4097-b8f0-9d862fa3a0df" providerId="ADAL" clId="{AFD0D102-3039-4C55-8F09-0E8DA00068A9}" dt="2024-01-16T14:42:27.196" v="58" actId="1076"/>
        <pc:sldMkLst>
          <pc:docMk/>
          <pc:sldMk cId="548871033" sldId="2134958650"/>
        </pc:sldMkLst>
        <pc:picChg chg="mod">
          <ac:chgData name="Sean Gallagher" userId="577446c3-45ae-4097-b8f0-9d862fa3a0df" providerId="ADAL" clId="{AFD0D102-3039-4C55-8F09-0E8DA00068A9}" dt="2024-01-16T14:42:20.646" v="56" actId="14100"/>
          <ac:picMkLst>
            <pc:docMk/>
            <pc:sldMk cId="548871033" sldId="2134958650"/>
            <ac:picMk id="5" creationId="{B7E43BC3-672D-24DC-CC75-0B51AD1CD7C1}"/>
          </ac:picMkLst>
        </pc:picChg>
        <pc:picChg chg="add del mod">
          <ac:chgData name="Sean Gallagher" userId="577446c3-45ae-4097-b8f0-9d862fa3a0df" providerId="ADAL" clId="{AFD0D102-3039-4C55-8F09-0E8DA00068A9}" dt="2024-01-16T14:38:20.918" v="13"/>
          <ac:picMkLst>
            <pc:docMk/>
            <pc:sldMk cId="548871033" sldId="2134958650"/>
            <ac:picMk id="1026" creationId="{DCAB2A1B-7F07-91CF-309C-45563789BF21}"/>
          </ac:picMkLst>
        </pc:picChg>
        <pc:picChg chg="add mod">
          <ac:chgData name="Sean Gallagher" userId="577446c3-45ae-4097-b8f0-9d862fa3a0df" providerId="ADAL" clId="{AFD0D102-3039-4C55-8F09-0E8DA00068A9}" dt="2024-01-16T14:42:27.196" v="58" actId="1076"/>
          <ac:picMkLst>
            <pc:docMk/>
            <pc:sldMk cId="548871033" sldId="2134958650"/>
            <ac:picMk id="1028" creationId="{26612A1E-FB08-1432-7096-8BABF27E9FEA}"/>
          </ac:picMkLst>
        </pc:picChg>
      </pc:sldChg>
      <pc:sldChg chg="modSp mod">
        <pc:chgData name="Sean Gallagher" userId="577446c3-45ae-4097-b8f0-9d862fa3a0df" providerId="ADAL" clId="{AFD0D102-3039-4C55-8F09-0E8DA00068A9}" dt="2024-01-16T14:36:36.146" v="4" actId="113"/>
        <pc:sldMkLst>
          <pc:docMk/>
          <pc:sldMk cId="1250068653" sldId="2134958656"/>
        </pc:sldMkLst>
        <pc:spChg chg="mod">
          <ac:chgData name="Sean Gallagher" userId="577446c3-45ae-4097-b8f0-9d862fa3a0df" providerId="ADAL" clId="{AFD0D102-3039-4C55-8F09-0E8DA00068A9}" dt="2024-01-16T14:36:36.146" v="4" actId="113"/>
          <ac:spMkLst>
            <pc:docMk/>
            <pc:sldMk cId="1250068653" sldId="2134958656"/>
            <ac:spMk id="2" creationId="{00000000-0000-0000-0000-000000000000}"/>
          </ac:spMkLst>
        </pc:spChg>
      </pc:sldChg>
      <pc:sldMasterChg chg="addSp delSp modSp mod">
        <pc:chgData name="Sean Gallagher" userId="577446c3-45ae-4097-b8f0-9d862fa3a0df" providerId="ADAL" clId="{AFD0D102-3039-4C55-8F09-0E8DA00068A9}" dt="2024-01-16T14:41:19.259" v="44" actId="1076"/>
        <pc:sldMasterMkLst>
          <pc:docMk/>
          <pc:sldMasterMk cId="1070809925" sldId="2147483659"/>
        </pc:sldMasterMkLst>
        <pc:picChg chg="add mod">
          <ac:chgData name="Sean Gallagher" userId="577446c3-45ae-4097-b8f0-9d862fa3a0df" providerId="ADAL" clId="{AFD0D102-3039-4C55-8F09-0E8DA00068A9}" dt="2024-01-16T14:41:19.259" v="44" actId="1076"/>
          <ac:picMkLst>
            <pc:docMk/>
            <pc:sldMasterMk cId="1070809925" sldId="2147483659"/>
            <ac:picMk id="4" creationId="{DC3CBACE-134A-763B-B21D-A44705880125}"/>
          </ac:picMkLst>
        </pc:picChg>
        <pc:picChg chg="del">
          <ac:chgData name="Sean Gallagher" userId="577446c3-45ae-4097-b8f0-9d862fa3a0df" providerId="ADAL" clId="{AFD0D102-3039-4C55-8F09-0E8DA00068A9}" dt="2024-01-16T14:41:04.679" v="35" actId="478"/>
          <ac:picMkLst>
            <pc:docMk/>
            <pc:sldMasterMk cId="1070809925" sldId="2147483659"/>
            <ac:picMk id="6" creationId="{E88297A9-8349-176E-B213-A078F1792AE8}"/>
          </ac:picMkLst>
        </pc:picChg>
      </pc:sldMasterChg>
      <pc:sldMasterChg chg="addSp delSp modSp mod">
        <pc:chgData name="Sean Gallagher" userId="577446c3-45ae-4097-b8f0-9d862fa3a0df" providerId="ADAL" clId="{AFD0D102-3039-4C55-8F09-0E8DA00068A9}" dt="2024-01-16T14:41:58.399" v="53" actId="1076"/>
        <pc:sldMasterMkLst>
          <pc:docMk/>
          <pc:sldMasterMk cId="1070809925" sldId="2147483692"/>
        </pc:sldMasterMkLst>
        <pc:picChg chg="add mod">
          <ac:chgData name="Sean Gallagher" userId="577446c3-45ae-4097-b8f0-9d862fa3a0df" providerId="ADAL" clId="{AFD0D102-3039-4C55-8F09-0E8DA00068A9}" dt="2024-01-16T14:41:58.399" v="53" actId="1076"/>
          <ac:picMkLst>
            <pc:docMk/>
            <pc:sldMasterMk cId="1070809925" sldId="2147483692"/>
            <ac:picMk id="3" creationId="{280EC375-AE20-E274-8582-152A8C42E8D8}"/>
          </ac:picMkLst>
        </pc:picChg>
        <pc:picChg chg="del">
          <ac:chgData name="Sean Gallagher" userId="577446c3-45ae-4097-b8f0-9d862fa3a0df" providerId="ADAL" clId="{AFD0D102-3039-4C55-8F09-0E8DA00068A9}" dt="2024-01-16T14:41:48.285" v="45" actId="478"/>
          <ac:picMkLst>
            <pc:docMk/>
            <pc:sldMasterMk cId="1070809925" sldId="2147483692"/>
            <ac:picMk id="4" creationId="{0806B83A-681A-B58E-034F-AB89BFBCA8A3}"/>
          </ac:picMkLst>
        </pc:picChg>
      </pc:sldMasterChg>
      <pc:sldMasterChg chg="modSldLayout">
        <pc:chgData name="Sean Gallagher" userId="577446c3-45ae-4097-b8f0-9d862fa3a0df" providerId="ADAL" clId="{AFD0D102-3039-4C55-8F09-0E8DA00068A9}" dt="2024-01-16T14:40:50.433" v="34" actId="1076"/>
        <pc:sldMasterMkLst>
          <pc:docMk/>
          <pc:sldMasterMk cId="1997465741" sldId="2147483776"/>
        </pc:sldMasterMkLst>
        <pc:sldLayoutChg chg="addSp delSp modSp mod">
          <pc:chgData name="Sean Gallagher" userId="577446c3-45ae-4097-b8f0-9d862fa3a0df" providerId="ADAL" clId="{AFD0D102-3039-4C55-8F09-0E8DA00068A9}" dt="2024-01-16T14:40:50.433" v="34" actId="1076"/>
          <pc:sldLayoutMkLst>
            <pc:docMk/>
            <pc:sldMasterMk cId="1997465741" sldId="2147483776"/>
            <pc:sldLayoutMk cId="1963082139" sldId="2147483780"/>
          </pc:sldLayoutMkLst>
          <pc:picChg chg="del">
            <ac:chgData name="Sean Gallagher" userId="577446c3-45ae-4097-b8f0-9d862fa3a0df" providerId="ADAL" clId="{AFD0D102-3039-4C55-8F09-0E8DA00068A9}" dt="2024-01-16T14:40:24.189" v="28" actId="478"/>
            <ac:picMkLst>
              <pc:docMk/>
              <pc:sldMasterMk cId="1997465741" sldId="2147483776"/>
              <pc:sldLayoutMk cId="1963082139" sldId="2147483780"/>
              <ac:picMk id="4" creationId="{DCFE2DB8-969D-B04C-BDB8-1B77C55F48DB}"/>
            </ac:picMkLst>
          </pc:picChg>
          <pc:picChg chg="add mod">
            <ac:chgData name="Sean Gallagher" userId="577446c3-45ae-4097-b8f0-9d862fa3a0df" providerId="ADAL" clId="{AFD0D102-3039-4C55-8F09-0E8DA00068A9}" dt="2024-01-16T14:40:50.433" v="34" actId="1076"/>
            <ac:picMkLst>
              <pc:docMk/>
              <pc:sldMasterMk cId="1997465741" sldId="2147483776"/>
              <pc:sldLayoutMk cId="1963082139" sldId="2147483780"/>
              <ac:picMk id="5" creationId="{AE94042B-A304-F0FE-5414-32D1EDAE8064}"/>
            </ac:picMkLst>
          </pc:picChg>
        </pc:sldLayoutChg>
      </pc:sldMasterChg>
    </pc:docChg>
  </pc:docChgLst>
  <pc:docChgLst>
    <pc:chgData name="Sean Gallagher" userId="577446c3-45ae-4097-b8f0-9d862fa3a0df" providerId="ADAL" clId="{71606B2D-B95A-47AC-AD6C-20FF27F6779D}"/>
    <pc:docChg chg="addSld delSld modSld">
      <pc:chgData name="Sean Gallagher" userId="577446c3-45ae-4097-b8f0-9d862fa3a0df" providerId="ADAL" clId="{71606B2D-B95A-47AC-AD6C-20FF27F6779D}" dt="2024-04-22T18:07:06.577" v="7" actId="1076"/>
      <pc:docMkLst>
        <pc:docMk/>
      </pc:docMkLst>
      <pc:sldChg chg="del">
        <pc:chgData name="Sean Gallagher" userId="577446c3-45ae-4097-b8f0-9d862fa3a0df" providerId="ADAL" clId="{71606B2D-B95A-47AC-AD6C-20FF27F6779D}" dt="2024-04-22T18:04:26.479" v="1" actId="47"/>
        <pc:sldMkLst>
          <pc:docMk/>
          <pc:sldMk cId="3465688576" sldId="281"/>
        </pc:sldMkLst>
      </pc:sldChg>
      <pc:sldChg chg="modSp mod">
        <pc:chgData name="Sean Gallagher" userId="577446c3-45ae-4097-b8f0-9d862fa3a0df" providerId="ADAL" clId="{71606B2D-B95A-47AC-AD6C-20FF27F6779D}" dt="2024-04-22T18:07:06.577" v="7" actId="1076"/>
        <pc:sldMkLst>
          <pc:docMk/>
          <pc:sldMk cId="548871033" sldId="2134958650"/>
        </pc:sldMkLst>
        <pc:picChg chg="mod">
          <ac:chgData name="Sean Gallagher" userId="577446c3-45ae-4097-b8f0-9d862fa3a0df" providerId="ADAL" clId="{71606B2D-B95A-47AC-AD6C-20FF27F6779D}" dt="2024-04-22T18:06:54.826" v="4" actId="1076"/>
          <ac:picMkLst>
            <pc:docMk/>
            <pc:sldMk cId="548871033" sldId="2134958650"/>
            <ac:picMk id="5" creationId="{B7E43BC3-672D-24DC-CC75-0B51AD1CD7C1}"/>
          </ac:picMkLst>
        </pc:picChg>
        <pc:picChg chg="mod">
          <ac:chgData name="Sean Gallagher" userId="577446c3-45ae-4097-b8f0-9d862fa3a0df" providerId="ADAL" clId="{71606B2D-B95A-47AC-AD6C-20FF27F6779D}" dt="2024-04-22T18:07:06.577" v="7" actId="1076"/>
          <ac:picMkLst>
            <pc:docMk/>
            <pc:sldMk cId="548871033" sldId="2134958650"/>
            <ac:picMk id="1030" creationId="{CE0B58BC-3964-105A-55FD-532A376738E0}"/>
          </ac:picMkLst>
        </pc:picChg>
      </pc:sldChg>
      <pc:sldChg chg="add">
        <pc:chgData name="Sean Gallagher" userId="577446c3-45ae-4097-b8f0-9d862fa3a0df" providerId="ADAL" clId="{71606B2D-B95A-47AC-AD6C-20FF27F6779D}" dt="2024-04-22T18:04:22.028" v="0"/>
        <pc:sldMkLst>
          <pc:docMk/>
          <pc:sldMk cId="4041399824" sldId="2134958657"/>
        </pc:sldMkLst>
      </pc:sldChg>
    </pc:docChg>
  </pc:docChgLst>
  <pc:docChgLst>
    <pc:chgData name="Sean Gallagher" userId="577446c3-45ae-4097-b8f0-9d862fa3a0df" providerId="ADAL" clId="{89259BCA-14FC-4CC8-8207-62C69D785593}"/>
    <pc:docChg chg="modSld">
      <pc:chgData name="Sean Gallagher" userId="577446c3-45ae-4097-b8f0-9d862fa3a0df" providerId="ADAL" clId="{89259BCA-14FC-4CC8-8207-62C69D785593}" dt="2024-03-08T20:13:01.797" v="0" actId="478"/>
      <pc:docMkLst>
        <pc:docMk/>
      </pc:docMkLst>
      <pc:sldChg chg="delSp">
        <pc:chgData name="Sean Gallagher" userId="577446c3-45ae-4097-b8f0-9d862fa3a0df" providerId="ADAL" clId="{89259BCA-14FC-4CC8-8207-62C69D785593}" dt="2024-03-08T20:13:01.797" v="0" actId="478"/>
        <pc:sldMkLst>
          <pc:docMk/>
          <pc:sldMk cId="548871033" sldId="2134958650"/>
        </pc:sldMkLst>
        <pc:picChg chg="del">
          <ac:chgData name="Sean Gallagher" userId="577446c3-45ae-4097-b8f0-9d862fa3a0df" providerId="ADAL" clId="{89259BCA-14FC-4CC8-8207-62C69D785593}" dt="2024-03-08T20:13:01.797" v="0" actId="478"/>
          <ac:picMkLst>
            <pc:docMk/>
            <pc:sldMk cId="548871033" sldId="2134958650"/>
            <ac:picMk id="2052" creationId="{A7D50CAB-5A38-179D-23A2-F59E16144F92}"/>
          </ac:picMkLst>
        </pc:picChg>
      </pc:sldChg>
    </pc:docChg>
  </pc:docChgLst>
  <pc:docChgLst>
    <pc:chgData name="Sean Gallagher" userId="577446c3-45ae-4097-b8f0-9d862fa3a0df" providerId="ADAL" clId="{13740AD8-AE4D-4DA1-BFD6-015157225C6D}"/>
    <pc:docChg chg="addSld modSld">
      <pc:chgData name="Sean Gallagher" userId="577446c3-45ae-4097-b8f0-9d862fa3a0df" providerId="ADAL" clId="{13740AD8-AE4D-4DA1-BFD6-015157225C6D}" dt="2024-04-18T19:29:11.638" v="4"/>
      <pc:docMkLst>
        <pc:docMk/>
      </pc:docMkLst>
      <pc:sldChg chg="add">
        <pc:chgData name="Sean Gallagher" userId="577446c3-45ae-4097-b8f0-9d862fa3a0df" providerId="ADAL" clId="{13740AD8-AE4D-4DA1-BFD6-015157225C6D}" dt="2024-04-18T19:27:32.808" v="0"/>
        <pc:sldMkLst>
          <pc:docMk/>
          <pc:sldMk cId="1643160523" sldId="265"/>
        </pc:sldMkLst>
      </pc:sldChg>
      <pc:sldChg chg="add">
        <pc:chgData name="Sean Gallagher" userId="577446c3-45ae-4097-b8f0-9d862fa3a0df" providerId="ADAL" clId="{13740AD8-AE4D-4DA1-BFD6-015157225C6D}" dt="2024-04-18T19:28:38.207" v="2"/>
        <pc:sldMkLst>
          <pc:docMk/>
          <pc:sldMk cId="1249712676" sldId="266"/>
        </pc:sldMkLst>
      </pc:sldChg>
      <pc:sldChg chg="add">
        <pc:chgData name="Sean Gallagher" userId="577446c3-45ae-4097-b8f0-9d862fa3a0df" providerId="ADAL" clId="{13740AD8-AE4D-4DA1-BFD6-015157225C6D}" dt="2024-04-18T19:27:32.808" v="0"/>
        <pc:sldMkLst>
          <pc:docMk/>
          <pc:sldMk cId="1037678653" sldId="270"/>
        </pc:sldMkLst>
      </pc:sldChg>
      <pc:sldChg chg="add">
        <pc:chgData name="Sean Gallagher" userId="577446c3-45ae-4097-b8f0-9d862fa3a0df" providerId="ADAL" clId="{13740AD8-AE4D-4DA1-BFD6-015157225C6D}" dt="2024-04-18T19:27:32.808" v="0"/>
        <pc:sldMkLst>
          <pc:docMk/>
          <pc:sldMk cId="3465688576" sldId="281"/>
        </pc:sldMkLst>
      </pc:sldChg>
      <pc:sldChg chg="add">
        <pc:chgData name="Sean Gallagher" userId="577446c3-45ae-4097-b8f0-9d862fa3a0df" providerId="ADAL" clId="{13740AD8-AE4D-4DA1-BFD6-015157225C6D}" dt="2024-04-18T19:28:13.125" v="1"/>
        <pc:sldMkLst>
          <pc:docMk/>
          <pc:sldMk cId="319080500" sldId="282"/>
        </pc:sldMkLst>
      </pc:sldChg>
      <pc:sldChg chg="add">
        <pc:chgData name="Sean Gallagher" userId="577446c3-45ae-4097-b8f0-9d862fa3a0df" providerId="ADAL" clId="{13740AD8-AE4D-4DA1-BFD6-015157225C6D}" dt="2024-04-18T19:27:32.808" v="0"/>
        <pc:sldMkLst>
          <pc:docMk/>
          <pc:sldMk cId="2528204050" sldId="283"/>
        </pc:sldMkLst>
      </pc:sldChg>
      <pc:sldChg chg="add">
        <pc:chgData name="Sean Gallagher" userId="577446c3-45ae-4097-b8f0-9d862fa3a0df" providerId="ADAL" clId="{13740AD8-AE4D-4DA1-BFD6-015157225C6D}" dt="2024-04-18T19:27:32.808" v="0"/>
        <pc:sldMkLst>
          <pc:docMk/>
          <pc:sldMk cId="2209606354" sldId="284"/>
        </pc:sldMkLst>
      </pc:sldChg>
      <pc:sldChg chg="add">
        <pc:chgData name="Sean Gallagher" userId="577446c3-45ae-4097-b8f0-9d862fa3a0df" providerId="ADAL" clId="{13740AD8-AE4D-4DA1-BFD6-015157225C6D}" dt="2024-04-18T19:27:32.808" v="0"/>
        <pc:sldMkLst>
          <pc:docMk/>
          <pc:sldMk cId="2742838789" sldId="285"/>
        </pc:sldMkLst>
      </pc:sldChg>
      <pc:sldChg chg="add">
        <pc:chgData name="Sean Gallagher" userId="577446c3-45ae-4097-b8f0-9d862fa3a0df" providerId="ADAL" clId="{13740AD8-AE4D-4DA1-BFD6-015157225C6D}" dt="2024-04-18T19:27:32.808" v="0"/>
        <pc:sldMkLst>
          <pc:docMk/>
          <pc:sldMk cId="1156553215" sldId="286"/>
        </pc:sldMkLst>
      </pc:sldChg>
      <pc:sldChg chg="add">
        <pc:chgData name="Sean Gallagher" userId="577446c3-45ae-4097-b8f0-9d862fa3a0df" providerId="ADAL" clId="{13740AD8-AE4D-4DA1-BFD6-015157225C6D}" dt="2024-04-18T19:27:32.808" v="0"/>
        <pc:sldMkLst>
          <pc:docMk/>
          <pc:sldMk cId="3715296893" sldId="287"/>
        </pc:sldMkLst>
      </pc:sldChg>
      <pc:sldChg chg="add">
        <pc:chgData name="Sean Gallagher" userId="577446c3-45ae-4097-b8f0-9d862fa3a0df" providerId="ADAL" clId="{13740AD8-AE4D-4DA1-BFD6-015157225C6D}" dt="2024-04-18T19:27:32.808" v="0"/>
        <pc:sldMkLst>
          <pc:docMk/>
          <pc:sldMk cId="2499671922" sldId="288"/>
        </pc:sldMkLst>
      </pc:sldChg>
      <pc:sldChg chg="add">
        <pc:chgData name="Sean Gallagher" userId="577446c3-45ae-4097-b8f0-9d862fa3a0df" providerId="ADAL" clId="{13740AD8-AE4D-4DA1-BFD6-015157225C6D}" dt="2024-04-18T19:27:32.808" v="0"/>
        <pc:sldMkLst>
          <pc:docMk/>
          <pc:sldMk cId="3598646366" sldId="289"/>
        </pc:sldMkLst>
      </pc:sldChg>
      <pc:sldChg chg="add">
        <pc:chgData name="Sean Gallagher" userId="577446c3-45ae-4097-b8f0-9d862fa3a0df" providerId="ADAL" clId="{13740AD8-AE4D-4DA1-BFD6-015157225C6D}" dt="2024-04-18T19:27:32.808" v="0"/>
        <pc:sldMkLst>
          <pc:docMk/>
          <pc:sldMk cId="2751670577" sldId="290"/>
        </pc:sldMkLst>
      </pc:sldChg>
      <pc:sldChg chg="add">
        <pc:chgData name="Sean Gallagher" userId="577446c3-45ae-4097-b8f0-9d862fa3a0df" providerId="ADAL" clId="{13740AD8-AE4D-4DA1-BFD6-015157225C6D}" dt="2024-04-18T19:27:32.808" v="0"/>
        <pc:sldMkLst>
          <pc:docMk/>
          <pc:sldMk cId="1132936376" sldId="291"/>
        </pc:sldMkLst>
      </pc:sldChg>
      <pc:sldChg chg="add">
        <pc:chgData name="Sean Gallagher" userId="577446c3-45ae-4097-b8f0-9d862fa3a0df" providerId="ADAL" clId="{13740AD8-AE4D-4DA1-BFD6-015157225C6D}" dt="2024-04-18T19:27:32.808" v="0"/>
        <pc:sldMkLst>
          <pc:docMk/>
          <pc:sldMk cId="62084393" sldId="292"/>
        </pc:sldMkLst>
      </pc:sldChg>
      <pc:sldChg chg="add">
        <pc:chgData name="Sean Gallagher" userId="577446c3-45ae-4097-b8f0-9d862fa3a0df" providerId="ADAL" clId="{13740AD8-AE4D-4DA1-BFD6-015157225C6D}" dt="2024-04-18T19:27:32.808" v="0"/>
        <pc:sldMkLst>
          <pc:docMk/>
          <pc:sldMk cId="1505226657" sldId="293"/>
        </pc:sldMkLst>
      </pc:sldChg>
      <pc:sldChg chg="add">
        <pc:chgData name="Sean Gallagher" userId="577446c3-45ae-4097-b8f0-9d862fa3a0df" providerId="ADAL" clId="{13740AD8-AE4D-4DA1-BFD6-015157225C6D}" dt="2024-04-18T19:27:32.808" v="0"/>
        <pc:sldMkLst>
          <pc:docMk/>
          <pc:sldMk cId="489349667" sldId="294"/>
        </pc:sldMkLst>
      </pc:sldChg>
      <pc:sldChg chg="add">
        <pc:chgData name="Sean Gallagher" userId="577446c3-45ae-4097-b8f0-9d862fa3a0df" providerId="ADAL" clId="{13740AD8-AE4D-4DA1-BFD6-015157225C6D}" dt="2024-04-18T19:27:32.808" v="0"/>
        <pc:sldMkLst>
          <pc:docMk/>
          <pc:sldMk cId="2319410100" sldId="295"/>
        </pc:sldMkLst>
      </pc:sldChg>
      <pc:sldChg chg="add">
        <pc:chgData name="Sean Gallagher" userId="577446c3-45ae-4097-b8f0-9d862fa3a0df" providerId="ADAL" clId="{13740AD8-AE4D-4DA1-BFD6-015157225C6D}" dt="2024-04-18T19:27:32.808" v="0"/>
        <pc:sldMkLst>
          <pc:docMk/>
          <pc:sldMk cId="4231112029" sldId="296"/>
        </pc:sldMkLst>
      </pc:sldChg>
      <pc:sldChg chg="add">
        <pc:chgData name="Sean Gallagher" userId="577446c3-45ae-4097-b8f0-9d862fa3a0df" providerId="ADAL" clId="{13740AD8-AE4D-4DA1-BFD6-015157225C6D}" dt="2024-04-18T19:27:32.808" v="0"/>
        <pc:sldMkLst>
          <pc:docMk/>
          <pc:sldMk cId="1707753677" sldId="297"/>
        </pc:sldMkLst>
      </pc:sldChg>
      <pc:sldChg chg="add">
        <pc:chgData name="Sean Gallagher" userId="577446c3-45ae-4097-b8f0-9d862fa3a0df" providerId="ADAL" clId="{13740AD8-AE4D-4DA1-BFD6-015157225C6D}" dt="2024-04-18T19:27:32.808" v="0"/>
        <pc:sldMkLst>
          <pc:docMk/>
          <pc:sldMk cId="1881698661" sldId="298"/>
        </pc:sldMkLst>
      </pc:sldChg>
      <pc:sldChg chg="add">
        <pc:chgData name="Sean Gallagher" userId="577446c3-45ae-4097-b8f0-9d862fa3a0df" providerId="ADAL" clId="{13740AD8-AE4D-4DA1-BFD6-015157225C6D}" dt="2024-04-18T19:27:32.808" v="0"/>
        <pc:sldMkLst>
          <pc:docMk/>
          <pc:sldMk cId="3052623802" sldId="299"/>
        </pc:sldMkLst>
      </pc:sldChg>
      <pc:sldChg chg="add">
        <pc:chgData name="Sean Gallagher" userId="577446c3-45ae-4097-b8f0-9d862fa3a0df" providerId="ADAL" clId="{13740AD8-AE4D-4DA1-BFD6-015157225C6D}" dt="2024-04-18T19:27:32.808" v="0"/>
        <pc:sldMkLst>
          <pc:docMk/>
          <pc:sldMk cId="1736362211" sldId="300"/>
        </pc:sldMkLst>
      </pc:sldChg>
      <pc:sldChg chg="add">
        <pc:chgData name="Sean Gallagher" userId="577446c3-45ae-4097-b8f0-9d862fa3a0df" providerId="ADAL" clId="{13740AD8-AE4D-4DA1-BFD6-015157225C6D}" dt="2024-04-18T19:27:32.808" v="0"/>
        <pc:sldMkLst>
          <pc:docMk/>
          <pc:sldMk cId="519628653" sldId="301"/>
        </pc:sldMkLst>
      </pc:sldChg>
      <pc:sldChg chg="add">
        <pc:chgData name="Sean Gallagher" userId="577446c3-45ae-4097-b8f0-9d862fa3a0df" providerId="ADAL" clId="{13740AD8-AE4D-4DA1-BFD6-015157225C6D}" dt="2024-04-18T19:28:13.125" v="1"/>
        <pc:sldMkLst>
          <pc:docMk/>
          <pc:sldMk cId="3562944155" sldId="302"/>
        </pc:sldMkLst>
      </pc:sldChg>
      <pc:sldChg chg="add">
        <pc:chgData name="Sean Gallagher" userId="577446c3-45ae-4097-b8f0-9d862fa3a0df" providerId="ADAL" clId="{13740AD8-AE4D-4DA1-BFD6-015157225C6D}" dt="2024-04-18T19:28:13.125" v="1"/>
        <pc:sldMkLst>
          <pc:docMk/>
          <pc:sldMk cId="239522416" sldId="303"/>
        </pc:sldMkLst>
      </pc:sldChg>
      <pc:sldChg chg="add">
        <pc:chgData name="Sean Gallagher" userId="577446c3-45ae-4097-b8f0-9d862fa3a0df" providerId="ADAL" clId="{13740AD8-AE4D-4DA1-BFD6-015157225C6D}" dt="2024-04-18T19:28:13.125" v="1"/>
        <pc:sldMkLst>
          <pc:docMk/>
          <pc:sldMk cId="2569280574" sldId="304"/>
        </pc:sldMkLst>
      </pc:sldChg>
      <pc:sldChg chg="add">
        <pc:chgData name="Sean Gallagher" userId="577446c3-45ae-4097-b8f0-9d862fa3a0df" providerId="ADAL" clId="{13740AD8-AE4D-4DA1-BFD6-015157225C6D}" dt="2024-04-18T19:28:13.125" v="1"/>
        <pc:sldMkLst>
          <pc:docMk/>
          <pc:sldMk cId="1960173871" sldId="305"/>
        </pc:sldMkLst>
      </pc:sldChg>
      <pc:sldChg chg="add">
        <pc:chgData name="Sean Gallagher" userId="577446c3-45ae-4097-b8f0-9d862fa3a0df" providerId="ADAL" clId="{13740AD8-AE4D-4DA1-BFD6-015157225C6D}" dt="2024-04-18T19:28:13.125" v="1"/>
        <pc:sldMkLst>
          <pc:docMk/>
          <pc:sldMk cId="208475004" sldId="306"/>
        </pc:sldMkLst>
      </pc:sldChg>
      <pc:sldChg chg="add">
        <pc:chgData name="Sean Gallagher" userId="577446c3-45ae-4097-b8f0-9d862fa3a0df" providerId="ADAL" clId="{13740AD8-AE4D-4DA1-BFD6-015157225C6D}" dt="2024-04-18T19:28:13.125" v="1"/>
        <pc:sldMkLst>
          <pc:docMk/>
          <pc:sldMk cId="2107980662" sldId="307"/>
        </pc:sldMkLst>
      </pc:sldChg>
      <pc:sldChg chg="add">
        <pc:chgData name="Sean Gallagher" userId="577446c3-45ae-4097-b8f0-9d862fa3a0df" providerId="ADAL" clId="{13740AD8-AE4D-4DA1-BFD6-015157225C6D}" dt="2024-04-18T19:28:13.125" v="1"/>
        <pc:sldMkLst>
          <pc:docMk/>
          <pc:sldMk cId="1396073612" sldId="308"/>
        </pc:sldMkLst>
      </pc:sldChg>
      <pc:sldChg chg="add">
        <pc:chgData name="Sean Gallagher" userId="577446c3-45ae-4097-b8f0-9d862fa3a0df" providerId="ADAL" clId="{13740AD8-AE4D-4DA1-BFD6-015157225C6D}" dt="2024-04-18T19:28:13.125" v="1"/>
        <pc:sldMkLst>
          <pc:docMk/>
          <pc:sldMk cId="2941055308" sldId="309"/>
        </pc:sldMkLst>
      </pc:sldChg>
      <pc:sldChg chg="add">
        <pc:chgData name="Sean Gallagher" userId="577446c3-45ae-4097-b8f0-9d862fa3a0df" providerId="ADAL" clId="{13740AD8-AE4D-4DA1-BFD6-015157225C6D}" dt="2024-04-18T19:28:13.125" v="1"/>
        <pc:sldMkLst>
          <pc:docMk/>
          <pc:sldMk cId="1786903329" sldId="310"/>
        </pc:sldMkLst>
      </pc:sldChg>
      <pc:sldChg chg="add">
        <pc:chgData name="Sean Gallagher" userId="577446c3-45ae-4097-b8f0-9d862fa3a0df" providerId="ADAL" clId="{13740AD8-AE4D-4DA1-BFD6-015157225C6D}" dt="2024-04-18T19:28:13.125" v="1"/>
        <pc:sldMkLst>
          <pc:docMk/>
          <pc:sldMk cId="3072184504" sldId="311"/>
        </pc:sldMkLst>
      </pc:sldChg>
      <pc:sldChg chg="add">
        <pc:chgData name="Sean Gallagher" userId="577446c3-45ae-4097-b8f0-9d862fa3a0df" providerId="ADAL" clId="{13740AD8-AE4D-4DA1-BFD6-015157225C6D}" dt="2024-04-18T19:28:13.125" v="1"/>
        <pc:sldMkLst>
          <pc:docMk/>
          <pc:sldMk cId="1936699814" sldId="312"/>
        </pc:sldMkLst>
      </pc:sldChg>
      <pc:sldChg chg="add">
        <pc:chgData name="Sean Gallagher" userId="577446c3-45ae-4097-b8f0-9d862fa3a0df" providerId="ADAL" clId="{13740AD8-AE4D-4DA1-BFD6-015157225C6D}" dt="2024-04-18T19:28:13.125" v="1"/>
        <pc:sldMkLst>
          <pc:docMk/>
          <pc:sldMk cId="1503690397" sldId="313"/>
        </pc:sldMkLst>
      </pc:sldChg>
      <pc:sldChg chg="add">
        <pc:chgData name="Sean Gallagher" userId="577446c3-45ae-4097-b8f0-9d862fa3a0df" providerId="ADAL" clId="{13740AD8-AE4D-4DA1-BFD6-015157225C6D}" dt="2024-04-18T19:28:13.125" v="1"/>
        <pc:sldMkLst>
          <pc:docMk/>
          <pc:sldMk cId="174976843" sldId="314"/>
        </pc:sldMkLst>
      </pc:sldChg>
      <pc:sldChg chg="add">
        <pc:chgData name="Sean Gallagher" userId="577446c3-45ae-4097-b8f0-9d862fa3a0df" providerId="ADAL" clId="{13740AD8-AE4D-4DA1-BFD6-015157225C6D}" dt="2024-04-18T19:28:13.125" v="1"/>
        <pc:sldMkLst>
          <pc:docMk/>
          <pc:sldMk cId="4097195724" sldId="315"/>
        </pc:sldMkLst>
      </pc:sldChg>
      <pc:sldChg chg="add">
        <pc:chgData name="Sean Gallagher" userId="577446c3-45ae-4097-b8f0-9d862fa3a0df" providerId="ADAL" clId="{13740AD8-AE4D-4DA1-BFD6-015157225C6D}" dt="2024-04-18T19:28:13.125" v="1"/>
        <pc:sldMkLst>
          <pc:docMk/>
          <pc:sldMk cId="2514473469" sldId="316"/>
        </pc:sldMkLst>
      </pc:sldChg>
      <pc:sldChg chg="add">
        <pc:chgData name="Sean Gallagher" userId="577446c3-45ae-4097-b8f0-9d862fa3a0df" providerId="ADAL" clId="{13740AD8-AE4D-4DA1-BFD6-015157225C6D}" dt="2024-04-18T19:28:13.125" v="1"/>
        <pc:sldMkLst>
          <pc:docMk/>
          <pc:sldMk cId="3005206451" sldId="317"/>
        </pc:sldMkLst>
      </pc:sldChg>
      <pc:sldChg chg="add">
        <pc:chgData name="Sean Gallagher" userId="577446c3-45ae-4097-b8f0-9d862fa3a0df" providerId="ADAL" clId="{13740AD8-AE4D-4DA1-BFD6-015157225C6D}" dt="2024-04-18T19:28:13.125" v="1"/>
        <pc:sldMkLst>
          <pc:docMk/>
          <pc:sldMk cId="2394473977" sldId="318"/>
        </pc:sldMkLst>
      </pc:sldChg>
      <pc:sldChg chg="add">
        <pc:chgData name="Sean Gallagher" userId="577446c3-45ae-4097-b8f0-9d862fa3a0df" providerId="ADAL" clId="{13740AD8-AE4D-4DA1-BFD6-015157225C6D}" dt="2024-04-18T19:28:13.125" v="1"/>
        <pc:sldMkLst>
          <pc:docMk/>
          <pc:sldMk cId="3936613020" sldId="2134958658"/>
        </pc:sldMkLst>
      </pc:sldChg>
      <pc:sldChg chg="add">
        <pc:chgData name="Sean Gallagher" userId="577446c3-45ae-4097-b8f0-9d862fa3a0df" providerId="ADAL" clId="{13740AD8-AE4D-4DA1-BFD6-015157225C6D}" dt="2024-04-18T19:28:13.125" v="1"/>
        <pc:sldMkLst>
          <pc:docMk/>
          <pc:sldMk cId="1647460850" sldId="2134958659"/>
        </pc:sldMkLst>
      </pc:sldChg>
      <pc:sldChg chg="add">
        <pc:chgData name="Sean Gallagher" userId="577446c3-45ae-4097-b8f0-9d862fa3a0df" providerId="ADAL" clId="{13740AD8-AE4D-4DA1-BFD6-015157225C6D}" dt="2024-04-18T19:28:13.125" v="1"/>
        <pc:sldMkLst>
          <pc:docMk/>
          <pc:sldMk cId="2233815714" sldId="2134958660"/>
        </pc:sldMkLst>
      </pc:sldChg>
      <pc:sldChg chg="add">
        <pc:chgData name="Sean Gallagher" userId="577446c3-45ae-4097-b8f0-9d862fa3a0df" providerId="ADAL" clId="{13740AD8-AE4D-4DA1-BFD6-015157225C6D}" dt="2024-04-18T19:28:13.125" v="1"/>
        <pc:sldMkLst>
          <pc:docMk/>
          <pc:sldMk cId="18930601" sldId="2134958661"/>
        </pc:sldMkLst>
      </pc:sldChg>
      <pc:sldChg chg="add">
        <pc:chgData name="Sean Gallagher" userId="577446c3-45ae-4097-b8f0-9d862fa3a0df" providerId="ADAL" clId="{13740AD8-AE4D-4DA1-BFD6-015157225C6D}" dt="2024-04-18T19:28:13.125" v="1"/>
        <pc:sldMkLst>
          <pc:docMk/>
          <pc:sldMk cId="2527759629" sldId="2134958662"/>
        </pc:sldMkLst>
      </pc:sldChg>
      <pc:sldChg chg="add">
        <pc:chgData name="Sean Gallagher" userId="577446c3-45ae-4097-b8f0-9d862fa3a0df" providerId="ADAL" clId="{13740AD8-AE4D-4DA1-BFD6-015157225C6D}" dt="2024-04-18T19:28:13.125" v="1"/>
        <pc:sldMkLst>
          <pc:docMk/>
          <pc:sldMk cId="1926179678" sldId="2134958663"/>
        </pc:sldMkLst>
      </pc:sldChg>
      <pc:sldChg chg="add">
        <pc:chgData name="Sean Gallagher" userId="577446c3-45ae-4097-b8f0-9d862fa3a0df" providerId="ADAL" clId="{13740AD8-AE4D-4DA1-BFD6-015157225C6D}" dt="2024-04-18T19:28:13.125" v="1"/>
        <pc:sldMkLst>
          <pc:docMk/>
          <pc:sldMk cId="282327709" sldId="2134958664"/>
        </pc:sldMkLst>
      </pc:sldChg>
      <pc:sldChg chg="add">
        <pc:chgData name="Sean Gallagher" userId="577446c3-45ae-4097-b8f0-9d862fa3a0df" providerId="ADAL" clId="{13740AD8-AE4D-4DA1-BFD6-015157225C6D}" dt="2024-04-18T19:28:13.125" v="1"/>
        <pc:sldMkLst>
          <pc:docMk/>
          <pc:sldMk cId="3642327374" sldId="2134958665"/>
        </pc:sldMkLst>
      </pc:sldChg>
      <pc:sldChg chg="add">
        <pc:chgData name="Sean Gallagher" userId="577446c3-45ae-4097-b8f0-9d862fa3a0df" providerId="ADAL" clId="{13740AD8-AE4D-4DA1-BFD6-015157225C6D}" dt="2024-04-18T19:28:13.125" v="1"/>
        <pc:sldMkLst>
          <pc:docMk/>
          <pc:sldMk cId="4056466917" sldId="2134958666"/>
        </pc:sldMkLst>
      </pc:sldChg>
      <pc:sldChg chg="add">
        <pc:chgData name="Sean Gallagher" userId="577446c3-45ae-4097-b8f0-9d862fa3a0df" providerId="ADAL" clId="{13740AD8-AE4D-4DA1-BFD6-015157225C6D}" dt="2024-04-18T19:28:13.125" v="1"/>
        <pc:sldMkLst>
          <pc:docMk/>
          <pc:sldMk cId="194302494" sldId="2134958667"/>
        </pc:sldMkLst>
      </pc:sldChg>
      <pc:sldChg chg="add">
        <pc:chgData name="Sean Gallagher" userId="577446c3-45ae-4097-b8f0-9d862fa3a0df" providerId="ADAL" clId="{13740AD8-AE4D-4DA1-BFD6-015157225C6D}" dt="2024-04-18T19:28:13.125" v="1"/>
        <pc:sldMkLst>
          <pc:docMk/>
          <pc:sldMk cId="194381568" sldId="2134958668"/>
        </pc:sldMkLst>
      </pc:sldChg>
      <pc:sldChg chg="add">
        <pc:chgData name="Sean Gallagher" userId="577446c3-45ae-4097-b8f0-9d862fa3a0df" providerId="ADAL" clId="{13740AD8-AE4D-4DA1-BFD6-015157225C6D}" dt="2024-04-18T19:28:13.125" v="1"/>
        <pc:sldMkLst>
          <pc:docMk/>
          <pc:sldMk cId="2835828696" sldId="2134958669"/>
        </pc:sldMkLst>
      </pc:sldChg>
      <pc:sldChg chg="add">
        <pc:chgData name="Sean Gallagher" userId="577446c3-45ae-4097-b8f0-9d862fa3a0df" providerId="ADAL" clId="{13740AD8-AE4D-4DA1-BFD6-015157225C6D}" dt="2024-04-18T19:28:13.125" v="1"/>
        <pc:sldMkLst>
          <pc:docMk/>
          <pc:sldMk cId="473020751" sldId="2134958670"/>
        </pc:sldMkLst>
      </pc:sldChg>
      <pc:sldChg chg="add">
        <pc:chgData name="Sean Gallagher" userId="577446c3-45ae-4097-b8f0-9d862fa3a0df" providerId="ADAL" clId="{13740AD8-AE4D-4DA1-BFD6-015157225C6D}" dt="2024-04-18T19:28:13.125" v="1"/>
        <pc:sldMkLst>
          <pc:docMk/>
          <pc:sldMk cId="1971571131" sldId="2134958671"/>
        </pc:sldMkLst>
      </pc:sldChg>
      <pc:sldChg chg="add">
        <pc:chgData name="Sean Gallagher" userId="577446c3-45ae-4097-b8f0-9d862fa3a0df" providerId="ADAL" clId="{13740AD8-AE4D-4DA1-BFD6-015157225C6D}" dt="2024-04-18T19:28:13.125" v="1"/>
        <pc:sldMkLst>
          <pc:docMk/>
          <pc:sldMk cId="2663170655" sldId="2134958672"/>
        </pc:sldMkLst>
      </pc:sldChg>
      <pc:sldChg chg="add">
        <pc:chgData name="Sean Gallagher" userId="577446c3-45ae-4097-b8f0-9d862fa3a0df" providerId="ADAL" clId="{13740AD8-AE4D-4DA1-BFD6-015157225C6D}" dt="2024-04-18T19:28:13.125" v="1"/>
        <pc:sldMkLst>
          <pc:docMk/>
          <pc:sldMk cId="3799063078" sldId="2134958673"/>
        </pc:sldMkLst>
      </pc:sldChg>
      <pc:sldChg chg="add">
        <pc:chgData name="Sean Gallagher" userId="577446c3-45ae-4097-b8f0-9d862fa3a0df" providerId="ADAL" clId="{13740AD8-AE4D-4DA1-BFD6-015157225C6D}" dt="2024-04-18T19:28:13.125" v="1"/>
        <pc:sldMkLst>
          <pc:docMk/>
          <pc:sldMk cId="3741187828" sldId="2134958674"/>
        </pc:sldMkLst>
      </pc:sldChg>
      <pc:sldChg chg="add">
        <pc:chgData name="Sean Gallagher" userId="577446c3-45ae-4097-b8f0-9d862fa3a0df" providerId="ADAL" clId="{13740AD8-AE4D-4DA1-BFD6-015157225C6D}" dt="2024-04-18T19:28:13.125" v="1"/>
        <pc:sldMkLst>
          <pc:docMk/>
          <pc:sldMk cId="3351734909" sldId="2134958675"/>
        </pc:sldMkLst>
      </pc:sldChg>
      <pc:sldChg chg="add">
        <pc:chgData name="Sean Gallagher" userId="577446c3-45ae-4097-b8f0-9d862fa3a0df" providerId="ADAL" clId="{13740AD8-AE4D-4DA1-BFD6-015157225C6D}" dt="2024-04-18T19:28:38.207" v="2"/>
        <pc:sldMkLst>
          <pc:docMk/>
          <pc:sldMk cId="1914570399" sldId="2134958676"/>
        </pc:sldMkLst>
      </pc:sldChg>
      <pc:sldChg chg="add">
        <pc:chgData name="Sean Gallagher" userId="577446c3-45ae-4097-b8f0-9d862fa3a0df" providerId="ADAL" clId="{13740AD8-AE4D-4DA1-BFD6-015157225C6D}" dt="2024-04-18T19:28:38.207" v="2"/>
        <pc:sldMkLst>
          <pc:docMk/>
          <pc:sldMk cId="877437887" sldId="2134958677"/>
        </pc:sldMkLst>
      </pc:sldChg>
      <pc:sldChg chg="add">
        <pc:chgData name="Sean Gallagher" userId="577446c3-45ae-4097-b8f0-9d862fa3a0df" providerId="ADAL" clId="{13740AD8-AE4D-4DA1-BFD6-015157225C6D}" dt="2024-04-18T19:28:38.207" v="2"/>
        <pc:sldMkLst>
          <pc:docMk/>
          <pc:sldMk cId="3682590907" sldId="2134958678"/>
        </pc:sldMkLst>
      </pc:sldChg>
      <pc:sldChg chg="add">
        <pc:chgData name="Sean Gallagher" userId="577446c3-45ae-4097-b8f0-9d862fa3a0df" providerId="ADAL" clId="{13740AD8-AE4D-4DA1-BFD6-015157225C6D}" dt="2024-04-18T19:28:38.207" v="2"/>
        <pc:sldMkLst>
          <pc:docMk/>
          <pc:sldMk cId="3998847503" sldId="2134958679"/>
        </pc:sldMkLst>
      </pc:sldChg>
      <pc:sldChg chg="add">
        <pc:chgData name="Sean Gallagher" userId="577446c3-45ae-4097-b8f0-9d862fa3a0df" providerId="ADAL" clId="{13740AD8-AE4D-4DA1-BFD6-015157225C6D}" dt="2024-04-18T19:28:38.207" v="2"/>
        <pc:sldMkLst>
          <pc:docMk/>
          <pc:sldMk cId="4209110072" sldId="2134958680"/>
        </pc:sldMkLst>
      </pc:sldChg>
      <pc:sldChg chg="add">
        <pc:chgData name="Sean Gallagher" userId="577446c3-45ae-4097-b8f0-9d862fa3a0df" providerId="ADAL" clId="{13740AD8-AE4D-4DA1-BFD6-015157225C6D}" dt="2024-04-18T19:28:38.207" v="2"/>
        <pc:sldMkLst>
          <pc:docMk/>
          <pc:sldMk cId="3900555286" sldId="2134958681"/>
        </pc:sldMkLst>
      </pc:sldChg>
      <pc:sldChg chg="add">
        <pc:chgData name="Sean Gallagher" userId="577446c3-45ae-4097-b8f0-9d862fa3a0df" providerId="ADAL" clId="{13740AD8-AE4D-4DA1-BFD6-015157225C6D}" dt="2024-04-18T19:28:38.207" v="2"/>
        <pc:sldMkLst>
          <pc:docMk/>
          <pc:sldMk cId="3007726763" sldId="2134958682"/>
        </pc:sldMkLst>
      </pc:sldChg>
      <pc:sldChg chg="add">
        <pc:chgData name="Sean Gallagher" userId="577446c3-45ae-4097-b8f0-9d862fa3a0df" providerId="ADAL" clId="{13740AD8-AE4D-4DA1-BFD6-015157225C6D}" dt="2024-04-18T19:28:38.207" v="2"/>
        <pc:sldMkLst>
          <pc:docMk/>
          <pc:sldMk cId="2143871071" sldId="2134958683"/>
        </pc:sldMkLst>
      </pc:sldChg>
      <pc:sldChg chg="add">
        <pc:chgData name="Sean Gallagher" userId="577446c3-45ae-4097-b8f0-9d862fa3a0df" providerId="ADAL" clId="{13740AD8-AE4D-4DA1-BFD6-015157225C6D}" dt="2024-04-18T19:28:38.207" v="2"/>
        <pc:sldMkLst>
          <pc:docMk/>
          <pc:sldMk cId="3480542192" sldId="2134958684"/>
        </pc:sldMkLst>
      </pc:sldChg>
      <pc:sldChg chg="add">
        <pc:chgData name="Sean Gallagher" userId="577446c3-45ae-4097-b8f0-9d862fa3a0df" providerId="ADAL" clId="{13740AD8-AE4D-4DA1-BFD6-015157225C6D}" dt="2024-04-18T19:28:38.207" v="2"/>
        <pc:sldMkLst>
          <pc:docMk/>
          <pc:sldMk cId="506169339" sldId="2134958685"/>
        </pc:sldMkLst>
      </pc:sldChg>
      <pc:sldChg chg="add">
        <pc:chgData name="Sean Gallagher" userId="577446c3-45ae-4097-b8f0-9d862fa3a0df" providerId="ADAL" clId="{13740AD8-AE4D-4DA1-BFD6-015157225C6D}" dt="2024-04-18T19:28:38.207" v="2"/>
        <pc:sldMkLst>
          <pc:docMk/>
          <pc:sldMk cId="3091382889" sldId="2134958686"/>
        </pc:sldMkLst>
      </pc:sldChg>
      <pc:sldChg chg="add">
        <pc:chgData name="Sean Gallagher" userId="577446c3-45ae-4097-b8f0-9d862fa3a0df" providerId="ADAL" clId="{13740AD8-AE4D-4DA1-BFD6-015157225C6D}" dt="2024-04-18T19:28:38.207" v="2"/>
        <pc:sldMkLst>
          <pc:docMk/>
          <pc:sldMk cId="451611063" sldId="2134958687"/>
        </pc:sldMkLst>
      </pc:sldChg>
      <pc:sldChg chg="add">
        <pc:chgData name="Sean Gallagher" userId="577446c3-45ae-4097-b8f0-9d862fa3a0df" providerId="ADAL" clId="{13740AD8-AE4D-4DA1-BFD6-015157225C6D}" dt="2024-04-18T19:28:38.207" v="2"/>
        <pc:sldMkLst>
          <pc:docMk/>
          <pc:sldMk cId="2116788699" sldId="2134958688"/>
        </pc:sldMkLst>
      </pc:sldChg>
      <pc:sldChg chg="add">
        <pc:chgData name="Sean Gallagher" userId="577446c3-45ae-4097-b8f0-9d862fa3a0df" providerId="ADAL" clId="{13740AD8-AE4D-4DA1-BFD6-015157225C6D}" dt="2024-04-18T19:28:38.207" v="2"/>
        <pc:sldMkLst>
          <pc:docMk/>
          <pc:sldMk cId="1310200696" sldId="2134958689"/>
        </pc:sldMkLst>
      </pc:sldChg>
      <pc:sldChg chg="add">
        <pc:chgData name="Sean Gallagher" userId="577446c3-45ae-4097-b8f0-9d862fa3a0df" providerId="ADAL" clId="{13740AD8-AE4D-4DA1-BFD6-015157225C6D}" dt="2024-04-18T19:28:38.207" v="2"/>
        <pc:sldMkLst>
          <pc:docMk/>
          <pc:sldMk cId="1535543338" sldId="2134958690"/>
        </pc:sldMkLst>
      </pc:sldChg>
      <pc:sldChg chg="add">
        <pc:chgData name="Sean Gallagher" userId="577446c3-45ae-4097-b8f0-9d862fa3a0df" providerId="ADAL" clId="{13740AD8-AE4D-4DA1-BFD6-015157225C6D}" dt="2024-04-18T19:28:55.240" v="3"/>
        <pc:sldMkLst>
          <pc:docMk/>
          <pc:sldMk cId="3385054240" sldId="2134958691"/>
        </pc:sldMkLst>
      </pc:sldChg>
      <pc:sldChg chg="add">
        <pc:chgData name="Sean Gallagher" userId="577446c3-45ae-4097-b8f0-9d862fa3a0df" providerId="ADAL" clId="{13740AD8-AE4D-4DA1-BFD6-015157225C6D}" dt="2024-04-18T19:28:55.240" v="3"/>
        <pc:sldMkLst>
          <pc:docMk/>
          <pc:sldMk cId="4048394037" sldId="2134958692"/>
        </pc:sldMkLst>
      </pc:sldChg>
      <pc:sldChg chg="add">
        <pc:chgData name="Sean Gallagher" userId="577446c3-45ae-4097-b8f0-9d862fa3a0df" providerId="ADAL" clId="{13740AD8-AE4D-4DA1-BFD6-015157225C6D}" dt="2024-04-18T19:28:55.240" v="3"/>
        <pc:sldMkLst>
          <pc:docMk/>
          <pc:sldMk cId="1612886724" sldId="2134958693"/>
        </pc:sldMkLst>
      </pc:sldChg>
      <pc:sldChg chg="add">
        <pc:chgData name="Sean Gallagher" userId="577446c3-45ae-4097-b8f0-9d862fa3a0df" providerId="ADAL" clId="{13740AD8-AE4D-4DA1-BFD6-015157225C6D}" dt="2024-04-18T19:28:55.240" v="3"/>
        <pc:sldMkLst>
          <pc:docMk/>
          <pc:sldMk cId="2900894542" sldId="2134958694"/>
        </pc:sldMkLst>
      </pc:sldChg>
      <pc:sldChg chg="add">
        <pc:chgData name="Sean Gallagher" userId="577446c3-45ae-4097-b8f0-9d862fa3a0df" providerId="ADAL" clId="{13740AD8-AE4D-4DA1-BFD6-015157225C6D}" dt="2024-04-18T19:28:55.240" v="3"/>
        <pc:sldMkLst>
          <pc:docMk/>
          <pc:sldMk cId="1661855399" sldId="2134958695"/>
        </pc:sldMkLst>
      </pc:sldChg>
      <pc:sldChg chg="add">
        <pc:chgData name="Sean Gallagher" userId="577446c3-45ae-4097-b8f0-9d862fa3a0df" providerId="ADAL" clId="{13740AD8-AE4D-4DA1-BFD6-015157225C6D}" dt="2024-04-18T19:28:55.240" v="3"/>
        <pc:sldMkLst>
          <pc:docMk/>
          <pc:sldMk cId="3842512903" sldId="2134958696"/>
        </pc:sldMkLst>
      </pc:sldChg>
      <pc:sldChg chg="add">
        <pc:chgData name="Sean Gallagher" userId="577446c3-45ae-4097-b8f0-9d862fa3a0df" providerId="ADAL" clId="{13740AD8-AE4D-4DA1-BFD6-015157225C6D}" dt="2024-04-18T19:28:55.240" v="3"/>
        <pc:sldMkLst>
          <pc:docMk/>
          <pc:sldMk cId="4085301705" sldId="2134958697"/>
        </pc:sldMkLst>
      </pc:sldChg>
      <pc:sldChg chg="add">
        <pc:chgData name="Sean Gallagher" userId="577446c3-45ae-4097-b8f0-9d862fa3a0df" providerId="ADAL" clId="{13740AD8-AE4D-4DA1-BFD6-015157225C6D}" dt="2024-04-18T19:28:55.240" v="3"/>
        <pc:sldMkLst>
          <pc:docMk/>
          <pc:sldMk cId="4163696687" sldId="2134958698"/>
        </pc:sldMkLst>
      </pc:sldChg>
      <pc:sldChg chg="add">
        <pc:chgData name="Sean Gallagher" userId="577446c3-45ae-4097-b8f0-9d862fa3a0df" providerId="ADAL" clId="{13740AD8-AE4D-4DA1-BFD6-015157225C6D}" dt="2024-04-18T19:28:55.240" v="3"/>
        <pc:sldMkLst>
          <pc:docMk/>
          <pc:sldMk cId="1383832966" sldId="2134958699"/>
        </pc:sldMkLst>
      </pc:sldChg>
      <pc:sldChg chg="add">
        <pc:chgData name="Sean Gallagher" userId="577446c3-45ae-4097-b8f0-9d862fa3a0df" providerId="ADAL" clId="{13740AD8-AE4D-4DA1-BFD6-015157225C6D}" dt="2024-04-18T19:28:55.240" v="3"/>
        <pc:sldMkLst>
          <pc:docMk/>
          <pc:sldMk cId="1807485323" sldId="2134958700"/>
        </pc:sldMkLst>
      </pc:sldChg>
      <pc:sldChg chg="add">
        <pc:chgData name="Sean Gallagher" userId="577446c3-45ae-4097-b8f0-9d862fa3a0df" providerId="ADAL" clId="{13740AD8-AE4D-4DA1-BFD6-015157225C6D}" dt="2024-04-18T19:28:55.240" v="3"/>
        <pc:sldMkLst>
          <pc:docMk/>
          <pc:sldMk cId="3086579243" sldId="2134958701"/>
        </pc:sldMkLst>
      </pc:sldChg>
      <pc:sldChg chg="add">
        <pc:chgData name="Sean Gallagher" userId="577446c3-45ae-4097-b8f0-9d862fa3a0df" providerId="ADAL" clId="{13740AD8-AE4D-4DA1-BFD6-015157225C6D}" dt="2024-04-18T19:28:55.240" v="3"/>
        <pc:sldMkLst>
          <pc:docMk/>
          <pc:sldMk cId="2285821829" sldId="2134958702"/>
        </pc:sldMkLst>
      </pc:sldChg>
      <pc:sldChg chg="add">
        <pc:chgData name="Sean Gallagher" userId="577446c3-45ae-4097-b8f0-9d862fa3a0df" providerId="ADAL" clId="{13740AD8-AE4D-4DA1-BFD6-015157225C6D}" dt="2024-04-18T19:28:55.240" v="3"/>
        <pc:sldMkLst>
          <pc:docMk/>
          <pc:sldMk cId="897852737" sldId="2134958703"/>
        </pc:sldMkLst>
      </pc:sldChg>
      <pc:sldChg chg="add">
        <pc:chgData name="Sean Gallagher" userId="577446c3-45ae-4097-b8f0-9d862fa3a0df" providerId="ADAL" clId="{13740AD8-AE4D-4DA1-BFD6-015157225C6D}" dt="2024-04-18T19:28:55.240" v="3"/>
        <pc:sldMkLst>
          <pc:docMk/>
          <pc:sldMk cId="3323212631" sldId="2134958704"/>
        </pc:sldMkLst>
      </pc:sldChg>
      <pc:sldChg chg="add">
        <pc:chgData name="Sean Gallagher" userId="577446c3-45ae-4097-b8f0-9d862fa3a0df" providerId="ADAL" clId="{13740AD8-AE4D-4DA1-BFD6-015157225C6D}" dt="2024-04-18T19:28:55.240" v="3"/>
        <pc:sldMkLst>
          <pc:docMk/>
          <pc:sldMk cId="649909483" sldId="2134958705"/>
        </pc:sldMkLst>
      </pc:sldChg>
      <pc:sldChg chg="add">
        <pc:chgData name="Sean Gallagher" userId="577446c3-45ae-4097-b8f0-9d862fa3a0df" providerId="ADAL" clId="{13740AD8-AE4D-4DA1-BFD6-015157225C6D}" dt="2024-04-18T19:28:55.240" v="3"/>
        <pc:sldMkLst>
          <pc:docMk/>
          <pc:sldMk cId="22513437" sldId="2134958706"/>
        </pc:sldMkLst>
      </pc:sldChg>
      <pc:sldChg chg="add">
        <pc:chgData name="Sean Gallagher" userId="577446c3-45ae-4097-b8f0-9d862fa3a0df" providerId="ADAL" clId="{13740AD8-AE4D-4DA1-BFD6-015157225C6D}" dt="2024-04-18T19:28:55.240" v="3"/>
        <pc:sldMkLst>
          <pc:docMk/>
          <pc:sldMk cId="3115826438" sldId="2134958707"/>
        </pc:sldMkLst>
      </pc:sldChg>
      <pc:sldChg chg="add">
        <pc:chgData name="Sean Gallagher" userId="577446c3-45ae-4097-b8f0-9d862fa3a0df" providerId="ADAL" clId="{13740AD8-AE4D-4DA1-BFD6-015157225C6D}" dt="2024-04-18T19:28:55.240" v="3"/>
        <pc:sldMkLst>
          <pc:docMk/>
          <pc:sldMk cId="3060276835" sldId="2134958708"/>
        </pc:sldMkLst>
      </pc:sldChg>
      <pc:sldChg chg="add">
        <pc:chgData name="Sean Gallagher" userId="577446c3-45ae-4097-b8f0-9d862fa3a0df" providerId="ADAL" clId="{13740AD8-AE4D-4DA1-BFD6-015157225C6D}" dt="2024-04-18T19:28:55.240" v="3"/>
        <pc:sldMkLst>
          <pc:docMk/>
          <pc:sldMk cId="2579517199" sldId="2134958709"/>
        </pc:sldMkLst>
      </pc:sldChg>
      <pc:sldChg chg="add">
        <pc:chgData name="Sean Gallagher" userId="577446c3-45ae-4097-b8f0-9d862fa3a0df" providerId="ADAL" clId="{13740AD8-AE4D-4DA1-BFD6-015157225C6D}" dt="2024-04-18T19:28:55.240" v="3"/>
        <pc:sldMkLst>
          <pc:docMk/>
          <pc:sldMk cId="1039082411" sldId="2134958710"/>
        </pc:sldMkLst>
      </pc:sldChg>
      <pc:sldChg chg="add">
        <pc:chgData name="Sean Gallagher" userId="577446c3-45ae-4097-b8f0-9d862fa3a0df" providerId="ADAL" clId="{13740AD8-AE4D-4DA1-BFD6-015157225C6D}" dt="2024-04-18T19:28:55.240" v="3"/>
        <pc:sldMkLst>
          <pc:docMk/>
          <pc:sldMk cId="1605305374" sldId="2134958711"/>
        </pc:sldMkLst>
      </pc:sldChg>
      <pc:sldChg chg="add">
        <pc:chgData name="Sean Gallagher" userId="577446c3-45ae-4097-b8f0-9d862fa3a0df" providerId="ADAL" clId="{13740AD8-AE4D-4DA1-BFD6-015157225C6D}" dt="2024-04-18T19:28:55.240" v="3"/>
        <pc:sldMkLst>
          <pc:docMk/>
          <pc:sldMk cId="3326400325" sldId="2134958712"/>
        </pc:sldMkLst>
      </pc:sldChg>
      <pc:sldChg chg="add">
        <pc:chgData name="Sean Gallagher" userId="577446c3-45ae-4097-b8f0-9d862fa3a0df" providerId="ADAL" clId="{13740AD8-AE4D-4DA1-BFD6-015157225C6D}" dt="2024-04-18T19:28:55.240" v="3"/>
        <pc:sldMkLst>
          <pc:docMk/>
          <pc:sldMk cId="1316534488" sldId="2134958713"/>
        </pc:sldMkLst>
      </pc:sldChg>
      <pc:sldChg chg="add">
        <pc:chgData name="Sean Gallagher" userId="577446c3-45ae-4097-b8f0-9d862fa3a0df" providerId="ADAL" clId="{13740AD8-AE4D-4DA1-BFD6-015157225C6D}" dt="2024-04-18T19:28:55.240" v="3"/>
        <pc:sldMkLst>
          <pc:docMk/>
          <pc:sldMk cId="508818661" sldId="2134958714"/>
        </pc:sldMkLst>
      </pc:sldChg>
      <pc:sldChg chg="add">
        <pc:chgData name="Sean Gallagher" userId="577446c3-45ae-4097-b8f0-9d862fa3a0df" providerId="ADAL" clId="{13740AD8-AE4D-4DA1-BFD6-015157225C6D}" dt="2024-04-18T19:28:55.240" v="3"/>
        <pc:sldMkLst>
          <pc:docMk/>
          <pc:sldMk cId="4036670024" sldId="2134958715"/>
        </pc:sldMkLst>
      </pc:sldChg>
      <pc:sldChg chg="add">
        <pc:chgData name="Sean Gallagher" userId="577446c3-45ae-4097-b8f0-9d862fa3a0df" providerId="ADAL" clId="{13740AD8-AE4D-4DA1-BFD6-015157225C6D}" dt="2024-04-18T19:28:55.240" v="3"/>
        <pc:sldMkLst>
          <pc:docMk/>
          <pc:sldMk cId="1398837635" sldId="2134958716"/>
        </pc:sldMkLst>
      </pc:sldChg>
      <pc:sldChg chg="add">
        <pc:chgData name="Sean Gallagher" userId="577446c3-45ae-4097-b8f0-9d862fa3a0df" providerId="ADAL" clId="{13740AD8-AE4D-4DA1-BFD6-015157225C6D}" dt="2024-04-18T19:28:55.240" v="3"/>
        <pc:sldMkLst>
          <pc:docMk/>
          <pc:sldMk cId="2343540016" sldId="2134958717"/>
        </pc:sldMkLst>
      </pc:sldChg>
      <pc:sldChg chg="add">
        <pc:chgData name="Sean Gallagher" userId="577446c3-45ae-4097-b8f0-9d862fa3a0df" providerId="ADAL" clId="{13740AD8-AE4D-4DA1-BFD6-015157225C6D}" dt="2024-04-18T19:28:55.240" v="3"/>
        <pc:sldMkLst>
          <pc:docMk/>
          <pc:sldMk cId="2671895690" sldId="2134958718"/>
        </pc:sldMkLst>
      </pc:sldChg>
      <pc:sldChg chg="add">
        <pc:chgData name="Sean Gallagher" userId="577446c3-45ae-4097-b8f0-9d862fa3a0df" providerId="ADAL" clId="{13740AD8-AE4D-4DA1-BFD6-015157225C6D}" dt="2024-04-18T19:29:11.638" v="4"/>
        <pc:sldMkLst>
          <pc:docMk/>
          <pc:sldMk cId="3505607514" sldId="2134958719"/>
        </pc:sldMkLst>
      </pc:sldChg>
      <pc:sldChg chg="add">
        <pc:chgData name="Sean Gallagher" userId="577446c3-45ae-4097-b8f0-9d862fa3a0df" providerId="ADAL" clId="{13740AD8-AE4D-4DA1-BFD6-015157225C6D}" dt="2024-04-18T19:29:11.638" v="4"/>
        <pc:sldMkLst>
          <pc:docMk/>
          <pc:sldMk cId="2175704978" sldId="2134958720"/>
        </pc:sldMkLst>
      </pc:sldChg>
      <pc:sldChg chg="add">
        <pc:chgData name="Sean Gallagher" userId="577446c3-45ae-4097-b8f0-9d862fa3a0df" providerId="ADAL" clId="{13740AD8-AE4D-4DA1-BFD6-015157225C6D}" dt="2024-04-18T19:29:11.638" v="4"/>
        <pc:sldMkLst>
          <pc:docMk/>
          <pc:sldMk cId="3043448542" sldId="2134958721"/>
        </pc:sldMkLst>
      </pc:sldChg>
      <pc:sldChg chg="add">
        <pc:chgData name="Sean Gallagher" userId="577446c3-45ae-4097-b8f0-9d862fa3a0df" providerId="ADAL" clId="{13740AD8-AE4D-4DA1-BFD6-015157225C6D}" dt="2024-04-18T19:29:11.638" v="4"/>
        <pc:sldMkLst>
          <pc:docMk/>
          <pc:sldMk cId="272534965" sldId="2134958722"/>
        </pc:sldMkLst>
      </pc:sldChg>
      <pc:sldChg chg="add">
        <pc:chgData name="Sean Gallagher" userId="577446c3-45ae-4097-b8f0-9d862fa3a0df" providerId="ADAL" clId="{13740AD8-AE4D-4DA1-BFD6-015157225C6D}" dt="2024-04-18T19:29:11.638" v="4"/>
        <pc:sldMkLst>
          <pc:docMk/>
          <pc:sldMk cId="1948331355" sldId="2134958723"/>
        </pc:sldMkLst>
      </pc:sldChg>
      <pc:sldChg chg="add">
        <pc:chgData name="Sean Gallagher" userId="577446c3-45ae-4097-b8f0-9d862fa3a0df" providerId="ADAL" clId="{13740AD8-AE4D-4DA1-BFD6-015157225C6D}" dt="2024-04-18T19:29:11.638" v="4"/>
        <pc:sldMkLst>
          <pc:docMk/>
          <pc:sldMk cId="789599039" sldId="2134958724"/>
        </pc:sldMkLst>
      </pc:sldChg>
      <pc:sldChg chg="add">
        <pc:chgData name="Sean Gallagher" userId="577446c3-45ae-4097-b8f0-9d862fa3a0df" providerId="ADAL" clId="{13740AD8-AE4D-4DA1-BFD6-015157225C6D}" dt="2024-04-18T19:29:11.638" v="4"/>
        <pc:sldMkLst>
          <pc:docMk/>
          <pc:sldMk cId="1814502696" sldId="2134958725"/>
        </pc:sldMkLst>
      </pc:sldChg>
      <pc:sldChg chg="add">
        <pc:chgData name="Sean Gallagher" userId="577446c3-45ae-4097-b8f0-9d862fa3a0df" providerId="ADAL" clId="{13740AD8-AE4D-4DA1-BFD6-015157225C6D}" dt="2024-04-18T19:29:11.638" v="4"/>
        <pc:sldMkLst>
          <pc:docMk/>
          <pc:sldMk cId="2819349799" sldId="2134958726"/>
        </pc:sldMkLst>
      </pc:sldChg>
      <pc:sldChg chg="add">
        <pc:chgData name="Sean Gallagher" userId="577446c3-45ae-4097-b8f0-9d862fa3a0df" providerId="ADAL" clId="{13740AD8-AE4D-4DA1-BFD6-015157225C6D}" dt="2024-04-18T19:29:11.638" v="4"/>
        <pc:sldMkLst>
          <pc:docMk/>
          <pc:sldMk cId="679393884" sldId="2134958727"/>
        </pc:sldMkLst>
      </pc:sldChg>
      <pc:sldChg chg="add">
        <pc:chgData name="Sean Gallagher" userId="577446c3-45ae-4097-b8f0-9d862fa3a0df" providerId="ADAL" clId="{13740AD8-AE4D-4DA1-BFD6-015157225C6D}" dt="2024-04-18T19:29:11.638" v="4"/>
        <pc:sldMkLst>
          <pc:docMk/>
          <pc:sldMk cId="3239195169" sldId="2134958728"/>
        </pc:sldMkLst>
      </pc:sldChg>
      <pc:sldChg chg="add">
        <pc:chgData name="Sean Gallagher" userId="577446c3-45ae-4097-b8f0-9d862fa3a0df" providerId="ADAL" clId="{13740AD8-AE4D-4DA1-BFD6-015157225C6D}" dt="2024-04-18T19:29:11.638" v="4"/>
        <pc:sldMkLst>
          <pc:docMk/>
          <pc:sldMk cId="3209697986" sldId="2134958729"/>
        </pc:sldMkLst>
      </pc:sldChg>
      <pc:sldChg chg="add">
        <pc:chgData name="Sean Gallagher" userId="577446c3-45ae-4097-b8f0-9d862fa3a0df" providerId="ADAL" clId="{13740AD8-AE4D-4DA1-BFD6-015157225C6D}" dt="2024-04-18T19:29:11.638" v="4"/>
        <pc:sldMkLst>
          <pc:docMk/>
          <pc:sldMk cId="4077304380" sldId="2134958730"/>
        </pc:sldMkLst>
      </pc:sldChg>
      <pc:sldChg chg="add">
        <pc:chgData name="Sean Gallagher" userId="577446c3-45ae-4097-b8f0-9d862fa3a0df" providerId="ADAL" clId="{13740AD8-AE4D-4DA1-BFD6-015157225C6D}" dt="2024-04-18T19:29:11.638" v="4"/>
        <pc:sldMkLst>
          <pc:docMk/>
          <pc:sldMk cId="2857518688" sldId="2134958731"/>
        </pc:sldMkLst>
      </pc:sldChg>
      <pc:sldChg chg="add">
        <pc:chgData name="Sean Gallagher" userId="577446c3-45ae-4097-b8f0-9d862fa3a0df" providerId="ADAL" clId="{13740AD8-AE4D-4DA1-BFD6-015157225C6D}" dt="2024-04-18T19:29:11.638" v="4"/>
        <pc:sldMkLst>
          <pc:docMk/>
          <pc:sldMk cId="2067933875" sldId="2134958732"/>
        </pc:sldMkLst>
      </pc:sldChg>
      <pc:sldChg chg="add">
        <pc:chgData name="Sean Gallagher" userId="577446c3-45ae-4097-b8f0-9d862fa3a0df" providerId="ADAL" clId="{13740AD8-AE4D-4DA1-BFD6-015157225C6D}" dt="2024-04-18T19:29:11.638" v="4"/>
        <pc:sldMkLst>
          <pc:docMk/>
          <pc:sldMk cId="1799991716" sldId="2134958733"/>
        </pc:sldMkLst>
      </pc:sldChg>
    </pc:docChg>
  </pc:docChgLst>
  <pc:docChgLst>
    <pc:chgData name="Sean Gallagher" userId="577446c3-45ae-4097-b8f0-9d862fa3a0df" providerId="ADAL" clId="{A073752B-14C6-4830-86DF-8C7B5E6D5C28}"/>
    <pc:docChg chg="custSel addSld delSld modSld modMainMaster">
      <pc:chgData name="Sean Gallagher" userId="577446c3-45ae-4097-b8f0-9d862fa3a0df" providerId="ADAL" clId="{A073752B-14C6-4830-86DF-8C7B5E6D5C28}" dt="2024-04-16T20:44:15.130" v="90" actId="1076"/>
      <pc:docMkLst>
        <pc:docMk/>
      </pc:docMkLst>
      <pc:sldChg chg="del">
        <pc:chgData name="Sean Gallagher" userId="577446c3-45ae-4097-b8f0-9d862fa3a0df" providerId="ADAL" clId="{A073752B-14C6-4830-86DF-8C7B5E6D5C28}" dt="2024-04-16T20:36:22.228" v="1" actId="47"/>
        <pc:sldMkLst>
          <pc:docMk/>
          <pc:sldMk cId="3675703319" sldId="279"/>
        </pc:sldMkLst>
      </pc:sldChg>
      <pc:sldChg chg="add del">
        <pc:chgData name="Sean Gallagher" userId="577446c3-45ae-4097-b8f0-9d862fa3a0df" providerId="ADAL" clId="{A073752B-14C6-4830-86DF-8C7B5E6D5C28}" dt="2024-04-16T20:36:44.341" v="5" actId="47"/>
        <pc:sldMkLst>
          <pc:docMk/>
          <pc:sldMk cId="3465688576" sldId="281"/>
        </pc:sldMkLst>
      </pc:sldChg>
      <pc:sldChg chg="modSp mod">
        <pc:chgData name="Sean Gallagher" userId="577446c3-45ae-4097-b8f0-9d862fa3a0df" providerId="ADAL" clId="{A073752B-14C6-4830-86DF-8C7B5E6D5C28}" dt="2024-04-16T20:40:34.314" v="31" actId="20577"/>
        <pc:sldMkLst>
          <pc:docMk/>
          <pc:sldMk cId="838486706" sldId="2134958646"/>
        </pc:sldMkLst>
        <pc:spChg chg="mod">
          <ac:chgData name="Sean Gallagher" userId="577446c3-45ae-4097-b8f0-9d862fa3a0df" providerId="ADAL" clId="{A073752B-14C6-4830-86DF-8C7B5E6D5C28}" dt="2024-04-16T20:40:34.314" v="31" actId="20577"/>
          <ac:spMkLst>
            <pc:docMk/>
            <pc:sldMk cId="838486706" sldId="2134958646"/>
            <ac:spMk id="4" creationId="{6848280A-52CF-14A2-72C8-A76D653B1539}"/>
          </ac:spMkLst>
        </pc:spChg>
      </pc:sldChg>
      <pc:sldChg chg="modSp mod">
        <pc:chgData name="Sean Gallagher" userId="577446c3-45ae-4097-b8f0-9d862fa3a0df" providerId="ADAL" clId="{A073752B-14C6-4830-86DF-8C7B5E6D5C28}" dt="2024-04-16T20:42:53.724" v="87" actId="20577"/>
        <pc:sldMkLst>
          <pc:docMk/>
          <pc:sldMk cId="3111996064" sldId="2134958649"/>
        </pc:sldMkLst>
        <pc:spChg chg="mod">
          <ac:chgData name="Sean Gallagher" userId="577446c3-45ae-4097-b8f0-9d862fa3a0df" providerId="ADAL" clId="{A073752B-14C6-4830-86DF-8C7B5E6D5C28}" dt="2024-04-16T20:42:53.724" v="87" actId="20577"/>
          <ac:spMkLst>
            <pc:docMk/>
            <pc:sldMk cId="3111996064" sldId="2134958649"/>
            <ac:spMk id="3" creationId="{AE7567E0-9FB4-E2D0-F57B-56251EA6FA1C}"/>
          </ac:spMkLst>
        </pc:spChg>
      </pc:sldChg>
      <pc:sldChg chg="delSp">
        <pc:chgData name="Sean Gallagher" userId="577446c3-45ae-4097-b8f0-9d862fa3a0df" providerId="ADAL" clId="{A073752B-14C6-4830-86DF-8C7B5E6D5C28}" dt="2024-04-16T20:40:54.462" v="32" actId="478"/>
        <pc:sldMkLst>
          <pc:docMk/>
          <pc:sldMk cId="548871033" sldId="2134958650"/>
        </pc:sldMkLst>
        <pc:picChg chg="del">
          <ac:chgData name="Sean Gallagher" userId="577446c3-45ae-4097-b8f0-9d862fa3a0df" providerId="ADAL" clId="{A073752B-14C6-4830-86DF-8C7B5E6D5C28}" dt="2024-04-16T20:40:54.462" v="32" actId="478"/>
          <ac:picMkLst>
            <pc:docMk/>
            <pc:sldMk cId="548871033" sldId="2134958650"/>
            <ac:picMk id="2052" creationId="{2E9E0A24-1B05-8845-9DC4-63AD3E61AB42}"/>
          </ac:picMkLst>
        </pc:picChg>
      </pc:sldChg>
      <pc:sldChg chg="addSp delSp modSp mod">
        <pc:chgData name="Sean Gallagher" userId="577446c3-45ae-4097-b8f0-9d862fa3a0df" providerId="ADAL" clId="{A073752B-14C6-4830-86DF-8C7B5E6D5C28}" dt="2024-04-16T20:40:17.101" v="30" actId="1076"/>
        <pc:sldMkLst>
          <pc:docMk/>
          <pc:sldMk cId="4281471524" sldId="2134958655"/>
        </pc:sldMkLst>
        <pc:picChg chg="add mod">
          <ac:chgData name="Sean Gallagher" userId="577446c3-45ae-4097-b8f0-9d862fa3a0df" providerId="ADAL" clId="{A073752B-14C6-4830-86DF-8C7B5E6D5C28}" dt="2024-04-16T20:40:07.115" v="24" actId="962"/>
          <ac:picMkLst>
            <pc:docMk/>
            <pc:sldMk cId="4281471524" sldId="2134958655"/>
            <ac:picMk id="3" creationId="{1BA441CF-99FA-7699-7CE0-AA67F3F87641}"/>
          </ac:picMkLst>
        </pc:picChg>
        <pc:picChg chg="del">
          <ac:chgData name="Sean Gallagher" userId="577446c3-45ae-4097-b8f0-9d862fa3a0df" providerId="ADAL" clId="{A073752B-14C6-4830-86DF-8C7B5E6D5C28}" dt="2024-04-16T20:39:54.568" v="17" actId="478"/>
          <ac:picMkLst>
            <pc:docMk/>
            <pc:sldMk cId="4281471524" sldId="2134958655"/>
            <ac:picMk id="5" creationId="{2B89204E-12D1-ED0E-3408-4EC5E36325D8}"/>
          </ac:picMkLst>
        </pc:picChg>
        <pc:picChg chg="del">
          <ac:chgData name="Sean Gallagher" userId="577446c3-45ae-4097-b8f0-9d862fa3a0df" providerId="ADAL" clId="{A073752B-14C6-4830-86DF-8C7B5E6D5C28}" dt="2024-04-16T20:39:55.796" v="18" actId="478"/>
          <ac:picMkLst>
            <pc:docMk/>
            <pc:sldMk cId="4281471524" sldId="2134958655"/>
            <ac:picMk id="7" creationId="{321B2E6E-60FF-5DA1-AC6C-400AC4140B66}"/>
          </ac:picMkLst>
        </pc:picChg>
        <pc:picChg chg="add mod">
          <ac:chgData name="Sean Gallagher" userId="577446c3-45ae-4097-b8f0-9d862fa3a0df" providerId="ADAL" clId="{A073752B-14C6-4830-86DF-8C7B5E6D5C28}" dt="2024-04-16T20:40:17.101" v="30" actId="1076"/>
          <ac:picMkLst>
            <pc:docMk/>
            <pc:sldMk cId="4281471524" sldId="2134958655"/>
            <ac:picMk id="8" creationId="{2A7B5F43-046B-98A2-C57F-97B570E2A648}"/>
          </ac:picMkLst>
        </pc:picChg>
        <pc:picChg chg="del">
          <ac:chgData name="Sean Gallagher" userId="577446c3-45ae-4097-b8f0-9d862fa3a0df" providerId="ADAL" clId="{A073752B-14C6-4830-86DF-8C7B5E6D5C28}" dt="2024-04-16T20:39:56.732" v="19" actId="478"/>
          <ac:picMkLst>
            <pc:docMk/>
            <pc:sldMk cId="4281471524" sldId="2134958655"/>
            <ac:picMk id="9" creationId="{EB7F5C48-9CFB-DC7E-3A64-D5F838844210}"/>
          </ac:picMkLst>
        </pc:picChg>
      </pc:sldChg>
      <pc:sldChg chg="modSp mod">
        <pc:chgData name="Sean Gallagher" userId="577446c3-45ae-4097-b8f0-9d862fa3a0df" providerId="ADAL" clId="{A073752B-14C6-4830-86DF-8C7B5E6D5C28}" dt="2024-04-16T20:38:53.663" v="16" actId="113"/>
        <pc:sldMkLst>
          <pc:docMk/>
          <pc:sldMk cId="1250068653" sldId="2134958656"/>
        </pc:sldMkLst>
        <pc:spChg chg="mod">
          <ac:chgData name="Sean Gallagher" userId="577446c3-45ae-4097-b8f0-9d862fa3a0df" providerId="ADAL" clId="{A073752B-14C6-4830-86DF-8C7B5E6D5C28}" dt="2024-04-16T20:38:53.663" v="16" actId="113"/>
          <ac:spMkLst>
            <pc:docMk/>
            <pc:sldMk cId="1250068653" sldId="2134958656"/>
            <ac:spMk id="2" creationId="{00000000-0000-0000-0000-000000000000}"/>
          </ac:spMkLst>
        </pc:spChg>
      </pc:sldChg>
      <pc:sldChg chg="add del">
        <pc:chgData name="Sean Gallagher" userId="577446c3-45ae-4097-b8f0-9d862fa3a0df" providerId="ADAL" clId="{A073752B-14C6-4830-86DF-8C7B5E6D5C28}" dt="2024-04-16T20:36:40.242" v="3"/>
        <pc:sldMkLst>
          <pc:docMk/>
          <pc:sldMk cId="818607027" sldId="2134958657"/>
        </pc:sldMkLst>
      </pc:sldChg>
      <pc:sldChg chg="add">
        <pc:chgData name="Sean Gallagher" userId="577446c3-45ae-4097-b8f0-9d862fa3a0df" providerId="ADAL" clId="{A073752B-14C6-4830-86DF-8C7B5E6D5C28}" dt="2024-04-16T20:36:41.981" v="4"/>
        <pc:sldMkLst>
          <pc:docMk/>
          <pc:sldMk cId="2985246975" sldId="2134958657"/>
        </pc:sldMkLst>
      </pc:sldChg>
      <pc:sldMasterChg chg="addSp delSp modSp mod">
        <pc:chgData name="Sean Gallagher" userId="577446c3-45ae-4097-b8f0-9d862fa3a0df" providerId="ADAL" clId="{A073752B-14C6-4830-86DF-8C7B5E6D5C28}" dt="2024-04-16T20:44:15.130" v="90" actId="1076"/>
        <pc:sldMasterMkLst>
          <pc:docMk/>
          <pc:sldMasterMk cId="1070809925" sldId="2147483692"/>
        </pc:sldMasterMkLst>
        <pc:picChg chg="add mod">
          <ac:chgData name="Sean Gallagher" userId="577446c3-45ae-4097-b8f0-9d862fa3a0df" providerId="ADAL" clId="{A073752B-14C6-4830-86DF-8C7B5E6D5C28}" dt="2024-04-16T20:44:15.130" v="90" actId="1076"/>
          <ac:picMkLst>
            <pc:docMk/>
            <pc:sldMasterMk cId="1070809925" sldId="2147483692"/>
            <ac:picMk id="2" creationId="{6A841786-8702-2303-BAA8-F90E99CC7294}"/>
          </ac:picMkLst>
        </pc:picChg>
        <pc:picChg chg="del">
          <ac:chgData name="Sean Gallagher" userId="577446c3-45ae-4097-b8f0-9d862fa3a0df" providerId="ADAL" clId="{A073752B-14C6-4830-86DF-8C7B5E6D5C28}" dt="2024-04-16T20:44:12.107" v="88" actId="478"/>
          <ac:picMkLst>
            <pc:docMk/>
            <pc:sldMasterMk cId="1070809925" sldId="2147483692"/>
            <ac:picMk id="3" creationId="{96A031EF-3603-DAE8-633F-BF6DF1E95DFD}"/>
          </ac:picMkLst>
        </pc:picChg>
      </pc:sldMasterChg>
      <pc:sldMasterChg chg="modSldLayout">
        <pc:chgData name="Sean Gallagher" userId="577446c3-45ae-4097-b8f0-9d862fa3a0df" providerId="ADAL" clId="{A073752B-14C6-4830-86DF-8C7B5E6D5C28}" dt="2024-04-16T20:37:55.874" v="14" actId="1076"/>
        <pc:sldMasterMkLst>
          <pc:docMk/>
          <pc:sldMasterMk cId="3560819068" sldId="2147483818"/>
        </pc:sldMasterMkLst>
        <pc:sldLayoutChg chg="addSp modSp mod">
          <pc:chgData name="Sean Gallagher" userId="577446c3-45ae-4097-b8f0-9d862fa3a0df" providerId="ADAL" clId="{A073752B-14C6-4830-86DF-8C7B5E6D5C28}" dt="2024-04-16T20:37:55.874" v="14" actId="1076"/>
          <pc:sldLayoutMkLst>
            <pc:docMk/>
            <pc:sldMasterMk cId="3560819068" sldId="2147483818"/>
            <pc:sldLayoutMk cId="3710431470" sldId="2147483828"/>
          </pc:sldLayoutMkLst>
          <pc:spChg chg="add mod">
            <ac:chgData name="Sean Gallagher" userId="577446c3-45ae-4097-b8f0-9d862fa3a0df" providerId="ADAL" clId="{A073752B-14C6-4830-86DF-8C7B5E6D5C28}" dt="2024-04-16T20:37:09.264" v="7" actId="767"/>
            <ac:spMkLst>
              <pc:docMk/>
              <pc:sldMasterMk cId="3560819068" sldId="2147483818"/>
              <pc:sldLayoutMk cId="3710431470" sldId="2147483828"/>
              <ac:spMk id="3" creationId="{222FB8D3-CF1A-384F-D119-3B2EDE6E31DE}"/>
            </ac:spMkLst>
          </pc:spChg>
          <pc:spChg chg="add mod">
            <ac:chgData name="Sean Gallagher" userId="577446c3-45ae-4097-b8f0-9d862fa3a0df" providerId="ADAL" clId="{A073752B-14C6-4830-86DF-8C7B5E6D5C28}" dt="2024-04-16T20:37:55.874" v="14" actId="1076"/>
            <ac:spMkLst>
              <pc:docMk/>
              <pc:sldMasterMk cId="3560819068" sldId="2147483818"/>
              <pc:sldLayoutMk cId="3710431470" sldId="2147483828"/>
              <ac:spMk id="4" creationId="{F3E03340-8900-0829-5EFA-D58EA75D5A5C}"/>
            </ac:spMkLst>
          </pc:spChg>
        </pc:sldLayoutChg>
      </pc:sldMasterChg>
    </pc:docChg>
  </pc:docChgLst>
  <pc:docChgLst>
    <pc:chgData name="Sean Gallagher" userId="577446c3-45ae-4097-b8f0-9d862fa3a0df" providerId="ADAL" clId="{BCDCF358-B24E-4A6C-8DC2-D558359D877B}"/>
    <pc:docChg chg="custSel addSld delSld modSld sldOrd modMainMaster">
      <pc:chgData name="Sean Gallagher" userId="577446c3-45ae-4097-b8f0-9d862fa3a0df" providerId="ADAL" clId="{BCDCF358-B24E-4A6C-8DC2-D558359D877B}" dt="2024-01-11T16:33:04.423" v="139" actId="20577"/>
      <pc:docMkLst>
        <pc:docMk/>
      </pc:docMkLst>
      <pc:sldChg chg="addSp delSp modSp del mod">
        <pc:chgData name="Sean Gallagher" userId="577446c3-45ae-4097-b8f0-9d862fa3a0df" providerId="ADAL" clId="{BCDCF358-B24E-4A6C-8DC2-D558359D877B}" dt="2024-01-11T16:27:18.786" v="41" actId="47"/>
        <pc:sldMkLst>
          <pc:docMk/>
          <pc:sldMk cId="1770905082" sldId="269"/>
        </pc:sldMkLst>
        <pc:spChg chg="mod">
          <ac:chgData name="Sean Gallagher" userId="577446c3-45ae-4097-b8f0-9d862fa3a0df" providerId="ADAL" clId="{BCDCF358-B24E-4A6C-8DC2-D558359D877B}" dt="2024-01-11T16:26:46.019" v="40" actId="20577"/>
          <ac:spMkLst>
            <pc:docMk/>
            <pc:sldMk cId="1770905082" sldId="269"/>
            <ac:spMk id="36" creationId="{A1B4A22D-3BE1-6C4A-812D-C1E98E8E0076}"/>
          </ac:spMkLst>
        </pc:spChg>
        <pc:picChg chg="del">
          <ac:chgData name="Sean Gallagher" userId="577446c3-45ae-4097-b8f0-9d862fa3a0df" providerId="ADAL" clId="{BCDCF358-B24E-4A6C-8DC2-D558359D877B}" dt="2024-01-11T16:26:21.856" v="14" actId="478"/>
          <ac:picMkLst>
            <pc:docMk/>
            <pc:sldMk cId="1770905082" sldId="269"/>
            <ac:picMk id="4" creationId="{FADC6D4E-DA06-B0D5-5D07-C416E3C8648B}"/>
          </ac:picMkLst>
        </pc:picChg>
        <pc:picChg chg="add mod">
          <ac:chgData name="Sean Gallagher" userId="577446c3-45ae-4097-b8f0-9d862fa3a0df" providerId="ADAL" clId="{BCDCF358-B24E-4A6C-8DC2-D558359D877B}" dt="2024-01-11T16:26:29.920" v="19" actId="27614"/>
          <ac:picMkLst>
            <pc:docMk/>
            <pc:sldMk cId="1770905082" sldId="269"/>
            <ac:picMk id="6" creationId="{DC1076BB-7910-3FAB-0ECA-B9B61602D87F}"/>
          </ac:picMkLst>
        </pc:picChg>
        <pc:picChg chg="mod">
          <ac:chgData name="Sean Gallagher" userId="577446c3-45ae-4097-b8f0-9d862fa3a0df" providerId="ADAL" clId="{BCDCF358-B24E-4A6C-8DC2-D558359D877B}" dt="2024-01-11T16:26:29.920" v="20" actId="962"/>
          <ac:picMkLst>
            <pc:docMk/>
            <pc:sldMk cId="1770905082" sldId="269"/>
            <ac:picMk id="7" creationId="{7ECE685F-3E0A-4645-A5C2-F8F5499F2E26}"/>
          </ac:picMkLst>
        </pc:picChg>
      </pc:sldChg>
      <pc:sldChg chg="add ord">
        <pc:chgData name="Sean Gallagher" userId="577446c3-45ae-4097-b8f0-9d862fa3a0df" providerId="ADAL" clId="{BCDCF358-B24E-4A6C-8DC2-D558359D877B}" dt="2024-01-11T16:27:23.722" v="44"/>
        <pc:sldMkLst>
          <pc:docMk/>
          <pc:sldMk cId="1433664020" sldId="275"/>
        </pc:sldMkLst>
      </pc:sldChg>
      <pc:sldChg chg="modSp mod">
        <pc:chgData name="Sean Gallagher" userId="577446c3-45ae-4097-b8f0-9d862fa3a0df" providerId="ADAL" clId="{BCDCF358-B24E-4A6C-8DC2-D558359D877B}" dt="2024-01-11T16:33:04.423" v="139" actId="20577"/>
        <pc:sldMkLst>
          <pc:docMk/>
          <pc:sldMk cId="3111996064" sldId="2134958649"/>
        </pc:sldMkLst>
        <pc:spChg chg="mod">
          <ac:chgData name="Sean Gallagher" userId="577446c3-45ae-4097-b8f0-9d862fa3a0df" providerId="ADAL" clId="{BCDCF358-B24E-4A6C-8DC2-D558359D877B}" dt="2024-01-11T16:33:04.423" v="139" actId="20577"/>
          <ac:spMkLst>
            <pc:docMk/>
            <pc:sldMk cId="3111996064" sldId="2134958649"/>
            <ac:spMk id="3" creationId="{AE7567E0-9FB4-E2D0-F57B-56251EA6FA1C}"/>
          </ac:spMkLst>
        </pc:spChg>
      </pc:sldChg>
      <pc:sldChg chg="addSp delSp modSp mod">
        <pc:chgData name="Sean Gallagher" userId="577446c3-45ae-4097-b8f0-9d862fa3a0df" providerId="ADAL" clId="{BCDCF358-B24E-4A6C-8DC2-D558359D877B}" dt="2024-01-11T16:30:30.965" v="75" actId="1076"/>
        <pc:sldMkLst>
          <pc:docMk/>
          <pc:sldMk cId="4281471524" sldId="2134958655"/>
        </pc:sldMkLst>
        <pc:picChg chg="del">
          <ac:chgData name="Sean Gallagher" userId="577446c3-45ae-4097-b8f0-9d862fa3a0df" providerId="ADAL" clId="{BCDCF358-B24E-4A6C-8DC2-D558359D877B}" dt="2024-01-11T16:29:31.673" v="51" actId="478"/>
          <ac:picMkLst>
            <pc:docMk/>
            <pc:sldMk cId="4281471524" sldId="2134958655"/>
            <ac:picMk id="3" creationId="{68693916-6A76-8EAB-BCA1-29D906795EE4}"/>
          </ac:picMkLst>
        </pc:picChg>
        <pc:picChg chg="add mod">
          <ac:chgData name="Sean Gallagher" userId="577446c3-45ae-4097-b8f0-9d862fa3a0df" providerId="ADAL" clId="{BCDCF358-B24E-4A6C-8DC2-D558359D877B}" dt="2024-01-11T16:30:22.012" v="71" actId="1076"/>
          <ac:picMkLst>
            <pc:docMk/>
            <pc:sldMk cId="4281471524" sldId="2134958655"/>
            <ac:picMk id="5" creationId="{62188F98-DBE7-0829-C1F9-297CAE3F3583}"/>
          </ac:picMkLst>
        </pc:picChg>
        <pc:picChg chg="del">
          <ac:chgData name="Sean Gallagher" userId="577446c3-45ae-4097-b8f0-9d862fa3a0df" providerId="ADAL" clId="{BCDCF358-B24E-4A6C-8DC2-D558359D877B}" dt="2024-01-11T16:29:31.279" v="50" actId="478"/>
          <ac:picMkLst>
            <pc:docMk/>
            <pc:sldMk cId="4281471524" sldId="2134958655"/>
            <ac:picMk id="7" creationId="{5F418658-5493-A8A1-F75E-D85E2C5FFE8D}"/>
          </ac:picMkLst>
        </pc:picChg>
        <pc:picChg chg="del">
          <ac:chgData name="Sean Gallagher" userId="577446c3-45ae-4097-b8f0-9d862fa3a0df" providerId="ADAL" clId="{BCDCF358-B24E-4A6C-8DC2-D558359D877B}" dt="2024-01-11T16:29:30.034" v="48" actId="478"/>
          <ac:picMkLst>
            <pc:docMk/>
            <pc:sldMk cId="4281471524" sldId="2134958655"/>
            <ac:picMk id="8" creationId="{77AF75E9-8743-794D-5E44-1F4C34773734}"/>
          </ac:picMkLst>
        </pc:picChg>
        <pc:picChg chg="add mod">
          <ac:chgData name="Sean Gallagher" userId="577446c3-45ae-4097-b8f0-9d862fa3a0df" providerId="ADAL" clId="{BCDCF358-B24E-4A6C-8DC2-D558359D877B}" dt="2024-01-11T16:30:24.274" v="72" actId="1076"/>
          <ac:picMkLst>
            <pc:docMk/>
            <pc:sldMk cId="4281471524" sldId="2134958655"/>
            <ac:picMk id="9" creationId="{EE1C309A-1686-BBB7-A4DC-5C2886596D86}"/>
          </ac:picMkLst>
        </pc:picChg>
        <pc:picChg chg="del">
          <ac:chgData name="Sean Gallagher" userId="577446c3-45ae-4097-b8f0-9d862fa3a0df" providerId="ADAL" clId="{BCDCF358-B24E-4A6C-8DC2-D558359D877B}" dt="2024-01-11T16:29:30.694" v="49" actId="478"/>
          <ac:picMkLst>
            <pc:docMk/>
            <pc:sldMk cId="4281471524" sldId="2134958655"/>
            <ac:picMk id="10" creationId="{63D11F7A-DE07-20D9-96AF-583F552F7304}"/>
          </ac:picMkLst>
        </pc:picChg>
        <pc:picChg chg="add mod">
          <ac:chgData name="Sean Gallagher" userId="577446c3-45ae-4097-b8f0-9d862fa3a0df" providerId="ADAL" clId="{BCDCF358-B24E-4A6C-8DC2-D558359D877B}" dt="2024-01-11T16:30:30.965" v="75" actId="1076"/>
          <ac:picMkLst>
            <pc:docMk/>
            <pc:sldMk cId="4281471524" sldId="2134958655"/>
            <ac:picMk id="12" creationId="{A61DDC87-C2B3-CF17-EF76-BC4BD29D1714}"/>
          </ac:picMkLst>
        </pc:picChg>
      </pc:sldChg>
      <pc:sldChg chg="modSp mod">
        <pc:chgData name="Sean Gallagher" userId="577446c3-45ae-4097-b8f0-9d862fa3a0df" providerId="ADAL" clId="{BCDCF358-B24E-4A6C-8DC2-D558359D877B}" dt="2024-01-11T16:27:49.395" v="47" actId="113"/>
        <pc:sldMkLst>
          <pc:docMk/>
          <pc:sldMk cId="1250068653" sldId="2134958656"/>
        </pc:sldMkLst>
        <pc:spChg chg="mod">
          <ac:chgData name="Sean Gallagher" userId="577446c3-45ae-4097-b8f0-9d862fa3a0df" providerId="ADAL" clId="{BCDCF358-B24E-4A6C-8DC2-D558359D877B}" dt="2024-01-11T16:27:49.395" v="47" actId="113"/>
          <ac:spMkLst>
            <pc:docMk/>
            <pc:sldMk cId="1250068653" sldId="2134958656"/>
            <ac:spMk id="2" creationId="{00000000-0000-0000-0000-000000000000}"/>
          </ac:spMkLst>
        </pc:spChg>
      </pc:sldChg>
      <pc:sldMasterChg chg="addSp delSp modSp mod">
        <pc:chgData name="Sean Gallagher" userId="577446c3-45ae-4097-b8f0-9d862fa3a0df" providerId="ADAL" clId="{BCDCF358-B24E-4A6C-8DC2-D558359D877B}" dt="2024-01-11T16:25:32.849" v="13" actId="1076"/>
        <pc:sldMasterMkLst>
          <pc:docMk/>
          <pc:sldMasterMk cId="1070809925" sldId="2147483659"/>
        </pc:sldMasterMkLst>
        <pc:picChg chg="del">
          <ac:chgData name="Sean Gallagher" userId="577446c3-45ae-4097-b8f0-9d862fa3a0df" providerId="ADAL" clId="{BCDCF358-B24E-4A6C-8DC2-D558359D877B}" dt="2024-01-11T16:25:24.509" v="7" actId="478"/>
          <ac:picMkLst>
            <pc:docMk/>
            <pc:sldMasterMk cId="1070809925" sldId="2147483659"/>
            <ac:picMk id="4" creationId="{86B9C6DC-7D9A-1CAB-01C5-ADEBD58AD97B}"/>
          </ac:picMkLst>
        </pc:picChg>
        <pc:picChg chg="add mod">
          <ac:chgData name="Sean Gallagher" userId="577446c3-45ae-4097-b8f0-9d862fa3a0df" providerId="ADAL" clId="{BCDCF358-B24E-4A6C-8DC2-D558359D877B}" dt="2024-01-11T16:25:32.849" v="13" actId="1076"/>
          <ac:picMkLst>
            <pc:docMk/>
            <pc:sldMasterMk cId="1070809925" sldId="2147483659"/>
            <ac:picMk id="6" creationId="{E88297A9-8349-176E-B213-A078F1792AE8}"/>
          </ac:picMkLst>
        </pc:picChg>
      </pc:sldMasterChg>
      <pc:sldMasterChg chg="addSp delSp modSp mod">
        <pc:chgData name="Sean Gallagher" userId="577446c3-45ae-4097-b8f0-9d862fa3a0df" providerId="ADAL" clId="{BCDCF358-B24E-4A6C-8DC2-D558359D877B}" dt="2024-01-11T16:25:09.744" v="6" actId="1076"/>
        <pc:sldMasterMkLst>
          <pc:docMk/>
          <pc:sldMasterMk cId="1070809925" sldId="2147483692"/>
        </pc:sldMasterMkLst>
        <pc:picChg chg="del">
          <ac:chgData name="Sean Gallagher" userId="577446c3-45ae-4097-b8f0-9d862fa3a0df" providerId="ADAL" clId="{BCDCF358-B24E-4A6C-8DC2-D558359D877B}" dt="2024-01-11T16:25:02.061" v="0" actId="478"/>
          <ac:picMkLst>
            <pc:docMk/>
            <pc:sldMasterMk cId="1070809925" sldId="2147483692"/>
            <ac:picMk id="3" creationId="{C10087DA-64A1-8C98-2319-2B5DF551EDB3}"/>
          </ac:picMkLst>
        </pc:picChg>
        <pc:picChg chg="add mod">
          <ac:chgData name="Sean Gallagher" userId="577446c3-45ae-4097-b8f0-9d862fa3a0df" providerId="ADAL" clId="{BCDCF358-B24E-4A6C-8DC2-D558359D877B}" dt="2024-01-11T16:25:09.744" v="6" actId="1076"/>
          <ac:picMkLst>
            <pc:docMk/>
            <pc:sldMasterMk cId="1070809925" sldId="2147483692"/>
            <ac:picMk id="4" creationId="{0806B83A-681A-B58E-034F-AB89BFBCA8A3}"/>
          </ac:picMkLst>
        </pc:picChg>
      </pc:sldMasterChg>
    </pc:docChg>
  </pc:docChgLst>
  <pc:docChgLst>
    <pc:chgData name="Sean Gallagher" userId="577446c3-45ae-4097-b8f0-9d862fa3a0df" providerId="ADAL" clId="{C99755CA-5427-4252-9ACC-8FD159CF9ECB}"/>
    <pc:docChg chg="undo custSel addSld delSld modSld sldOrd modMainMaster">
      <pc:chgData name="Sean Gallagher" userId="577446c3-45ae-4097-b8f0-9d862fa3a0df" providerId="ADAL" clId="{C99755CA-5427-4252-9ACC-8FD159CF9ECB}" dt="2024-04-22T13:51:29.929" v="287" actId="478"/>
      <pc:docMkLst>
        <pc:docMk/>
      </pc:docMkLst>
      <pc:sldChg chg="del">
        <pc:chgData name="Sean Gallagher" userId="577446c3-45ae-4097-b8f0-9d862fa3a0df" providerId="ADAL" clId="{C99755CA-5427-4252-9ACC-8FD159CF9ECB}" dt="2024-04-22T13:22:27.446" v="75" actId="47"/>
        <pc:sldMkLst>
          <pc:docMk/>
          <pc:sldMk cId="1643160523" sldId="265"/>
        </pc:sldMkLst>
      </pc:sldChg>
      <pc:sldChg chg="del">
        <pc:chgData name="Sean Gallagher" userId="577446c3-45ae-4097-b8f0-9d862fa3a0df" providerId="ADAL" clId="{C99755CA-5427-4252-9ACC-8FD159CF9ECB}" dt="2024-04-22T13:22:48.886" v="143" actId="47"/>
        <pc:sldMkLst>
          <pc:docMk/>
          <pc:sldMk cId="1249712676" sldId="266"/>
        </pc:sldMkLst>
      </pc:sldChg>
      <pc:sldChg chg="add del ord">
        <pc:chgData name="Sean Gallagher" userId="577446c3-45ae-4097-b8f0-9d862fa3a0df" providerId="ADAL" clId="{C99755CA-5427-4252-9ACC-8FD159CF9ECB}" dt="2024-04-22T13:45:00.937" v="243" actId="47"/>
        <pc:sldMkLst>
          <pc:docMk/>
          <pc:sldMk cId="1770905082" sldId="269"/>
        </pc:sldMkLst>
      </pc:sldChg>
      <pc:sldChg chg="del">
        <pc:chgData name="Sean Gallagher" userId="577446c3-45ae-4097-b8f0-9d862fa3a0df" providerId="ADAL" clId="{C99755CA-5427-4252-9ACC-8FD159CF9ECB}" dt="2024-04-22T13:22:28.849" v="76" actId="47"/>
        <pc:sldMkLst>
          <pc:docMk/>
          <pc:sldMk cId="1037678653" sldId="270"/>
        </pc:sldMkLst>
      </pc:sldChg>
      <pc:sldChg chg="add del">
        <pc:chgData name="Sean Gallagher" userId="577446c3-45ae-4097-b8f0-9d862fa3a0df" providerId="ADAL" clId="{C99755CA-5427-4252-9ACC-8FD159CF9ECB}" dt="2024-04-22T13:44:59.292" v="242"/>
        <pc:sldMkLst>
          <pc:docMk/>
          <pc:sldMk cId="3465688576" sldId="281"/>
        </pc:sldMkLst>
      </pc:sldChg>
      <pc:sldChg chg="del">
        <pc:chgData name="Sean Gallagher" userId="577446c3-45ae-4097-b8f0-9d862fa3a0df" providerId="ADAL" clId="{C99755CA-5427-4252-9ACC-8FD159CF9ECB}" dt="2024-04-22T13:22:34.137" v="96" actId="47"/>
        <pc:sldMkLst>
          <pc:docMk/>
          <pc:sldMk cId="319080500" sldId="282"/>
        </pc:sldMkLst>
      </pc:sldChg>
      <pc:sldChg chg="del">
        <pc:chgData name="Sean Gallagher" userId="577446c3-45ae-4097-b8f0-9d862fa3a0df" providerId="ADAL" clId="{C99755CA-5427-4252-9ACC-8FD159CF9ECB}" dt="2024-04-22T13:22:27.446" v="75" actId="47"/>
        <pc:sldMkLst>
          <pc:docMk/>
          <pc:sldMk cId="2528204050" sldId="283"/>
        </pc:sldMkLst>
      </pc:sldChg>
      <pc:sldChg chg="del">
        <pc:chgData name="Sean Gallagher" userId="577446c3-45ae-4097-b8f0-9d862fa3a0df" providerId="ADAL" clId="{C99755CA-5427-4252-9ACC-8FD159CF9ECB}" dt="2024-04-22T13:22:27.446" v="75" actId="47"/>
        <pc:sldMkLst>
          <pc:docMk/>
          <pc:sldMk cId="2209606354" sldId="284"/>
        </pc:sldMkLst>
      </pc:sldChg>
      <pc:sldChg chg="del">
        <pc:chgData name="Sean Gallagher" userId="577446c3-45ae-4097-b8f0-9d862fa3a0df" providerId="ADAL" clId="{C99755CA-5427-4252-9ACC-8FD159CF9ECB}" dt="2024-04-22T13:22:29.417" v="77" actId="47"/>
        <pc:sldMkLst>
          <pc:docMk/>
          <pc:sldMk cId="2742838789" sldId="285"/>
        </pc:sldMkLst>
      </pc:sldChg>
      <pc:sldChg chg="del">
        <pc:chgData name="Sean Gallagher" userId="577446c3-45ae-4097-b8f0-9d862fa3a0df" providerId="ADAL" clId="{C99755CA-5427-4252-9ACC-8FD159CF9ECB}" dt="2024-04-22T13:22:30.423" v="79" actId="47"/>
        <pc:sldMkLst>
          <pc:docMk/>
          <pc:sldMk cId="1156553215" sldId="286"/>
        </pc:sldMkLst>
      </pc:sldChg>
      <pc:sldChg chg="del">
        <pc:chgData name="Sean Gallagher" userId="577446c3-45ae-4097-b8f0-9d862fa3a0df" providerId="ADAL" clId="{C99755CA-5427-4252-9ACC-8FD159CF9ECB}" dt="2024-04-22T13:22:32.170" v="86" actId="47"/>
        <pc:sldMkLst>
          <pc:docMk/>
          <pc:sldMk cId="3715296893" sldId="287"/>
        </pc:sldMkLst>
      </pc:sldChg>
      <pc:sldChg chg="del">
        <pc:chgData name="Sean Gallagher" userId="577446c3-45ae-4097-b8f0-9d862fa3a0df" providerId="ADAL" clId="{C99755CA-5427-4252-9ACC-8FD159CF9ECB}" dt="2024-04-22T13:22:29.967" v="78" actId="47"/>
        <pc:sldMkLst>
          <pc:docMk/>
          <pc:sldMk cId="2499671922" sldId="288"/>
        </pc:sldMkLst>
      </pc:sldChg>
      <pc:sldChg chg="del">
        <pc:chgData name="Sean Gallagher" userId="577446c3-45ae-4097-b8f0-9d862fa3a0df" providerId="ADAL" clId="{C99755CA-5427-4252-9ACC-8FD159CF9ECB}" dt="2024-04-22T13:22:31.005" v="80" actId="47"/>
        <pc:sldMkLst>
          <pc:docMk/>
          <pc:sldMk cId="3598646366" sldId="289"/>
        </pc:sldMkLst>
      </pc:sldChg>
      <pc:sldChg chg="del">
        <pc:chgData name="Sean Gallagher" userId="577446c3-45ae-4097-b8f0-9d862fa3a0df" providerId="ADAL" clId="{C99755CA-5427-4252-9ACC-8FD159CF9ECB}" dt="2024-04-22T13:22:31.584" v="83" actId="47"/>
        <pc:sldMkLst>
          <pc:docMk/>
          <pc:sldMk cId="2751670577" sldId="290"/>
        </pc:sldMkLst>
      </pc:sldChg>
      <pc:sldChg chg="del">
        <pc:chgData name="Sean Gallagher" userId="577446c3-45ae-4097-b8f0-9d862fa3a0df" providerId="ADAL" clId="{C99755CA-5427-4252-9ACC-8FD159CF9ECB}" dt="2024-04-22T13:22:31.383" v="82" actId="47"/>
        <pc:sldMkLst>
          <pc:docMk/>
          <pc:sldMk cId="1132936376" sldId="291"/>
        </pc:sldMkLst>
      </pc:sldChg>
      <pc:sldChg chg="del">
        <pc:chgData name="Sean Gallagher" userId="577446c3-45ae-4097-b8f0-9d862fa3a0df" providerId="ADAL" clId="{C99755CA-5427-4252-9ACC-8FD159CF9ECB}" dt="2024-04-22T13:22:31.775" v="84" actId="47"/>
        <pc:sldMkLst>
          <pc:docMk/>
          <pc:sldMk cId="62084393" sldId="292"/>
        </pc:sldMkLst>
      </pc:sldChg>
      <pc:sldChg chg="del">
        <pc:chgData name="Sean Gallagher" userId="577446c3-45ae-4097-b8f0-9d862fa3a0df" providerId="ADAL" clId="{C99755CA-5427-4252-9ACC-8FD159CF9ECB}" dt="2024-04-22T13:22:31.183" v="81" actId="47"/>
        <pc:sldMkLst>
          <pc:docMk/>
          <pc:sldMk cId="1505226657" sldId="293"/>
        </pc:sldMkLst>
      </pc:sldChg>
      <pc:sldChg chg="del">
        <pc:chgData name="Sean Gallagher" userId="577446c3-45ae-4097-b8f0-9d862fa3a0df" providerId="ADAL" clId="{C99755CA-5427-4252-9ACC-8FD159CF9ECB}" dt="2024-04-22T13:22:31.965" v="85" actId="47"/>
        <pc:sldMkLst>
          <pc:docMk/>
          <pc:sldMk cId="489349667" sldId="294"/>
        </pc:sldMkLst>
      </pc:sldChg>
      <pc:sldChg chg="del">
        <pc:chgData name="Sean Gallagher" userId="577446c3-45ae-4097-b8f0-9d862fa3a0df" providerId="ADAL" clId="{C99755CA-5427-4252-9ACC-8FD159CF9ECB}" dt="2024-04-22T13:22:32.563" v="88" actId="47"/>
        <pc:sldMkLst>
          <pc:docMk/>
          <pc:sldMk cId="2319410100" sldId="295"/>
        </pc:sldMkLst>
      </pc:sldChg>
      <pc:sldChg chg="del">
        <pc:chgData name="Sean Gallagher" userId="577446c3-45ae-4097-b8f0-9d862fa3a0df" providerId="ADAL" clId="{C99755CA-5427-4252-9ACC-8FD159CF9ECB}" dt="2024-04-22T13:22:32.767" v="89" actId="47"/>
        <pc:sldMkLst>
          <pc:docMk/>
          <pc:sldMk cId="4231112029" sldId="296"/>
        </pc:sldMkLst>
      </pc:sldChg>
      <pc:sldChg chg="del">
        <pc:chgData name="Sean Gallagher" userId="577446c3-45ae-4097-b8f0-9d862fa3a0df" providerId="ADAL" clId="{C99755CA-5427-4252-9ACC-8FD159CF9ECB}" dt="2024-04-22T13:22:32.988" v="90" actId="47"/>
        <pc:sldMkLst>
          <pc:docMk/>
          <pc:sldMk cId="1707753677" sldId="297"/>
        </pc:sldMkLst>
      </pc:sldChg>
      <pc:sldChg chg="del">
        <pc:chgData name="Sean Gallagher" userId="577446c3-45ae-4097-b8f0-9d862fa3a0df" providerId="ADAL" clId="{C99755CA-5427-4252-9ACC-8FD159CF9ECB}" dt="2024-04-22T13:22:33.192" v="91" actId="47"/>
        <pc:sldMkLst>
          <pc:docMk/>
          <pc:sldMk cId="1881698661" sldId="298"/>
        </pc:sldMkLst>
      </pc:sldChg>
      <pc:sldChg chg="del">
        <pc:chgData name="Sean Gallagher" userId="577446c3-45ae-4097-b8f0-9d862fa3a0df" providerId="ADAL" clId="{C99755CA-5427-4252-9ACC-8FD159CF9ECB}" dt="2024-04-22T13:22:33.387" v="92" actId="47"/>
        <pc:sldMkLst>
          <pc:docMk/>
          <pc:sldMk cId="3052623802" sldId="299"/>
        </pc:sldMkLst>
      </pc:sldChg>
      <pc:sldChg chg="del">
        <pc:chgData name="Sean Gallagher" userId="577446c3-45ae-4097-b8f0-9d862fa3a0df" providerId="ADAL" clId="{C99755CA-5427-4252-9ACC-8FD159CF9ECB}" dt="2024-04-22T13:22:32.358" v="87" actId="47"/>
        <pc:sldMkLst>
          <pc:docMk/>
          <pc:sldMk cId="1736362211" sldId="300"/>
        </pc:sldMkLst>
      </pc:sldChg>
      <pc:sldChg chg="del">
        <pc:chgData name="Sean Gallagher" userId="577446c3-45ae-4097-b8f0-9d862fa3a0df" providerId="ADAL" clId="{C99755CA-5427-4252-9ACC-8FD159CF9ECB}" dt="2024-04-22T13:22:33.569" v="93" actId="47"/>
        <pc:sldMkLst>
          <pc:docMk/>
          <pc:sldMk cId="519628653" sldId="301"/>
        </pc:sldMkLst>
      </pc:sldChg>
      <pc:sldChg chg="del">
        <pc:chgData name="Sean Gallagher" userId="577446c3-45ae-4097-b8f0-9d862fa3a0df" providerId="ADAL" clId="{C99755CA-5427-4252-9ACC-8FD159CF9ECB}" dt="2024-04-22T13:22:37.351" v="112" actId="47"/>
        <pc:sldMkLst>
          <pc:docMk/>
          <pc:sldMk cId="3562944155" sldId="302"/>
        </pc:sldMkLst>
      </pc:sldChg>
      <pc:sldChg chg="del">
        <pc:chgData name="Sean Gallagher" userId="577446c3-45ae-4097-b8f0-9d862fa3a0df" providerId="ADAL" clId="{C99755CA-5427-4252-9ACC-8FD159CF9ECB}" dt="2024-04-22T13:22:37.571" v="113" actId="47"/>
        <pc:sldMkLst>
          <pc:docMk/>
          <pc:sldMk cId="239522416" sldId="303"/>
        </pc:sldMkLst>
      </pc:sldChg>
      <pc:sldChg chg="del">
        <pc:chgData name="Sean Gallagher" userId="577446c3-45ae-4097-b8f0-9d862fa3a0df" providerId="ADAL" clId="{C99755CA-5427-4252-9ACC-8FD159CF9ECB}" dt="2024-04-22T13:22:37.760" v="114" actId="47"/>
        <pc:sldMkLst>
          <pc:docMk/>
          <pc:sldMk cId="2569280574" sldId="304"/>
        </pc:sldMkLst>
      </pc:sldChg>
      <pc:sldChg chg="del">
        <pc:chgData name="Sean Gallagher" userId="577446c3-45ae-4097-b8f0-9d862fa3a0df" providerId="ADAL" clId="{C99755CA-5427-4252-9ACC-8FD159CF9ECB}" dt="2024-04-22T13:22:37.981" v="115" actId="47"/>
        <pc:sldMkLst>
          <pc:docMk/>
          <pc:sldMk cId="1960173871" sldId="305"/>
        </pc:sldMkLst>
      </pc:sldChg>
      <pc:sldChg chg="del">
        <pc:chgData name="Sean Gallagher" userId="577446c3-45ae-4097-b8f0-9d862fa3a0df" providerId="ADAL" clId="{C99755CA-5427-4252-9ACC-8FD159CF9ECB}" dt="2024-04-22T13:22:38.375" v="117" actId="47"/>
        <pc:sldMkLst>
          <pc:docMk/>
          <pc:sldMk cId="208475004" sldId="306"/>
        </pc:sldMkLst>
      </pc:sldChg>
      <pc:sldChg chg="del">
        <pc:chgData name="Sean Gallagher" userId="577446c3-45ae-4097-b8f0-9d862fa3a0df" providerId="ADAL" clId="{C99755CA-5427-4252-9ACC-8FD159CF9ECB}" dt="2024-04-22T13:22:38.580" v="118" actId="47"/>
        <pc:sldMkLst>
          <pc:docMk/>
          <pc:sldMk cId="2107980662" sldId="307"/>
        </pc:sldMkLst>
      </pc:sldChg>
      <pc:sldChg chg="del">
        <pc:chgData name="Sean Gallagher" userId="577446c3-45ae-4097-b8f0-9d862fa3a0df" providerId="ADAL" clId="{C99755CA-5427-4252-9ACC-8FD159CF9ECB}" dt="2024-04-22T13:22:38.802" v="119" actId="47"/>
        <pc:sldMkLst>
          <pc:docMk/>
          <pc:sldMk cId="1396073612" sldId="308"/>
        </pc:sldMkLst>
      </pc:sldChg>
      <pc:sldChg chg="del">
        <pc:chgData name="Sean Gallagher" userId="577446c3-45ae-4097-b8f0-9d862fa3a0df" providerId="ADAL" clId="{C99755CA-5427-4252-9ACC-8FD159CF9ECB}" dt="2024-04-22T13:22:38.996" v="120" actId="47"/>
        <pc:sldMkLst>
          <pc:docMk/>
          <pc:sldMk cId="2941055308" sldId="309"/>
        </pc:sldMkLst>
      </pc:sldChg>
      <pc:sldChg chg="del">
        <pc:chgData name="Sean Gallagher" userId="577446c3-45ae-4097-b8f0-9d862fa3a0df" providerId="ADAL" clId="{C99755CA-5427-4252-9ACC-8FD159CF9ECB}" dt="2024-04-22T13:22:39.163" v="121" actId="47"/>
        <pc:sldMkLst>
          <pc:docMk/>
          <pc:sldMk cId="1786903329" sldId="310"/>
        </pc:sldMkLst>
      </pc:sldChg>
      <pc:sldChg chg="del">
        <pc:chgData name="Sean Gallagher" userId="577446c3-45ae-4097-b8f0-9d862fa3a0df" providerId="ADAL" clId="{C99755CA-5427-4252-9ACC-8FD159CF9ECB}" dt="2024-04-22T13:22:39.383" v="122" actId="47"/>
        <pc:sldMkLst>
          <pc:docMk/>
          <pc:sldMk cId="3072184504" sldId="311"/>
        </pc:sldMkLst>
      </pc:sldChg>
      <pc:sldChg chg="del">
        <pc:chgData name="Sean Gallagher" userId="577446c3-45ae-4097-b8f0-9d862fa3a0df" providerId="ADAL" clId="{C99755CA-5427-4252-9ACC-8FD159CF9ECB}" dt="2024-04-22T13:22:39.571" v="123" actId="47"/>
        <pc:sldMkLst>
          <pc:docMk/>
          <pc:sldMk cId="1936699814" sldId="312"/>
        </pc:sldMkLst>
      </pc:sldChg>
      <pc:sldChg chg="del">
        <pc:chgData name="Sean Gallagher" userId="577446c3-45ae-4097-b8f0-9d862fa3a0df" providerId="ADAL" clId="{C99755CA-5427-4252-9ACC-8FD159CF9ECB}" dt="2024-04-22T13:22:39.760" v="124" actId="47"/>
        <pc:sldMkLst>
          <pc:docMk/>
          <pc:sldMk cId="1503690397" sldId="313"/>
        </pc:sldMkLst>
      </pc:sldChg>
      <pc:sldChg chg="del">
        <pc:chgData name="Sean Gallagher" userId="577446c3-45ae-4097-b8f0-9d862fa3a0df" providerId="ADAL" clId="{C99755CA-5427-4252-9ACC-8FD159CF9ECB}" dt="2024-04-22T13:22:39.964" v="125" actId="47"/>
        <pc:sldMkLst>
          <pc:docMk/>
          <pc:sldMk cId="174976843" sldId="314"/>
        </pc:sldMkLst>
      </pc:sldChg>
      <pc:sldChg chg="del">
        <pc:chgData name="Sean Gallagher" userId="577446c3-45ae-4097-b8f0-9d862fa3a0df" providerId="ADAL" clId="{C99755CA-5427-4252-9ACC-8FD159CF9ECB}" dt="2024-04-22T13:22:40.199" v="126" actId="47"/>
        <pc:sldMkLst>
          <pc:docMk/>
          <pc:sldMk cId="4097195724" sldId="315"/>
        </pc:sldMkLst>
      </pc:sldChg>
      <pc:sldChg chg="del">
        <pc:chgData name="Sean Gallagher" userId="577446c3-45ae-4097-b8f0-9d862fa3a0df" providerId="ADAL" clId="{C99755CA-5427-4252-9ACC-8FD159CF9ECB}" dt="2024-04-22T13:22:40.388" v="127" actId="47"/>
        <pc:sldMkLst>
          <pc:docMk/>
          <pc:sldMk cId="2514473469" sldId="316"/>
        </pc:sldMkLst>
      </pc:sldChg>
      <pc:sldChg chg="del">
        <pc:chgData name="Sean Gallagher" userId="577446c3-45ae-4097-b8f0-9d862fa3a0df" providerId="ADAL" clId="{C99755CA-5427-4252-9ACC-8FD159CF9ECB}" dt="2024-04-22T13:22:34.357" v="97" actId="47"/>
        <pc:sldMkLst>
          <pc:docMk/>
          <pc:sldMk cId="3005206451" sldId="317"/>
        </pc:sldMkLst>
      </pc:sldChg>
      <pc:sldChg chg="del">
        <pc:chgData name="Sean Gallagher" userId="577446c3-45ae-4097-b8f0-9d862fa3a0df" providerId="ADAL" clId="{C99755CA-5427-4252-9ACC-8FD159CF9ECB}" dt="2024-04-22T13:22:40.561" v="128" actId="47"/>
        <pc:sldMkLst>
          <pc:docMk/>
          <pc:sldMk cId="2394473977" sldId="318"/>
        </pc:sldMkLst>
      </pc:sldChg>
      <pc:sldChg chg="modSp mod">
        <pc:chgData name="Sean Gallagher" userId="577446c3-45ae-4097-b8f0-9d862fa3a0df" providerId="ADAL" clId="{C99755CA-5427-4252-9ACC-8FD159CF9ECB}" dt="2024-04-22T13:22:08.213" v="74" actId="113"/>
        <pc:sldMkLst>
          <pc:docMk/>
          <pc:sldMk cId="838486706" sldId="2134958646"/>
        </pc:sldMkLst>
        <pc:spChg chg="mod">
          <ac:chgData name="Sean Gallagher" userId="577446c3-45ae-4097-b8f0-9d862fa3a0df" providerId="ADAL" clId="{C99755CA-5427-4252-9ACC-8FD159CF9ECB}" dt="2024-04-22T13:22:08.213" v="74" actId="113"/>
          <ac:spMkLst>
            <pc:docMk/>
            <pc:sldMk cId="838486706" sldId="2134958646"/>
            <ac:spMk id="4" creationId="{6848280A-52CF-14A2-72C8-A76D653B1539}"/>
          </ac:spMkLst>
        </pc:spChg>
      </pc:sldChg>
      <pc:sldChg chg="modSp mod">
        <pc:chgData name="Sean Gallagher" userId="577446c3-45ae-4097-b8f0-9d862fa3a0df" providerId="ADAL" clId="{C99755CA-5427-4252-9ACC-8FD159CF9ECB}" dt="2024-04-22T13:50:46.193" v="286" actId="1076"/>
        <pc:sldMkLst>
          <pc:docMk/>
          <pc:sldMk cId="3111996064" sldId="2134958649"/>
        </pc:sldMkLst>
        <pc:spChg chg="mod">
          <ac:chgData name="Sean Gallagher" userId="577446c3-45ae-4097-b8f0-9d862fa3a0df" providerId="ADAL" clId="{C99755CA-5427-4252-9ACC-8FD159CF9ECB}" dt="2024-04-22T13:50:46.193" v="286" actId="1076"/>
          <ac:spMkLst>
            <pc:docMk/>
            <pc:sldMk cId="3111996064" sldId="2134958649"/>
            <ac:spMk id="3" creationId="{AE7567E0-9FB4-E2D0-F57B-56251EA6FA1C}"/>
          </ac:spMkLst>
        </pc:spChg>
      </pc:sldChg>
      <pc:sldChg chg="addSp delSp modSp">
        <pc:chgData name="Sean Gallagher" userId="577446c3-45ae-4097-b8f0-9d862fa3a0df" providerId="ADAL" clId="{C99755CA-5427-4252-9ACC-8FD159CF9ECB}" dt="2024-04-22T13:49:34.105" v="279" actId="1076"/>
        <pc:sldMkLst>
          <pc:docMk/>
          <pc:sldMk cId="548871033" sldId="2134958650"/>
        </pc:sldMkLst>
        <pc:spChg chg="add">
          <ac:chgData name="Sean Gallagher" userId="577446c3-45ae-4097-b8f0-9d862fa3a0df" providerId="ADAL" clId="{C99755CA-5427-4252-9ACC-8FD159CF9ECB}" dt="2024-04-22T13:48:35.436" v="267"/>
          <ac:spMkLst>
            <pc:docMk/>
            <pc:sldMk cId="548871033" sldId="2134958650"/>
            <ac:spMk id="2" creationId="{ACD354C2-A205-BB5D-23C0-F30D5EF3928B}"/>
          </ac:spMkLst>
        </pc:spChg>
        <pc:spChg chg="add del mod">
          <ac:chgData name="Sean Gallagher" userId="577446c3-45ae-4097-b8f0-9d862fa3a0df" providerId="ADAL" clId="{C99755CA-5427-4252-9ACC-8FD159CF9ECB}" dt="2024-04-22T13:48:51.534" v="272" actId="478"/>
          <ac:spMkLst>
            <pc:docMk/>
            <pc:sldMk cId="548871033" sldId="2134958650"/>
            <ac:spMk id="3" creationId="{146A640D-507B-FEF7-051A-ED60FAF390D8}"/>
          </ac:spMkLst>
        </pc:spChg>
        <pc:picChg chg="add del mod">
          <ac:chgData name="Sean Gallagher" userId="577446c3-45ae-4097-b8f0-9d862fa3a0df" providerId="ADAL" clId="{C99755CA-5427-4252-9ACC-8FD159CF9ECB}" dt="2024-04-22T13:48:51.534" v="272" actId="478"/>
          <ac:picMkLst>
            <pc:docMk/>
            <pc:sldMk cId="548871033" sldId="2134958650"/>
            <ac:picMk id="5" creationId="{B7E43BC3-672D-24DC-CC75-0B51AD1CD7C1}"/>
          </ac:picMkLst>
        </pc:picChg>
        <pc:picChg chg="add mod">
          <ac:chgData name="Sean Gallagher" userId="577446c3-45ae-4097-b8f0-9d862fa3a0df" providerId="ADAL" clId="{C99755CA-5427-4252-9ACC-8FD159CF9ECB}" dt="2024-04-22T13:49:34.105" v="279" actId="1076"/>
          <ac:picMkLst>
            <pc:docMk/>
            <pc:sldMk cId="548871033" sldId="2134958650"/>
            <ac:picMk id="1030" creationId="{CE0B58BC-3964-105A-55FD-532A376738E0}"/>
          </ac:picMkLst>
        </pc:picChg>
        <pc:picChg chg="add del mod">
          <ac:chgData name="Sean Gallagher" userId="577446c3-45ae-4097-b8f0-9d862fa3a0df" providerId="ADAL" clId="{C99755CA-5427-4252-9ACC-8FD159CF9ECB}" dt="2024-04-22T13:48:32.990" v="266" actId="478"/>
          <ac:picMkLst>
            <pc:docMk/>
            <pc:sldMk cId="548871033" sldId="2134958650"/>
            <ac:picMk id="2050" creationId="{B4B5852B-8DBC-3162-7616-2953108DE713}"/>
          </ac:picMkLst>
        </pc:picChg>
      </pc:sldChg>
      <pc:sldChg chg="addSp delSp modSp mod">
        <pc:chgData name="Sean Gallagher" userId="577446c3-45ae-4097-b8f0-9d862fa3a0df" providerId="ADAL" clId="{C99755CA-5427-4252-9ACC-8FD159CF9ECB}" dt="2024-04-22T13:47:50.864" v="265" actId="1076"/>
        <pc:sldMkLst>
          <pc:docMk/>
          <pc:sldMk cId="4281471524" sldId="2134958655"/>
        </pc:sldMkLst>
        <pc:spChg chg="add del">
          <ac:chgData name="Sean Gallagher" userId="577446c3-45ae-4097-b8f0-9d862fa3a0df" providerId="ADAL" clId="{C99755CA-5427-4252-9ACC-8FD159CF9ECB}" dt="2024-04-22T13:20:33.440" v="26" actId="478"/>
          <ac:spMkLst>
            <pc:docMk/>
            <pc:sldMk cId="4281471524" sldId="2134958655"/>
            <ac:spMk id="2" creationId="{63061F10-2450-2A67-7FFA-C57B3153CCD0}"/>
          </ac:spMkLst>
        </pc:spChg>
        <pc:picChg chg="del mod">
          <ac:chgData name="Sean Gallagher" userId="577446c3-45ae-4097-b8f0-9d862fa3a0df" providerId="ADAL" clId="{C99755CA-5427-4252-9ACC-8FD159CF9ECB}" dt="2024-04-22T13:47:18.685" v="250" actId="478"/>
          <ac:picMkLst>
            <pc:docMk/>
            <pc:sldMk cId="4281471524" sldId="2134958655"/>
            <ac:picMk id="3" creationId="{1BA441CF-99FA-7699-7CE0-AA67F3F87641}"/>
          </ac:picMkLst>
        </pc:picChg>
        <pc:picChg chg="add mod">
          <ac:chgData name="Sean Gallagher" userId="577446c3-45ae-4097-b8f0-9d862fa3a0df" providerId="ADAL" clId="{C99755CA-5427-4252-9ACC-8FD159CF9ECB}" dt="2024-04-22T13:47:31.058" v="256" actId="1076"/>
          <ac:picMkLst>
            <pc:docMk/>
            <pc:sldMk cId="4281471524" sldId="2134958655"/>
            <ac:picMk id="5" creationId="{FB595AA7-1B5E-C3BE-C95B-82B408E89F5D}"/>
          </ac:picMkLst>
        </pc:picChg>
        <pc:picChg chg="add del mod">
          <ac:chgData name="Sean Gallagher" userId="577446c3-45ae-4097-b8f0-9d862fa3a0df" providerId="ADAL" clId="{C99755CA-5427-4252-9ACC-8FD159CF9ECB}" dt="2024-04-22T13:47:17.853" v="249" actId="478"/>
          <ac:picMkLst>
            <pc:docMk/>
            <pc:sldMk cId="4281471524" sldId="2134958655"/>
            <ac:picMk id="6" creationId="{0F4470DD-D14F-B389-2A15-32592D79C3ED}"/>
          </ac:picMkLst>
        </pc:picChg>
        <pc:picChg chg="del">
          <ac:chgData name="Sean Gallagher" userId="577446c3-45ae-4097-b8f0-9d862fa3a0df" providerId="ADAL" clId="{C99755CA-5427-4252-9ACC-8FD159CF9ECB}" dt="2024-04-22T13:20:16.817" v="21" actId="478"/>
          <ac:picMkLst>
            <pc:docMk/>
            <pc:sldMk cId="4281471524" sldId="2134958655"/>
            <ac:picMk id="8" creationId="{2A7B5F43-046B-98A2-C57F-97B570E2A648}"/>
          </ac:picMkLst>
        </pc:picChg>
        <pc:picChg chg="add mod">
          <ac:chgData name="Sean Gallagher" userId="577446c3-45ae-4097-b8f0-9d862fa3a0df" providerId="ADAL" clId="{C99755CA-5427-4252-9ACC-8FD159CF9ECB}" dt="2024-04-22T13:47:50.864" v="265" actId="1076"/>
          <ac:picMkLst>
            <pc:docMk/>
            <pc:sldMk cId="4281471524" sldId="2134958655"/>
            <ac:picMk id="8" creationId="{7D2B56A4-0F02-B458-ED4E-A0CB9D9CBF13}"/>
          </ac:picMkLst>
        </pc:picChg>
        <pc:picChg chg="add del mod">
          <ac:chgData name="Sean Gallagher" userId="577446c3-45ae-4097-b8f0-9d862fa3a0df" providerId="ADAL" clId="{C99755CA-5427-4252-9ACC-8FD159CF9ECB}" dt="2024-04-22T13:47:19.384" v="251" actId="478"/>
          <ac:picMkLst>
            <pc:docMk/>
            <pc:sldMk cId="4281471524" sldId="2134958655"/>
            <ac:picMk id="9" creationId="{B930217A-CC54-80F3-B9CD-A3C6EAB2F54E}"/>
          </ac:picMkLst>
        </pc:picChg>
      </pc:sldChg>
      <pc:sldChg chg="modSp mod">
        <pc:chgData name="Sean Gallagher" userId="577446c3-45ae-4097-b8f0-9d862fa3a0df" providerId="ADAL" clId="{C99755CA-5427-4252-9ACC-8FD159CF9ECB}" dt="2024-04-22T13:45:32.541" v="248" actId="113"/>
        <pc:sldMkLst>
          <pc:docMk/>
          <pc:sldMk cId="1250068653" sldId="2134958656"/>
        </pc:sldMkLst>
        <pc:spChg chg="mod">
          <ac:chgData name="Sean Gallagher" userId="577446c3-45ae-4097-b8f0-9d862fa3a0df" providerId="ADAL" clId="{C99755CA-5427-4252-9ACC-8FD159CF9ECB}" dt="2024-04-22T13:45:32.541" v="248" actId="113"/>
          <ac:spMkLst>
            <pc:docMk/>
            <pc:sldMk cId="1250068653" sldId="2134958656"/>
            <ac:spMk id="2" creationId="{00000000-0000-0000-0000-000000000000}"/>
          </ac:spMkLst>
        </pc:spChg>
      </pc:sldChg>
      <pc:sldChg chg="del">
        <pc:chgData name="Sean Gallagher" userId="577446c3-45ae-4097-b8f0-9d862fa3a0df" providerId="ADAL" clId="{C99755CA-5427-4252-9ACC-8FD159CF9ECB}" dt="2024-04-22T13:18:56.469" v="17" actId="47"/>
        <pc:sldMkLst>
          <pc:docMk/>
          <pc:sldMk cId="2985246975" sldId="2134958657"/>
        </pc:sldMkLst>
      </pc:sldChg>
      <pc:sldChg chg="del">
        <pc:chgData name="Sean Gallagher" userId="577446c3-45ae-4097-b8f0-9d862fa3a0df" providerId="ADAL" clId="{C99755CA-5427-4252-9ACC-8FD159CF9ECB}" dt="2024-04-22T13:22:33.774" v="94" actId="47"/>
        <pc:sldMkLst>
          <pc:docMk/>
          <pc:sldMk cId="3936613020" sldId="2134958658"/>
        </pc:sldMkLst>
      </pc:sldChg>
      <pc:sldChg chg="del">
        <pc:chgData name="Sean Gallagher" userId="577446c3-45ae-4097-b8f0-9d862fa3a0df" providerId="ADAL" clId="{C99755CA-5427-4252-9ACC-8FD159CF9ECB}" dt="2024-04-22T13:22:33.978" v="95" actId="47"/>
        <pc:sldMkLst>
          <pc:docMk/>
          <pc:sldMk cId="1647460850" sldId="2134958659"/>
        </pc:sldMkLst>
      </pc:sldChg>
      <pc:sldChg chg="del">
        <pc:chgData name="Sean Gallagher" userId="577446c3-45ae-4097-b8f0-9d862fa3a0df" providerId="ADAL" clId="{C99755CA-5427-4252-9ACC-8FD159CF9ECB}" dt="2024-04-22T13:22:34.515" v="98" actId="47"/>
        <pc:sldMkLst>
          <pc:docMk/>
          <pc:sldMk cId="2233815714" sldId="2134958660"/>
        </pc:sldMkLst>
      </pc:sldChg>
      <pc:sldChg chg="del">
        <pc:chgData name="Sean Gallagher" userId="577446c3-45ae-4097-b8f0-9d862fa3a0df" providerId="ADAL" clId="{C99755CA-5427-4252-9ACC-8FD159CF9ECB}" dt="2024-04-22T13:22:34.673" v="99" actId="47"/>
        <pc:sldMkLst>
          <pc:docMk/>
          <pc:sldMk cId="18930601" sldId="2134958661"/>
        </pc:sldMkLst>
      </pc:sldChg>
      <pc:sldChg chg="del">
        <pc:chgData name="Sean Gallagher" userId="577446c3-45ae-4097-b8f0-9d862fa3a0df" providerId="ADAL" clId="{C99755CA-5427-4252-9ACC-8FD159CF9ECB}" dt="2024-04-22T13:22:34.862" v="100" actId="47"/>
        <pc:sldMkLst>
          <pc:docMk/>
          <pc:sldMk cId="2527759629" sldId="2134958662"/>
        </pc:sldMkLst>
      </pc:sldChg>
      <pc:sldChg chg="del">
        <pc:chgData name="Sean Gallagher" userId="577446c3-45ae-4097-b8f0-9d862fa3a0df" providerId="ADAL" clId="{C99755CA-5427-4252-9ACC-8FD159CF9ECB}" dt="2024-04-22T13:22:35.036" v="101" actId="47"/>
        <pc:sldMkLst>
          <pc:docMk/>
          <pc:sldMk cId="1926179678" sldId="2134958663"/>
        </pc:sldMkLst>
      </pc:sldChg>
      <pc:sldChg chg="del">
        <pc:chgData name="Sean Gallagher" userId="577446c3-45ae-4097-b8f0-9d862fa3a0df" providerId="ADAL" clId="{C99755CA-5427-4252-9ACC-8FD159CF9ECB}" dt="2024-04-22T13:22:35.209" v="102" actId="47"/>
        <pc:sldMkLst>
          <pc:docMk/>
          <pc:sldMk cId="282327709" sldId="2134958664"/>
        </pc:sldMkLst>
      </pc:sldChg>
      <pc:sldChg chg="del">
        <pc:chgData name="Sean Gallagher" userId="577446c3-45ae-4097-b8f0-9d862fa3a0df" providerId="ADAL" clId="{C99755CA-5427-4252-9ACC-8FD159CF9ECB}" dt="2024-04-22T13:22:35.398" v="103" actId="47"/>
        <pc:sldMkLst>
          <pc:docMk/>
          <pc:sldMk cId="3642327374" sldId="2134958665"/>
        </pc:sldMkLst>
      </pc:sldChg>
      <pc:sldChg chg="del">
        <pc:chgData name="Sean Gallagher" userId="577446c3-45ae-4097-b8f0-9d862fa3a0df" providerId="ADAL" clId="{C99755CA-5427-4252-9ACC-8FD159CF9ECB}" dt="2024-04-22T13:22:35.590" v="104" actId="47"/>
        <pc:sldMkLst>
          <pc:docMk/>
          <pc:sldMk cId="4056466917" sldId="2134958666"/>
        </pc:sldMkLst>
      </pc:sldChg>
      <pc:sldChg chg="del">
        <pc:chgData name="Sean Gallagher" userId="577446c3-45ae-4097-b8f0-9d862fa3a0df" providerId="ADAL" clId="{C99755CA-5427-4252-9ACC-8FD159CF9ECB}" dt="2024-04-22T13:22:35.758" v="105" actId="47"/>
        <pc:sldMkLst>
          <pc:docMk/>
          <pc:sldMk cId="194302494" sldId="2134958667"/>
        </pc:sldMkLst>
      </pc:sldChg>
      <pc:sldChg chg="del">
        <pc:chgData name="Sean Gallagher" userId="577446c3-45ae-4097-b8f0-9d862fa3a0df" providerId="ADAL" clId="{C99755CA-5427-4252-9ACC-8FD159CF9ECB}" dt="2024-04-22T13:22:35.947" v="106" actId="47"/>
        <pc:sldMkLst>
          <pc:docMk/>
          <pc:sldMk cId="194381568" sldId="2134958668"/>
        </pc:sldMkLst>
      </pc:sldChg>
      <pc:sldChg chg="del">
        <pc:chgData name="Sean Gallagher" userId="577446c3-45ae-4097-b8f0-9d862fa3a0df" providerId="ADAL" clId="{C99755CA-5427-4252-9ACC-8FD159CF9ECB}" dt="2024-04-22T13:22:36.136" v="107" actId="47"/>
        <pc:sldMkLst>
          <pc:docMk/>
          <pc:sldMk cId="2835828696" sldId="2134958669"/>
        </pc:sldMkLst>
      </pc:sldChg>
      <pc:sldChg chg="del">
        <pc:chgData name="Sean Gallagher" userId="577446c3-45ae-4097-b8f0-9d862fa3a0df" providerId="ADAL" clId="{C99755CA-5427-4252-9ACC-8FD159CF9ECB}" dt="2024-04-22T13:22:36.654" v="108" actId="47"/>
        <pc:sldMkLst>
          <pc:docMk/>
          <pc:sldMk cId="473020751" sldId="2134958670"/>
        </pc:sldMkLst>
      </pc:sldChg>
      <pc:sldChg chg="del">
        <pc:chgData name="Sean Gallagher" userId="577446c3-45ae-4097-b8f0-9d862fa3a0df" providerId="ADAL" clId="{C99755CA-5427-4252-9ACC-8FD159CF9ECB}" dt="2024-04-22T13:22:36.670" v="109" actId="47"/>
        <pc:sldMkLst>
          <pc:docMk/>
          <pc:sldMk cId="1971571131" sldId="2134958671"/>
        </pc:sldMkLst>
      </pc:sldChg>
      <pc:sldChg chg="del">
        <pc:chgData name="Sean Gallagher" userId="577446c3-45ae-4097-b8f0-9d862fa3a0df" providerId="ADAL" clId="{C99755CA-5427-4252-9ACC-8FD159CF9ECB}" dt="2024-04-22T13:22:36.764" v="110" actId="47"/>
        <pc:sldMkLst>
          <pc:docMk/>
          <pc:sldMk cId="2663170655" sldId="2134958672"/>
        </pc:sldMkLst>
      </pc:sldChg>
      <pc:sldChg chg="del">
        <pc:chgData name="Sean Gallagher" userId="577446c3-45ae-4097-b8f0-9d862fa3a0df" providerId="ADAL" clId="{C99755CA-5427-4252-9ACC-8FD159CF9ECB}" dt="2024-04-22T13:22:37.193" v="111" actId="47"/>
        <pc:sldMkLst>
          <pc:docMk/>
          <pc:sldMk cId="3799063078" sldId="2134958673"/>
        </pc:sldMkLst>
      </pc:sldChg>
      <pc:sldChg chg="del">
        <pc:chgData name="Sean Gallagher" userId="577446c3-45ae-4097-b8f0-9d862fa3a0df" providerId="ADAL" clId="{C99755CA-5427-4252-9ACC-8FD159CF9ECB}" dt="2024-04-22T13:22:38.218" v="116" actId="47"/>
        <pc:sldMkLst>
          <pc:docMk/>
          <pc:sldMk cId="3741187828" sldId="2134958674"/>
        </pc:sldMkLst>
      </pc:sldChg>
      <pc:sldChg chg="del">
        <pc:chgData name="Sean Gallagher" userId="577446c3-45ae-4097-b8f0-9d862fa3a0df" providerId="ADAL" clId="{C99755CA-5427-4252-9ACC-8FD159CF9ECB}" dt="2024-04-22T13:22:40.765" v="129" actId="47"/>
        <pc:sldMkLst>
          <pc:docMk/>
          <pc:sldMk cId="3351734909" sldId="2134958675"/>
        </pc:sldMkLst>
      </pc:sldChg>
      <pc:sldChg chg="del">
        <pc:chgData name="Sean Gallagher" userId="577446c3-45ae-4097-b8f0-9d862fa3a0df" providerId="ADAL" clId="{C99755CA-5427-4252-9ACC-8FD159CF9ECB}" dt="2024-04-22T13:22:40.985" v="130" actId="47"/>
        <pc:sldMkLst>
          <pc:docMk/>
          <pc:sldMk cId="1914570399" sldId="2134958676"/>
        </pc:sldMkLst>
      </pc:sldChg>
      <pc:sldChg chg="del">
        <pc:chgData name="Sean Gallagher" userId="577446c3-45ae-4097-b8f0-9d862fa3a0df" providerId="ADAL" clId="{C99755CA-5427-4252-9ACC-8FD159CF9ECB}" dt="2024-04-22T13:22:41.159" v="131" actId="47"/>
        <pc:sldMkLst>
          <pc:docMk/>
          <pc:sldMk cId="877437887" sldId="2134958677"/>
        </pc:sldMkLst>
      </pc:sldChg>
      <pc:sldChg chg="del">
        <pc:chgData name="Sean Gallagher" userId="577446c3-45ae-4097-b8f0-9d862fa3a0df" providerId="ADAL" clId="{C99755CA-5427-4252-9ACC-8FD159CF9ECB}" dt="2024-04-22T13:22:41.347" v="132" actId="47"/>
        <pc:sldMkLst>
          <pc:docMk/>
          <pc:sldMk cId="3682590907" sldId="2134958678"/>
        </pc:sldMkLst>
      </pc:sldChg>
      <pc:sldChg chg="del">
        <pc:chgData name="Sean Gallagher" userId="577446c3-45ae-4097-b8f0-9d862fa3a0df" providerId="ADAL" clId="{C99755CA-5427-4252-9ACC-8FD159CF9ECB}" dt="2024-04-22T13:22:41.536" v="133" actId="47"/>
        <pc:sldMkLst>
          <pc:docMk/>
          <pc:sldMk cId="3998847503" sldId="2134958679"/>
        </pc:sldMkLst>
      </pc:sldChg>
      <pc:sldChg chg="del">
        <pc:chgData name="Sean Gallagher" userId="577446c3-45ae-4097-b8f0-9d862fa3a0df" providerId="ADAL" clId="{C99755CA-5427-4252-9ACC-8FD159CF9ECB}" dt="2024-04-22T13:22:41.725" v="134" actId="47"/>
        <pc:sldMkLst>
          <pc:docMk/>
          <pc:sldMk cId="4209110072" sldId="2134958680"/>
        </pc:sldMkLst>
      </pc:sldChg>
      <pc:sldChg chg="del">
        <pc:chgData name="Sean Gallagher" userId="577446c3-45ae-4097-b8f0-9d862fa3a0df" providerId="ADAL" clId="{C99755CA-5427-4252-9ACC-8FD159CF9ECB}" dt="2024-04-22T13:22:41.929" v="135" actId="47"/>
        <pc:sldMkLst>
          <pc:docMk/>
          <pc:sldMk cId="3900555286" sldId="2134958681"/>
        </pc:sldMkLst>
      </pc:sldChg>
      <pc:sldChg chg="del">
        <pc:chgData name="Sean Gallagher" userId="577446c3-45ae-4097-b8f0-9d862fa3a0df" providerId="ADAL" clId="{C99755CA-5427-4252-9ACC-8FD159CF9ECB}" dt="2024-04-22T13:22:42.102" v="136" actId="47"/>
        <pc:sldMkLst>
          <pc:docMk/>
          <pc:sldMk cId="3007726763" sldId="2134958682"/>
        </pc:sldMkLst>
      </pc:sldChg>
      <pc:sldChg chg="del">
        <pc:chgData name="Sean Gallagher" userId="577446c3-45ae-4097-b8f0-9d862fa3a0df" providerId="ADAL" clId="{C99755CA-5427-4252-9ACC-8FD159CF9ECB}" dt="2024-04-22T13:22:42.290" v="137" actId="47"/>
        <pc:sldMkLst>
          <pc:docMk/>
          <pc:sldMk cId="2143871071" sldId="2134958683"/>
        </pc:sldMkLst>
      </pc:sldChg>
      <pc:sldChg chg="del">
        <pc:chgData name="Sean Gallagher" userId="577446c3-45ae-4097-b8f0-9d862fa3a0df" providerId="ADAL" clId="{C99755CA-5427-4252-9ACC-8FD159CF9ECB}" dt="2024-04-22T13:22:42.479" v="138" actId="47"/>
        <pc:sldMkLst>
          <pc:docMk/>
          <pc:sldMk cId="3480542192" sldId="2134958684"/>
        </pc:sldMkLst>
      </pc:sldChg>
      <pc:sldChg chg="del">
        <pc:chgData name="Sean Gallagher" userId="577446c3-45ae-4097-b8f0-9d862fa3a0df" providerId="ADAL" clId="{C99755CA-5427-4252-9ACC-8FD159CF9ECB}" dt="2024-04-22T13:22:42.636" v="139" actId="47"/>
        <pc:sldMkLst>
          <pc:docMk/>
          <pc:sldMk cId="506169339" sldId="2134958685"/>
        </pc:sldMkLst>
      </pc:sldChg>
      <pc:sldChg chg="del">
        <pc:chgData name="Sean Gallagher" userId="577446c3-45ae-4097-b8f0-9d862fa3a0df" providerId="ADAL" clId="{C99755CA-5427-4252-9ACC-8FD159CF9ECB}" dt="2024-04-22T13:22:42.809" v="140" actId="47"/>
        <pc:sldMkLst>
          <pc:docMk/>
          <pc:sldMk cId="3091382889" sldId="2134958686"/>
        </pc:sldMkLst>
      </pc:sldChg>
      <pc:sldChg chg="del">
        <pc:chgData name="Sean Gallagher" userId="577446c3-45ae-4097-b8f0-9d862fa3a0df" providerId="ADAL" clId="{C99755CA-5427-4252-9ACC-8FD159CF9ECB}" dt="2024-04-22T13:22:42.966" v="141" actId="47"/>
        <pc:sldMkLst>
          <pc:docMk/>
          <pc:sldMk cId="451611063" sldId="2134958687"/>
        </pc:sldMkLst>
      </pc:sldChg>
      <pc:sldChg chg="del">
        <pc:chgData name="Sean Gallagher" userId="577446c3-45ae-4097-b8f0-9d862fa3a0df" providerId="ADAL" clId="{C99755CA-5427-4252-9ACC-8FD159CF9ECB}" dt="2024-04-22T13:22:48.681" v="142" actId="47"/>
        <pc:sldMkLst>
          <pc:docMk/>
          <pc:sldMk cId="2116788699" sldId="2134958688"/>
        </pc:sldMkLst>
      </pc:sldChg>
      <pc:sldChg chg="del">
        <pc:chgData name="Sean Gallagher" userId="577446c3-45ae-4097-b8f0-9d862fa3a0df" providerId="ADAL" clId="{C99755CA-5427-4252-9ACC-8FD159CF9ECB}" dt="2024-04-22T13:22:49.107" v="144" actId="47"/>
        <pc:sldMkLst>
          <pc:docMk/>
          <pc:sldMk cId="1310200696" sldId="2134958689"/>
        </pc:sldMkLst>
      </pc:sldChg>
      <pc:sldChg chg="del">
        <pc:chgData name="Sean Gallagher" userId="577446c3-45ae-4097-b8f0-9d862fa3a0df" providerId="ADAL" clId="{C99755CA-5427-4252-9ACC-8FD159CF9ECB}" dt="2024-04-22T13:22:49.344" v="145" actId="47"/>
        <pc:sldMkLst>
          <pc:docMk/>
          <pc:sldMk cId="1535543338" sldId="2134958690"/>
        </pc:sldMkLst>
      </pc:sldChg>
      <pc:sldChg chg="del">
        <pc:chgData name="Sean Gallagher" userId="577446c3-45ae-4097-b8f0-9d862fa3a0df" providerId="ADAL" clId="{C99755CA-5427-4252-9ACC-8FD159CF9ECB}" dt="2024-04-22T13:22:49.501" v="146" actId="47"/>
        <pc:sldMkLst>
          <pc:docMk/>
          <pc:sldMk cId="3385054240" sldId="2134958691"/>
        </pc:sldMkLst>
      </pc:sldChg>
      <pc:sldChg chg="del">
        <pc:chgData name="Sean Gallagher" userId="577446c3-45ae-4097-b8f0-9d862fa3a0df" providerId="ADAL" clId="{C99755CA-5427-4252-9ACC-8FD159CF9ECB}" dt="2024-04-22T13:22:49.721" v="147" actId="47"/>
        <pc:sldMkLst>
          <pc:docMk/>
          <pc:sldMk cId="4048394037" sldId="2134958692"/>
        </pc:sldMkLst>
      </pc:sldChg>
      <pc:sldChg chg="del">
        <pc:chgData name="Sean Gallagher" userId="577446c3-45ae-4097-b8f0-9d862fa3a0df" providerId="ADAL" clId="{C99755CA-5427-4252-9ACC-8FD159CF9ECB}" dt="2024-04-22T13:22:49.926" v="148" actId="47"/>
        <pc:sldMkLst>
          <pc:docMk/>
          <pc:sldMk cId="1612886724" sldId="2134958693"/>
        </pc:sldMkLst>
      </pc:sldChg>
      <pc:sldChg chg="del">
        <pc:chgData name="Sean Gallagher" userId="577446c3-45ae-4097-b8f0-9d862fa3a0df" providerId="ADAL" clId="{C99755CA-5427-4252-9ACC-8FD159CF9ECB}" dt="2024-04-22T13:22:50.129" v="149" actId="47"/>
        <pc:sldMkLst>
          <pc:docMk/>
          <pc:sldMk cId="2900894542" sldId="2134958694"/>
        </pc:sldMkLst>
      </pc:sldChg>
      <pc:sldChg chg="del">
        <pc:chgData name="Sean Gallagher" userId="577446c3-45ae-4097-b8f0-9d862fa3a0df" providerId="ADAL" clId="{C99755CA-5427-4252-9ACC-8FD159CF9ECB}" dt="2024-04-22T13:22:50.322" v="150" actId="47"/>
        <pc:sldMkLst>
          <pc:docMk/>
          <pc:sldMk cId="1661855399" sldId="2134958695"/>
        </pc:sldMkLst>
      </pc:sldChg>
      <pc:sldChg chg="del">
        <pc:chgData name="Sean Gallagher" userId="577446c3-45ae-4097-b8f0-9d862fa3a0df" providerId="ADAL" clId="{C99755CA-5427-4252-9ACC-8FD159CF9ECB}" dt="2024-04-22T13:22:50.522" v="151" actId="47"/>
        <pc:sldMkLst>
          <pc:docMk/>
          <pc:sldMk cId="3842512903" sldId="2134958696"/>
        </pc:sldMkLst>
      </pc:sldChg>
      <pc:sldChg chg="del">
        <pc:chgData name="Sean Gallagher" userId="577446c3-45ae-4097-b8f0-9d862fa3a0df" providerId="ADAL" clId="{C99755CA-5427-4252-9ACC-8FD159CF9ECB}" dt="2024-04-22T13:22:50.726" v="152" actId="47"/>
        <pc:sldMkLst>
          <pc:docMk/>
          <pc:sldMk cId="4085301705" sldId="2134958697"/>
        </pc:sldMkLst>
      </pc:sldChg>
      <pc:sldChg chg="del">
        <pc:chgData name="Sean Gallagher" userId="577446c3-45ae-4097-b8f0-9d862fa3a0df" providerId="ADAL" clId="{C99755CA-5427-4252-9ACC-8FD159CF9ECB}" dt="2024-04-22T13:22:50.923" v="153" actId="47"/>
        <pc:sldMkLst>
          <pc:docMk/>
          <pc:sldMk cId="4163696687" sldId="2134958698"/>
        </pc:sldMkLst>
      </pc:sldChg>
      <pc:sldChg chg="del">
        <pc:chgData name="Sean Gallagher" userId="577446c3-45ae-4097-b8f0-9d862fa3a0df" providerId="ADAL" clId="{C99755CA-5427-4252-9ACC-8FD159CF9ECB}" dt="2024-04-22T13:22:51.135" v="154" actId="47"/>
        <pc:sldMkLst>
          <pc:docMk/>
          <pc:sldMk cId="1383832966" sldId="2134958699"/>
        </pc:sldMkLst>
      </pc:sldChg>
      <pc:sldChg chg="del">
        <pc:chgData name="Sean Gallagher" userId="577446c3-45ae-4097-b8f0-9d862fa3a0df" providerId="ADAL" clId="{C99755CA-5427-4252-9ACC-8FD159CF9ECB}" dt="2024-04-22T13:22:51.339" v="155" actId="47"/>
        <pc:sldMkLst>
          <pc:docMk/>
          <pc:sldMk cId="1807485323" sldId="2134958700"/>
        </pc:sldMkLst>
      </pc:sldChg>
      <pc:sldChg chg="del">
        <pc:chgData name="Sean Gallagher" userId="577446c3-45ae-4097-b8f0-9d862fa3a0df" providerId="ADAL" clId="{C99755CA-5427-4252-9ACC-8FD159CF9ECB}" dt="2024-04-22T13:22:51.544" v="156" actId="47"/>
        <pc:sldMkLst>
          <pc:docMk/>
          <pc:sldMk cId="3086579243" sldId="2134958701"/>
        </pc:sldMkLst>
      </pc:sldChg>
      <pc:sldChg chg="del">
        <pc:chgData name="Sean Gallagher" userId="577446c3-45ae-4097-b8f0-9d862fa3a0df" providerId="ADAL" clId="{C99755CA-5427-4252-9ACC-8FD159CF9ECB}" dt="2024-04-22T13:22:51.764" v="157" actId="47"/>
        <pc:sldMkLst>
          <pc:docMk/>
          <pc:sldMk cId="2285821829" sldId="2134958702"/>
        </pc:sldMkLst>
      </pc:sldChg>
      <pc:sldChg chg="del">
        <pc:chgData name="Sean Gallagher" userId="577446c3-45ae-4097-b8f0-9d862fa3a0df" providerId="ADAL" clId="{C99755CA-5427-4252-9ACC-8FD159CF9ECB}" dt="2024-04-22T13:22:51.952" v="158" actId="47"/>
        <pc:sldMkLst>
          <pc:docMk/>
          <pc:sldMk cId="897852737" sldId="2134958703"/>
        </pc:sldMkLst>
      </pc:sldChg>
      <pc:sldChg chg="del">
        <pc:chgData name="Sean Gallagher" userId="577446c3-45ae-4097-b8f0-9d862fa3a0df" providerId="ADAL" clId="{C99755CA-5427-4252-9ACC-8FD159CF9ECB}" dt="2024-04-22T13:22:52.188" v="159" actId="47"/>
        <pc:sldMkLst>
          <pc:docMk/>
          <pc:sldMk cId="3323212631" sldId="2134958704"/>
        </pc:sldMkLst>
      </pc:sldChg>
      <pc:sldChg chg="del">
        <pc:chgData name="Sean Gallagher" userId="577446c3-45ae-4097-b8f0-9d862fa3a0df" providerId="ADAL" clId="{C99755CA-5427-4252-9ACC-8FD159CF9ECB}" dt="2024-04-22T13:22:52.424" v="160" actId="47"/>
        <pc:sldMkLst>
          <pc:docMk/>
          <pc:sldMk cId="649909483" sldId="2134958705"/>
        </pc:sldMkLst>
      </pc:sldChg>
      <pc:sldChg chg="del">
        <pc:chgData name="Sean Gallagher" userId="577446c3-45ae-4097-b8f0-9d862fa3a0df" providerId="ADAL" clId="{C99755CA-5427-4252-9ACC-8FD159CF9ECB}" dt="2024-04-22T13:22:52.628" v="161" actId="47"/>
        <pc:sldMkLst>
          <pc:docMk/>
          <pc:sldMk cId="22513437" sldId="2134958706"/>
        </pc:sldMkLst>
      </pc:sldChg>
      <pc:sldChg chg="del">
        <pc:chgData name="Sean Gallagher" userId="577446c3-45ae-4097-b8f0-9d862fa3a0df" providerId="ADAL" clId="{C99755CA-5427-4252-9ACC-8FD159CF9ECB}" dt="2024-04-22T13:22:52.847" v="162" actId="47"/>
        <pc:sldMkLst>
          <pc:docMk/>
          <pc:sldMk cId="3115826438" sldId="2134958707"/>
        </pc:sldMkLst>
      </pc:sldChg>
      <pc:sldChg chg="del">
        <pc:chgData name="Sean Gallagher" userId="577446c3-45ae-4097-b8f0-9d862fa3a0df" providerId="ADAL" clId="{C99755CA-5427-4252-9ACC-8FD159CF9ECB}" dt="2024-04-22T13:22:53.067" v="163" actId="47"/>
        <pc:sldMkLst>
          <pc:docMk/>
          <pc:sldMk cId="3060276835" sldId="2134958708"/>
        </pc:sldMkLst>
      </pc:sldChg>
      <pc:sldChg chg="del">
        <pc:chgData name="Sean Gallagher" userId="577446c3-45ae-4097-b8f0-9d862fa3a0df" providerId="ADAL" clId="{C99755CA-5427-4252-9ACC-8FD159CF9ECB}" dt="2024-04-22T13:22:53.318" v="164" actId="47"/>
        <pc:sldMkLst>
          <pc:docMk/>
          <pc:sldMk cId="2579517199" sldId="2134958709"/>
        </pc:sldMkLst>
      </pc:sldChg>
      <pc:sldChg chg="del">
        <pc:chgData name="Sean Gallagher" userId="577446c3-45ae-4097-b8f0-9d862fa3a0df" providerId="ADAL" clId="{C99755CA-5427-4252-9ACC-8FD159CF9ECB}" dt="2024-04-22T13:22:53.530" v="165" actId="47"/>
        <pc:sldMkLst>
          <pc:docMk/>
          <pc:sldMk cId="1039082411" sldId="2134958710"/>
        </pc:sldMkLst>
      </pc:sldChg>
      <pc:sldChg chg="del">
        <pc:chgData name="Sean Gallagher" userId="577446c3-45ae-4097-b8f0-9d862fa3a0df" providerId="ADAL" clId="{C99755CA-5427-4252-9ACC-8FD159CF9ECB}" dt="2024-04-22T13:22:53.710" v="166" actId="47"/>
        <pc:sldMkLst>
          <pc:docMk/>
          <pc:sldMk cId="1605305374" sldId="2134958711"/>
        </pc:sldMkLst>
      </pc:sldChg>
      <pc:sldChg chg="del">
        <pc:chgData name="Sean Gallagher" userId="577446c3-45ae-4097-b8f0-9d862fa3a0df" providerId="ADAL" clId="{C99755CA-5427-4252-9ACC-8FD159CF9ECB}" dt="2024-04-22T13:22:53.931" v="167" actId="47"/>
        <pc:sldMkLst>
          <pc:docMk/>
          <pc:sldMk cId="3326400325" sldId="2134958712"/>
        </pc:sldMkLst>
      </pc:sldChg>
      <pc:sldChg chg="del">
        <pc:chgData name="Sean Gallagher" userId="577446c3-45ae-4097-b8f0-9d862fa3a0df" providerId="ADAL" clId="{C99755CA-5427-4252-9ACC-8FD159CF9ECB}" dt="2024-04-22T13:22:54.166" v="168" actId="47"/>
        <pc:sldMkLst>
          <pc:docMk/>
          <pc:sldMk cId="1316534488" sldId="2134958713"/>
        </pc:sldMkLst>
      </pc:sldChg>
      <pc:sldChg chg="del">
        <pc:chgData name="Sean Gallagher" userId="577446c3-45ae-4097-b8f0-9d862fa3a0df" providerId="ADAL" clId="{C99755CA-5427-4252-9ACC-8FD159CF9ECB}" dt="2024-04-22T13:22:54.747" v="169" actId="47"/>
        <pc:sldMkLst>
          <pc:docMk/>
          <pc:sldMk cId="508818661" sldId="2134958714"/>
        </pc:sldMkLst>
      </pc:sldChg>
      <pc:sldChg chg="del">
        <pc:chgData name="Sean Gallagher" userId="577446c3-45ae-4097-b8f0-9d862fa3a0df" providerId="ADAL" clId="{C99755CA-5427-4252-9ACC-8FD159CF9ECB}" dt="2024-04-22T13:22:54.936" v="170" actId="47"/>
        <pc:sldMkLst>
          <pc:docMk/>
          <pc:sldMk cId="4036670024" sldId="2134958715"/>
        </pc:sldMkLst>
      </pc:sldChg>
      <pc:sldChg chg="del">
        <pc:chgData name="Sean Gallagher" userId="577446c3-45ae-4097-b8f0-9d862fa3a0df" providerId="ADAL" clId="{C99755CA-5427-4252-9ACC-8FD159CF9ECB}" dt="2024-04-22T13:22:55.140" v="171" actId="47"/>
        <pc:sldMkLst>
          <pc:docMk/>
          <pc:sldMk cId="1398837635" sldId="2134958716"/>
        </pc:sldMkLst>
      </pc:sldChg>
      <pc:sldChg chg="del">
        <pc:chgData name="Sean Gallagher" userId="577446c3-45ae-4097-b8f0-9d862fa3a0df" providerId="ADAL" clId="{C99755CA-5427-4252-9ACC-8FD159CF9ECB}" dt="2024-04-22T13:22:55.376" v="172" actId="47"/>
        <pc:sldMkLst>
          <pc:docMk/>
          <pc:sldMk cId="2343540016" sldId="2134958717"/>
        </pc:sldMkLst>
      </pc:sldChg>
      <pc:sldChg chg="del">
        <pc:chgData name="Sean Gallagher" userId="577446c3-45ae-4097-b8f0-9d862fa3a0df" providerId="ADAL" clId="{C99755CA-5427-4252-9ACC-8FD159CF9ECB}" dt="2024-04-22T13:22:55.658" v="173" actId="47"/>
        <pc:sldMkLst>
          <pc:docMk/>
          <pc:sldMk cId="2671895690" sldId="2134958718"/>
        </pc:sldMkLst>
      </pc:sldChg>
      <pc:sldChg chg="del">
        <pc:chgData name="Sean Gallagher" userId="577446c3-45ae-4097-b8f0-9d862fa3a0df" providerId="ADAL" clId="{C99755CA-5427-4252-9ACC-8FD159CF9ECB}" dt="2024-04-22T13:22:55.909" v="174" actId="47"/>
        <pc:sldMkLst>
          <pc:docMk/>
          <pc:sldMk cId="3505607514" sldId="2134958719"/>
        </pc:sldMkLst>
      </pc:sldChg>
      <pc:sldChg chg="del">
        <pc:chgData name="Sean Gallagher" userId="577446c3-45ae-4097-b8f0-9d862fa3a0df" providerId="ADAL" clId="{C99755CA-5427-4252-9ACC-8FD159CF9ECB}" dt="2024-04-22T13:22:56.535" v="175" actId="47"/>
        <pc:sldMkLst>
          <pc:docMk/>
          <pc:sldMk cId="2175704978" sldId="2134958720"/>
        </pc:sldMkLst>
      </pc:sldChg>
      <pc:sldChg chg="del">
        <pc:chgData name="Sean Gallagher" userId="577446c3-45ae-4097-b8f0-9d862fa3a0df" providerId="ADAL" clId="{C99755CA-5427-4252-9ACC-8FD159CF9ECB}" dt="2024-04-22T13:22:56.740" v="176" actId="47"/>
        <pc:sldMkLst>
          <pc:docMk/>
          <pc:sldMk cId="3043448542" sldId="2134958721"/>
        </pc:sldMkLst>
      </pc:sldChg>
      <pc:sldChg chg="del">
        <pc:chgData name="Sean Gallagher" userId="577446c3-45ae-4097-b8f0-9d862fa3a0df" providerId="ADAL" clId="{C99755CA-5427-4252-9ACC-8FD159CF9ECB}" dt="2024-04-22T13:22:57.321" v="177" actId="47"/>
        <pc:sldMkLst>
          <pc:docMk/>
          <pc:sldMk cId="272534965" sldId="2134958722"/>
        </pc:sldMkLst>
      </pc:sldChg>
      <pc:sldChg chg="del">
        <pc:chgData name="Sean Gallagher" userId="577446c3-45ae-4097-b8f0-9d862fa3a0df" providerId="ADAL" clId="{C99755CA-5427-4252-9ACC-8FD159CF9ECB}" dt="2024-04-22T13:22:57.734" v="178" actId="47"/>
        <pc:sldMkLst>
          <pc:docMk/>
          <pc:sldMk cId="1948331355" sldId="2134958723"/>
        </pc:sldMkLst>
      </pc:sldChg>
      <pc:sldChg chg="del">
        <pc:chgData name="Sean Gallagher" userId="577446c3-45ae-4097-b8f0-9d862fa3a0df" providerId="ADAL" clId="{C99755CA-5427-4252-9ACC-8FD159CF9ECB}" dt="2024-04-22T13:22:58.421" v="179" actId="47"/>
        <pc:sldMkLst>
          <pc:docMk/>
          <pc:sldMk cId="789599039" sldId="2134958724"/>
        </pc:sldMkLst>
      </pc:sldChg>
      <pc:sldChg chg="del">
        <pc:chgData name="Sean Gallagher" userId="577446c3-45ae-4097-b8f0-9d862fa3a0df" providerId="ADAL" clId="{C99755CA-5427-4252-9ACC-8FD159CF9ECB}" dt="2024-04-22T13:22:58.437" v="180" actId="47"/>
        <pc:sldMkLst>
          <pc:docMk/>
          <pc:sldMk cId="1814502696" sldId="2134958725"/>
        </pc:sldMkLst>
      </pc:sldChg>
      <pc:sldChg chg="del">
        <pc:chgData name="Sean Gallagher" userId="577446c3-45ae-4097-b8f0-9d862fa3a0df" providerId="ADAL" clId="{C99755CA-5427-4252-9ACC-8FD159CF9ECB}" dt="2024-04-22T13:22:58.861" v="181" actId="47"/>
        <pc:sldMkLst>
          <pc:docMk/>
          <pc:sldMk cId="2819349799" sldId="2134958726"/>
        </pc:sldMkLst>
      </pc:sldChg>
      <pc:sldChg chg="del">
        <pc:chgData name="Sean Gallagher" userId="577446c3-45ae-4097-b8f0-9d862fa3a0df" providerId="ADAL" clId="{C99755CA-5427-4252-9ACC-8FD159CF9ECB}" dt="2024-04-22T13:22:59.049" v="182" actId="47"/>
        <pc:sldMkLst>
          <pc:docMk/>
          <pc:sldMk cId="679393884" sldId="2134958727"/>
        </pc:sldMkLst>
      </pc:sldChg>
      <pc:sldChg chg="del">
        <pc:chgData name="Sean Gallagher" userId="577446c3-45ae-4097-b8f0-9d862fa3a0df" providerId="ADAL" clId="{C99755CA-5427-4252-9ACC-8FD159CF9ECB}" dt="2024-04-22T13:22:59.255" v="183" actId="47"/>
        <pc:sldMkLst>
          <pc:docMk/>
          <pc:sldMk cId="3239195169" sldId="2134958728"/>
        </pc:sldMkLst>
      </pc:sldChg>
      <pc:sldChg chg="del">
        <pc:chgData name="Sean Gallagher" userId="577446c3-45ae-4097-b8f0-9d862fa3a0df" providerId="ADAL" clId="{C99755CA-5427-4252-9ACC-8FD159CF9ECB}" dt="2024-04-22T13:22:59.837" v="184" actId="47"/>
        <pc:sldMkLst>
          <pc:docMk/>
          <pc:sldMk cId="3209697986" sldId="2134958729"/>
        </pc:sldMkLst>
      </pc:sldChg>
      <pc:sldChg chg="del">
        <pc:chgData name="Sean Gallagher" userId="577446c3-45ae-4097-b8f0-9d862fa3a0df" providerId="ADAL" clId="{C99755CA-5427-4252-9ACC-8FD159CF9ECB}" dt="2024-04-22T13:23:00.071" v="185" actId="47"/>
        <pc:sldMkLst>
          <pc:docMk/>
          <pc:sldMk cId="4077304380" sldId="2134958730"/>
        </pc:sldMkLst>
      </pc:sldChg>
      <pc:sldChg chg="del">
        <pc:chgData name="Sean Gallagher" userId="577446c3-45ae-4097-b8f0-9d862fa3a0df" providerId="ADAL" clId="{C99755CA-5427-4252-9ACC-8FD159CF9ECB}" dt="2024-04-22T13:23:00.292" v="186" actId="47"/>
        <pc:sldMkLst>
          <pc:docMk/>
          <pc:sldMk cId="2857518688" sldId="2134958731"/>
        </pc:sldMkLst>
      </pc:sldChg>
      <pc:sldChg chg="del">
        <pc:chgData name="Sean Gallagher" userId="577446c3-45ae-4097-b8f0-9d862fa3a0df" providerId="ADAL" clId="{C99755CA-5427-4252-9ACC-8FD159CF9ECB}" dt="2024-04-22T13:23:00.574" v="187" actId="47"/>
        <pc:sldMkLst>
          <pc:docMk/>
          <pc:sldMk cId="2067933875" sldId="2134958732"/>
        </pc:sldMkLst>
      </pc:sldChg>
      <pc:sldChg chg="del">
        <pc:chgData name="Sean Gallagher" userId="577446c3-45ae-4097-b8f0-9d862fa3a0df" providerId="ADAL" clId="{C99755CA-5427-4252-9ACC-8FD159CF9ECB}" dt="2024-04-22T13:23:01.799" v="188" actId="47"/>
        <pc:sldMkLst>
          <pc:docMk/>
          <pc:sldMk cId="1799991716" sldId="2134958733"/>
        </pc:sldMkLst>
      </pc:sldChg>
      <pc:sldChg chg="add del">
        <pc:chgData name="Sean Gallagher" userId="577446c3-45ae-4097-b8f0-9d862fa3a0df" providerId="ADAL" clId="{C99755CA-5427-4252-9ACC-8FD159CF9ECB}" dt="2024-04-22T13:20:19.596" v="23"/>
        <pc:sldMkLst>
          <pc:docMk/>
          <pc:sldMk cId="2662449132" sldId="2134958734"/>
        </pc:sldMkLst>
      </pc:sldChg>
      <pc:sldMasterChg chg="addSp delSp modSp mod delSldLayout">
        <pc:chgData name="Sean Gallagher" userId="577446c3-45ae-4097-b8f0-9d862fa3a0df" providerId="ADAL" clId="{C99755CA-5427-4252-9ACC-8FD159CF9ECB}" dt="2024-04-22T13:51:29.929" v="287" actId="478"/>
        <pc:sldMasterMkLst>
          <pc:docMk/>
          <pc:sldMasterMk cId="1070809925" sldId="2147483692"/>
        </pc:sldMasterMkLst>
        <pc:picChg chg="del">
          <ac:chgData name="Sean Gallagher" userId="577446c3-45ae-4097-b8f0-9d862fa3a0df" providerId="ADAL" clId="{C99755CA-5427-4252-9ACC-8FD159CF9ECB}" dt="2024-04-22T13:29:50.764" v="238" actId="478"/>
          <ac:picMkLst>
            <pc:docMk/>
            <pc:sldMasterMk cId="1070809925" sldId="2147483692"/>
            <ac:picMk id="2" creationId="{6A841786-8702-2303-BAA8-F90E99CC7294}"/>
          </ac:picMkLst>
        </pc:picChg>
        <pc:picChg chg="add del mod">
          <ac:chgData name="Sean Gallagher" userId="577446c3-45ae-4097-b8f0-9d862fa3a0df" providerId="ADAL" clId="{C99755CA-5427-4252-9ACC-8FD159CF9ECB}" dt="2024-04-22T13:51:29.929" v="287" actId="478"/>
          <ac:picMkLst>
            <pc:docMk/>
            <pc:sldMasterMk cId="1070809925" sldId="2147483692"/>
            <ac:picMk id="3" creationId="{09AB377A-43EE-76EC-FD8B-629A49E09D4A}"/>
          </ac:picMkLst>
        </pc:picChg>
        <pc:sldLayoutChg chg="del">
          <pc:chgData name="Sean Gallagher" userId="577446c3-45ae-4097-b8f0-9d862fa3a0df" providerId="ADAL" clId="{C99755CA-5427-4252-9ACC-8FD159CF9ECB}" dt="2024-04-22T13:22:55.909" v="174" actId="47"/>
          <pc:sldLayoutMkLst>
            <pc:docMk/>
            <pc:sldMasterMk cId="1070809925" sldId="2147483692"/>
            <pc:sldLayoutMk cId="346028848" sldId="2147483829"/>
          </pc:sldLayoutMkLst>
        </pc:sldLayoutChg>
        <pc:sldLayoutChg chg="del">
          <pc:chgData name="Sean Gallagher" userId="577446c3-45ae-4097-b8f0-9d862fa3a0df" providerId="ADAL" clId="{C99755CA-5427-4252-9ACC-8FD159CF9ECB}" dt="2024-04-22T13:22:27.446" v="75" actId="47"/>
          <pc:sldLayoutMkLst>
            <pc:docMk/>
            <pc:sldMasterMk cId="1070809925" sldId="2147483692"/>
            <pc:sldLayoutMk cId="2409152693" sldId="2147483830"/>
          </pc:sldLayoutMkLst>
        </pc:sldLayoutChg>
      </pc:sldMasterChg>
      <pc:sldMasterChg chg="delSldLayout modSldLayout">
        <pc:chgData name="Sean Gallagher" userId="577446c3-45ae-4097-b8f0-9d862fa3a0df" providerId="ADAL" clId="{C99755CA-5427-4252-9ACC-8FD159CF9ECB}" dt="2024-04-22T13:29:32.486" v="236" actId="478"/>
        <pc:sldMasterMkLst>
          <pc:docMk/>
          <pc:sldMasterMk cId="3560819068" sldId="2147483818"/>
        </pc:sldMasterMkLst>
        <pc:sldLayoutChg chg="addSp delSp modSp mod">
          <pc:chgData name="Sean Gallagher" userId="577446c3-45ae-4097-b8f0-9d862fa3a0df" providerId="ADAL" clId="{C99755CA-5427-4252-9ACC-8FD159CF9ECB}" dt="2024-04-22T13:29:32.486" v="236" actId="478"/>
          <pc:sldLayoutMkLst>
            <pc:docMk/>
            <pc:sldMasterMk cId="3560819068" sldId="2147483818"/>
            <pc:sldLayoutMk cId="3710431470" sldId="2147483828"/>
          </pc:sldLayoutMkLst>
          <pc:picChg chg="del">
            <ac:chgData name="Sean Gallagher" userId="577446c3-45ae-4097-b8f0-9d862fa3a0df" providerId="ADAL" clId="{C99755CA-5427-4252-9ACC-8FD159CF9ECB}" dt="2024-04-22T13:29:32.486" v="236" actId="478"/>
            <ac:picMkLst>
              <pc:docMk/>
              <pc:sldMasterMk cId="3560819068" sldId="2147483818"/>
              <pc:sldLayoutMk cId="3710431470" sldId="2147483828"/>
              <ac:picMk id="2" creationId="{03F19FCC-DD25-70F5-138F-1E962BAD57F1}"/>
            </ac:picMkLst>
          </pc:picChg>
          <pc:picChg chg="add mod">
            <ac:chgData name="Sean Gallagher" userId="577446c3-45ae-4097-b8f0-9d862fa3a0df" providerId="ADAL" clId="{C99755CA-5427-4252-9ACC-8FD159CF9ECB}" dt="2024-04-22T13:29:30.491" v="235"/>
            <ac:picMkLst>
              <pc:docMk/>
              <pc:sldMasterMk cId="3560819068" sldId="2147483818"/>
              <pc:sldLayoutMk cId="3710431470" sldId="2147483828"/>
              <ac:picMk id="3" creationId="{0F9E7D96-D94D-0832-DDF8-4F73E6A3AD57}"/>
            </ac:picMkLst>
          </pc:picChg>
        </pc:sldLayoutChg>
        <pc:sldLayoutChg chg="del">
          <pc:chgData name="Sean Gallagher" userId="577446c3-45ae-4097-b8f0-9d862fa3a0df" providerId="ADAL" clId="{C99755CA-5427-4252-9ACC-8FD159CF9ECB}" dt="2024-04-22T13:18:16.428" v="1" actId="47"/>
          <pc:sldLayoutMkLst>
            <pc:docMk/>
            <pc:sldMasterMk cId="3560819068" sldId="2147483818"/>
            <pc:sldLayoutMk cId="3280714820" sldId="2147483831"/>
          </pc:sldLayoutMkLst>
        </pc:sldLayoutChg>
      </pc:sldMasterChg>
    </pc:docChg>
  </pc:docChgLst>
  <pc:docChgLst>
    <pc:chgData name="Sean Gallagher" userId="577446c3-45ae-4097-b8f0-9d862fa3a0df" providerId="ADAL" clId="{8888101E-3966-4D89-A871-2ED119CB2E7A}"/>
    <pc:docChg chg="undo redo custSel addSld delSld modSld sldOrd modMainMaster">
      <pc:chgData name="Sean Gallagher" userId="577446c3-45ae-4097-b8f0-9d862fa3a0df" providerId="ADAL" clId="{8888101E-3966-4D89-A871-2ED119CB2E7A}" dt="2024-03-21T14:34:21.187" v="235" actId="14100"/>
      <pc:docMkLst>
        <pc:docMk/>
      </pc:docMkLst>
      <pc:sldChg chg="del">
        <pc:chgData name="Sean Gallagher" userId="577446c3-45ae-4097-b8f0-9d862fa3a0df" providerId="ADAL" clId="{8888101E-3966-4D89-A871-2ED119CB2E7A}" dt="2024-03-21T14:23:53.070" v="0" actId="47"/>
        <pc:sldMkLst>
          <pc:docMk/>
          <pc:sldMk cId="1770905082" sldId="269"/>
        </pc:sldMkLst>
      </pc:sldChg>
      <pc:sldChg chg="add ord">
        <pc:chgData name="Sean Gallagher" userId="577446c3-45ae-4097-b8f0-9d862fa3a0df" providerId="ADAL" clId="{8888101E-3966-4D89-A871-2ED119CB2E7A}" dt="2024-03-21T14:24:06.038" v="5"/>
        <pc:sldMkLst>
          <pc:docMk/>
          <pc:sldMk cId="3675703319" sldId="279"/>
        </pc:sldMkLst>
      </pc:sldChg>
      <pc:sldChg chg="addSp delSp modSp mod">
        <pc:chgData name="Sean Gallagher" userId="577446c3-45ae-4097-b8f0-9d862fa3a0df" providerId="ADAL" clId="{8888101E-3966-4D89-A871-2ED119CB2E7A}" dt="2024-03-21T14:24:48.752" v="10" actId="6549"/>
        <pc:sldMkLst>
          <pc:docMk/>
          <pc:sldMk cId="838486706" sldId="2134958646"/>
        </pc:sldMkLst>
        <pc:spChg chg="del mod">
          <ac:chgData name="Sean Gallagher" userId="577446c3-45ae-4097-b8f0-9d862fa3a0df" providerId="ADAL" clId="{8888101E-3966-4D89-A871-2ED119CB2E7A}" dt="2024-03-21T14:24:35.717" v="7" actId="478"/>
          <ac:spMkLst>
            <pc:docMk/>
            <pc:sldMk cId="838486706" sldId="2134958646"/>
            <ac:spMk id="3" creationId="{99BB1F4D-133C-13AB-85EA-C2EE54362900}"/>
          </ac:spMkLst>
        </pc:spChg>
        <pc:spChg chg="mod">
          <ac:chgData name="Sean Gallagher" userId="577446c3-45ae-4097-b8f0-9d862fa3a0df" providerId="ADAL" clId="{8888101E-3966-4D89-A871-2ED119CB2E7A}" dt="2024-03-21T14:24:48.752" v="10" actId="6549"/>
          <ac:spMkLst>
            <pc:docMk/>
            <pc:sldMk cId="838486706" sldId="2134958646"/>
            <ac:spMk id="4" creationId="{6848280A-52CF-14A2-72C8-A76D653B1539}"/>
          </ac:spMkLst>
        </pc:spChg>
        <pc:spChg chg="add del mod">
          <ac:chgData name="Sean Gallagher" userId="577446c3-45ae-4097-b8f0-9d862fa3a0df" providerId="ADAL" clId="{8888101E-3966-4D89-A871-2ED119CB2E7A}" dt="2024-03-21T14:24:41.518" v="9" actId="478"/>
          <ac:spMkLst>
            <pc:docMk/>
            <pc:sldMk cId="838486706" sldId="2134958646"/>
            <ac:spMk id="5" creationId="{A52F727E-2093-424E-470B-FE7004650FFE}"/>
          </ac:spMkLst>
        </pc:spChg>
      </pc:sldChg>
      <pc:sldChg chg="modSp mod">
        <pc:chgData name="Sean Gallagher" userId="577446c3-45ae-4097-b8f0-9d862fa3a0df" providerId="ADAL" clId="{8888101E-3966-4D89-A871-2ED119CB2E7A}" dt="2024-03-21T14:33:14.213" v="227" actId="20577"/>
        <pc:sldMkLst>
          <pc:docMk/>
          <pc:sldMk cId="3111996064" sldId="2134958649"/>
        </pc:sldMkLst>
        <pc:spChg chg="mod">
          <ac:chgData name="Sean Gallagher" userId="577446c3-45ae-4097-b8f0-9d862fa3a0df" providerId="ADAL" clId="{8888101E-3966-4D89-A871-2ED119CB2E7A}" dt="2024-03-21T14:33:14.213" v="227" actId="20577"/>
          <ac:spMkLst>
            <pc:docMk/>
            <pc:sldMk cId="3111996064" sldId="2134958649"/>
            <ac:spMk id="3" creationId="{AE7567E0-9FB4-E2D0-F57B-56251EA6FA1C}"/>
          </ac:spMkLst>
        </pc:spChg>
      </pc:sldChg>
      <pc:sldChg chg="addSp delSp modSp">
        <pc:chgData name="Sean Gallagher" userId="577446c3-45ae-4097-b8f0-9d862fa3a0df" providerId="ADAL" clId="{8888101E-3966-4D89-A871-2ED119CB2E7A}" dt="2024-03-21T14:31:50.377" v="176" actId="1076"/>
        <pc:sldMkLst>
          <pc:docMk/>
          <pc:sldMk cId="548871033" sldId="2134958650"/>
        </pc:sldMkLst>
        <pc:picChg chg="add del mod">
          <ac:chgData name="Sean Gallagher" userId="577446c3-45ae-4097-b8f0-9d862fa3a0df" providerId="ADAL" clId="{8888101E-3966-4D89-A871-2ED119CB2E7A}" dt="2024-03-21T14:31:21.518" v="171" actId="1076"/>
          <ac:picMkLst>
            <pc:docMk/>
            <pc:sldMk cId="548871033" sldId="2134958650"/>
            <ac:picMk id="5" creationId="{B7E43BC3-672D-24DC-CC75-0B51AD1CD7C1}"/>
          </ac:picMkLst>
        </pc:picChg>
        <pc:picChg chg="add del mod">
          <ac:chgData name="Sean Gallagher" userId="577446c3-45ae-4097-b8f0-9d862fa3a0df" providerId="ADAL" clId="{8888101E-3966-4D89-A871-2ED119CB2E7A}" dt="2024-03-21T14:31:21.518" v="171" actId="1076"/>
          <ac:picMkLst>
            <pc:docMk/>
            <pc:sldMk cId="548871033" sldId="2134958650"/>
            <ac:picMk id="2050" creationId="{E2923D47-D694-D20D-91B4-66A7B8E98829}"/>
          </ac:picMkLst>
        </pc:picChg>
        <pc:picChg chg="add mod">
          <ac:chgData name="Sean Gallagher" userId="577446c3-45ae-4097-b8f0-9d862fa3a0df" providerId="ADAL" clId="{8888101E-3966-4D89-A871-2ED119CB2E7A}" dt="2024-03-21T14:31:50.377" v="176" actId="1076"/>
          <ac:picMkLst>
            <pc:docMk/>
            <pc:sldMk cId="548871033" sldId="2134958650"/>
            <ac:picMk id="2052" creationId="{2E9E0A24-1B05-8845-9DC4-63AD3E61AB42}"/>
          </ac:picMkLst>
        </pc:picChg>
      </pc:sldChg>
      <pc:sldChg chg="modSp mod">
        <pc:chgData name="Sean Gallagher" userId="577446c3-45ae-4097-b8f0-9d862fa3a0df" providerId="ADAL" clId="{8888101E-3966-4D89-A871-2ED119CB2E7A}" dt="2024-03-21T14:34:21.187" v="235" actId="14100"/>
        <pc:sldMkLst>
          <pc:docMk/>
          <pc:sldMk cId="235993207" sldId="2134958654"/>
        </pc:sldMkLst>
        <pc:picChg chg="mod">
          <ac:chgData name="Sean Gallagher" userId="577446c3-45ae-4097-b8f0-9d862fa3a0df" providerId="ADAL" clId="{8888101E-3966-4D89-A871-2ED119CB2E7A}" dt="2024-03-21T14:34:21.187" v="235" actId="14100"/>
          <ac:picMkLst>
            <pc:docMk/>
            <pc:sldMk cId="235993207" sldId="2134958654"/>
            <ac:picMk id="5" creationId="{20C114EF-FD1D-1FD2-8880-5BD7AE8F1B57}"/>
          </ac:picMkLst>
        </pc:picChg>
      </pc:sldChg>
      <pc:sldChg chg="addSp delSp modSp mod">
        <pc:chgData name="Sean Gallagher" userId="577446c3-45ae-4097-b8f0-9d862fa3a0df" providerId="ADAL" clId="{8888101E-3966-4D89-A871-2ED119CB2E7A}" dt="2024-03-21T14:29:16.407" v="152" actId="1076"/>
        <pc:sldMkLst>
          <pc:docMk/>
          <pc:sldMk cId="4281471524" sldId="2134958655"/>
        </pc:sldMkLst>
        <pc:spChg chg="add del">
          <ac:chgData name="Sean Gallagher" userId="577446c3-45ae-4097-b8f0-9d862fa3a0df" providerId="ADAL" clId="{8888101E-3966-4D89-A871-2ED119CB2E7A}" dt="2024-03-21T14:27:17.523" v="122" actId="478"/>
          <ac:spMkLst>
            <pc:docMk/>
            <pc:sldMk cId="4281471524" sldId="2134958655"/>
            <ac:spMk id="2" creationId="{158EB58B-6390-3EAE-76FB-8A841BB81111}"/>
          </ac:spMkLst>
        </pc:spChg>
        <pc:picChg chg="add mod">
          <ac:chgData name="Sean Gallagher" userId="577446c3-45ae-4097-b8f0-9d862fa3a0df" providerId="ADAL" clId="{8888101E-3966-4D89-A871-2ED119CB2E7A}" dt="2024-03-21T14:28:11.923" v="143" actId="1076"/>
          <ac:picMkLst>
            <pc:docMk/>
            <pc:sldMk cId="4281471524" sldId="2134958655"/>
            <ac:picMk id="5" creationId="{2B89204E-12D1-ED0E-3408-4EC5E36325D8}"/>
          </ac:picMkLst>
        </pc:picChg>
        <pc:picChg chg="add mod">
          <ac:chgData name="Sean Gallagher" userId="577446c3-45ae-4097-b8f0-9d862fa3a0df" providerId="ADAL" clId="{8888101E-3966-4D89-A871-2ED119CB2E7A}" dt="2024-03-21T14:29:16.407" v="152" actId="1076"/>
          <ac:picMkLst>
            <pc:docMk/>
            <pc:sldMk cId="4281471524" sldId="2134958655"/>
            <ac:picMk id="7" creationId="{321B2E6E-60FF-5DA1-AC6C-400AC4140B66}"/>
          </ac:picMkLst>
        </pc:picChg>
        <pc:picChg chg="add mod">
          <ac:chgData name="Sean Gallagher" userId="577446c3-45ae-4097-b8f0-9d862fa3a0df" providerId="ADAL" clId="{8888101E-3966-4D89-A871-2ED119CB2E7A}" dt="2024-03-21T14:29:02.194" v="151" actId="1076"/>
          <ac:picMkLst>
            <pc:docMk/>
            <pc:sldMk cId="4281471524" sldId="2134958655"/>
            <ac:picMk id="9" creationId="{EB7F5C48-9CFB-DC7E-3A64-D5F838844210}"/>
          </ac:picMkLst>
        </pc:picChg>
        <pc:picChg chg="del">
          <ac:chgData name="Sean Gallagher" userId="577446c3-45ae-4097-b8f0-9d862fa3a0df" providerId="ADAL" clId="{8888101E-3966-4D89-A871-2ED119CB2E7A}" dt="2024-03-21T14:26:34.055" v="117" actId="478"/>
          <ac:picMkLst>
            <pc:docMk/>
            <pc:sldMk cId="4281471524" sldId="2134958655"/>
            <ac:picMk id="11" creationId="{E0F10B58-07F8-9E0D-0589-4628F277CBD8}"/>
          </ac:picMkLst>
        </pc:picChg>
        <pc:picChg chg="del">
          <ac:chgData name="Sean Gallagher" userId="577446c3-45ae-4097-b8f0-9d862fa3a0df" providerId="ADAL" clId="{8888101E-3966-4D89-A871-2ED119CB2E7A}" dt="2024-03-21T14:26:34.541" v="118" actId="478"/>
          <ac:picMkLst>
            <pc:docMk/>
            <pc:sldMk cId="4281471524" sldId="2134958655"/>
            <ac:picMk id="14" creationId="{BBD86A75-F533-BD75-1E41-126CA07C4D57}"/>
          </ac:picMkLst>
        </pc:picChg>
        <pc:picChg chg="del">
          <ac:chgData name="Sean Gallagher" userId="577446c3-45ae-4097-b8f0-9d862fa3a0df" providerId="ADAL" clId="{8888101E-3966-4D89-A871-2ED119CB2E7A}" dt="2024-03-21T14:26:36.326" v="120" actId="478"/>
          <ac:picMkLst>
            <pc:docMk/>
            <pc:sldMk cId="4281471524" sldId="2134958655"/>
            <ac:picMk id="16" creationId="{3B8CB5F8-C4DB-5BC5-3E23-E47CE30CA9BF}"/>
          </ac:picMkLst>
        </pc:picChg>
        <pc:picChg chg="del">
          <ac:chgData name="Sean Gallagher" userId="577446c3-45ae-4097-b8f0-9d862fa3a0df" providerId="ADAL" clId="{8888101E-3966-4D89-A871-2ED119CB2E7A}" dt="2024-03-21T14:26:35.566" v="119" actId="478"/>
          <ac:picMkLst>
            <pc:docMk/>
            <pc:sldMk cId="4281471524" sldId="2134958655"/>
            <ac:picMk id="18" creationId="{792037F7-604F-4AD1-04CE-72F454A9617C}"/>
          </ac:picMkLst>
        </pc:picChg>
      </pc:sldChg>
      <pc:sldChg chg="addSp delSp modSp mod">
        <pc:chgData name="Sean Gallagher" userId="577446c3-45ae-4097-b8f0-9d862fa3a0df" providerId="ADAL" clId="{8888101E-3966-4D89-A871-2ED119CB2E7A}" dt="2024-03-21T14:25:42.648" v="116" actId="20577"/>
        <pc:sldMkLst>
          <pc:docMk/>
          <pc:sldMk cId="1250068653" sldId="2134958656"/>
        </pc:sldMkLst>
        <pc:spChg chg="mod">
          <ac:chgData name="Sean Gallagher" userId="577446c3-45ae-4097-b8f0-9d862fa3a0df" providerId="ADAL" clId="{8888101E-3966-4D89-A871-2ED119CB2E7A}" dt="2024-03-21T14:25:42.648" v="116" actId="20577"/>
          <ac:spMkLst>
            <pc:docMk/>
            <pc:sldMk cId="1250068653" sldId="2134958656"/>
            <ac:spMk id="2" creationId="{00000000-0000-0000-0000-000000000000}"/>
          </ac:spMkLst>
        </pc:spChg>
        <pc:spChg chg="add del">
          <ac:chgData name="Sean Gallagher" userId="577446c3-45ae-4097-b8f0-9d862fa3a0df" providerId="ADAL" clId="{8888101E-3966-4D89-A871-2ED119CB2E7A}" dt="2024-03-21T14:23:59.595" v="2" actId="22"/>
          <ac:spMkLst>
            <pc:docMk/>
            <pc:sldMk cId="1250068653" sldId="2134958656"/>
            <ac:spMk id="5" creationId="{90B81755-1921-43FD-7E78-DF6E42C3F620}"/>
          </ac:spMkLst>
        </pc:spChg>
      </pc:sldChg>
      <pc:sldMasterChg chg="addSp delSp modSp mod">
        <pc:chgData name="Sean Gallagher" userId="577446c3-45ae-4097-b8f0-9d862fa3a0df" providerId="ADAL" clId="{8888101E-3966-4D89-A871-2ED119CB2E7A}" dt="2024-03-21T14:33:59.897" v="231" actId="1076"/>
        <pc:sldMasterMkLst>
          <pc:docMk/>
          <pc:sldMasterMk cId="1070809925" sldId="2147483692"/>
        </pc:sldMasterMkLst>
        <pc:picChg chg="del">
          <ac:chgData name="Sean Gallagher" userId="577446c3-45ae-4097-b8f0-9d862fa3a0df" providerId="ADAL" clId="{8888101E-3966-4D89-A871-2ED119CB2E7A}" dt="2024-03-21T14:33:56.313" v="230" actId="478"/>
          <ac:picMkLst>
            <pc:docMk/>
            <pc:sldMasterMk cId="1070809925" sldId="2147483692"/>
            <ac:picMk id="2" creationId="{F376F353-A65A-00F4-DA4F-B7D786E92E94}"/>
          </ac:picMkLst>
        </pc:picChg>
        <pc:picChg chg="add mod">
          <ac:chgData name="Sean Gallagher" userId="577446c3-45ae-4097-b8f0-9d862fa3a0df" providerId="ADAL" clId="{8888101E-3966-4D89-A871-2ED119CB2E7A}" dt="2024-03-21T14:33:59.897" v="231" actId="1076"/>
          <ac:picMkLst>
            <pc:docMk/>
            <pc:sldMasterMk cId="1070809925" sldId="2147483692"/>
            <ac:picMk id="3" creationId="{96A031EF-3603-DAE8-633F-BF6DF1E95DFD}"/>
          </ac:picMkLst>
        </pc:picChg>
      </pc:sldMasterChg>
    </pc:docChg>
  </pc:docChgLst>
  <pc:docChgLst>
    <pc:chgData name="Sean Gallagher" userId="577446c3-45ae-4097-b8f0-9d862fa3a0df" providerId="ADAL" clId="{FDE066EC-6FFF-4A69-86A0-78197006CF91}"/>
    <pc:docChg chg="undo redo custSel addSld delSld modSld sldOrd modMainMaster">
      <pc:chgData name="Sean Gallagher" userId="577446c3-45ae-4097-b8f0-9d862fa3a0df" providerId="ADAL" clId="{FDE066EC-6FFF-4A69-86A0-78197006CF91}" dt="2024-02-20T16:22:15.407" v="111" actId="14100"/>
      <pc:docMkLst>
        <pc:docMk/>
      </pc:docMkLst>
      <pc:sldChg chg="add ord">
        <pc:chgData name="Sean Gallagher" userId="577446c3-45ae-4097-b8f0-9d862fa3a0df" providerId="ADAL" clId="{FDE066EC-6FFF-4A69-86A0-78197006CF91}" dt="2024-02-20T15:30:00.729" v="3"/>
        <pc:sldMkLst>
          <pc:docMk/>
          <pc:sldMk cId="1770905082" sldId="269"/>
        </pc:sldMkLst>
      </pc:sldChg>
      <pc:sldChg chg="del">
        <pc:chgData name="Sean Gallagher" userId="577446c3-45ae-4097-b8f0-9d862fa3a0df" providerId="ADAL" clId="{FDE066EC-6FFF-4A69-86A0-78197006CF91}" dt="2024-02-20T15:29:43.045" v="0" actId="47"/>
        <pc:sldMkLst>
          <pc:docMk/>
          <pc:sldMk cId="264567940" sldId="272"/>
        </pc:sldMkLst>
      </pc:sldChg>
      <pc:sldChg chg="modSp mod">
        <pc:chgData name="Sean Gallagher" userId="577446c3-45ae-4097-b8f0-9d862fa3a0df" providerId="ADAL" clId="{FDE066EC-6FFF-4A69-86A0-78197006CF91}" dt="2024-02-20T16:15:50.037" v="107"/>
        <pc:sldMkLst>
          <pc:docMk/>
          <pc:sldMk cId="3111996064" sldId="2134958649"/>
        </pc:sldMkLst>
        <pc:spChg chg="mod">
          <ac:chgData name="Sean Gallagher" userId="577446c3-45ae-4097-b8f0-9d862fa3a0df" providerId="ADAL" clId="{FDE066EC-6FFF-4A69-86A0-78197006CF91}" dt="2024-02-20T16:15:50.037" v="107"/>
          <ac:spMkLst>
            <pc:docMk/>
            <pc:sldMk cId="3111996064" sldId="2134958649"/>
            <ac:spMk id="3" creationId="{AE7567E0-9FB4-E2D0-F57B-56251EA6FA1C}"/>
          </ac:spMkLst>
        </pc:spChg>
      </pc:sldChg>
      <pc:sldChg chg="addSp modSp">
        <pc:chgData name="Sean Gallagher" userId="577446c3-45ae-4097-b8f0-9d862fa3a0df" providerId="ADAL" clId="{FDE066EC-6FFF-4A69-86A0-78197006CF91}" dt="2024-02-20T16:14:56.776" v="106" actId="1076"/>
        <pc:sldMkLst>
          <pc:docMk/>
          <pc:sldMk cId="548871033" sldId="2134958650"/>
        </pc:sldMkLst>
        <pc:picChg chg="mod">
          <ac:chgData name="Sean Gallagher" userId="577446c3-45ae-4097-b8f0-9d862fa3a0df" providerId="ADAL" clId="{FDE066EC-6FFF-4A69-86A0-78197006CF91}" dt="2024-02-20T16:14:26.961" v="89" actId="14100"/>
          <ac:picMkLst>
            <pc:docMk/>
            <pc:sldMk cId="548871033" sldId="2134958650"/>
            <ac:picMk id="5" creationId="{B7E43BC3-672D-24DC-CC75-0B51AD1CD7C1}"/>
          </ac:picMkLst>
        </pc:picChg>
        <pc:picChg chg="add mod">
          <ac:chgData name="Sean Gallagher" userId="577446c3-45ae-4097-b8f0-9d862fa3a0df" providerId="ADAL" clId="{FDE066EC-6FFF-4A69-86A0-78197006CF91}" dt="2024-02-20T16:14:26.961" v="89" actId="14100"/>
          <ac:picMkLst>
            <pc:docMk/>
            <pc:sldMk cId="548871033" sldId="2134958650"/>
            <ac:picMk id="2050" creationId="{9756C9CE-1AC2-F609-C9B6-15C4E3145A07}"/>
          </ac:picMkLst>
        </pc:picChg>
        <pc:picChg chg="add mod">
          <ac:chgData name="Sean Gallagher" userId="577446c3-45ae-4097-b8f0-9d862fa3a0df" providerId="ADAL" clId="{FDE066EC-6FFF-4A69-86A0-78197006CF91}" dt="2024-02-20T16:14:56.776" v="106" actId="1076"/>
          <ac:picMkLst>
            <pc:docMk/>
            <pc:sldMk cId="548871033" sldId="2134958650"/>
            <ac:picMk id="2052" creationId="{A7D50CAB-5A38-179D-23A2-F59E16144F92}"/>
          </ac:picMkLst>
        </pc:picChg>
      </pc:sldChg>
      <pc:sldChg chg="addSp delSp modSp mod">
        <pc:chgData name="Sean Gallagher" userId="577446c3-45ae-4097-b8f0-9d862fa3a0df" providerId="ADAL" clId="{FDE066EC-6FFF-4A69-86A0-78197006CF91}" dt="2024-02-20T16:14:37.493" v="101" actId="14100"/>
        <pc:sldMkLst>
          <pc:docMk/>
          <pc:sldMk cId="2710295584" sldId="2134958652"/>
        </pc:sldMkLst>
        <pc:picChg chg="add mod">
          <ac:chgData name="Sean Gallagher" userId="577446c3-45ae-4097-b8f0-9d862fa3a0df" providerId="ADAL" clId="{FDE066EC-6FFF-4A69-86A0-78197006CF91}" dt="2024-02-20T16:14:37.493" v="101" actId="14100"/>
          <ac:picMkLst>
            <pc:docMk/>
            <pc:sldMk cId="2710295584" sldId="2134958652"/>
            <ac:picMk id="2" creationId="{D217094E-6D7E-8183-B308-B129ABEEE0A4}"/>
          </ac:picMkLst>
        </pc:picChg>
        <pc:picChg chg="del">
          <ac:chgData name="Sean Gallagher" userId="577446c3-45ae-4097-b8f0-9d862fa3a0df" providerId="ADAL" clId="{FDE066EC-6FFF-4A69-86A0-78197006CF91}" dt="2024-02-20T16:10:07.586" v="69" actId="478"/>
          <ac:picMkLst>
            <pc:docMk/>
            <pc:sldMk cId="2710295584" sldId="2134958652"/>
            <ac:picMk id="3" creationId="{E4F9D7D5-AB92-4A40-B4B8-01770603E10A}"/>
          </ac:picMkLst>
        </pc:picChg>
      </pc:sldChg>
      <pc:sldChg chg="addSp delSp modSp mod">
        <pc:chgData name="Sean Gallagher" userId="577446c3-45ae-4097-b8f0-9d862fa3a0df" providerId="ADAL" clId="{FDE066EC-6FFF-4A69-86A0-78197006CF91}" dt="2024-02-20T16:20:52.717" v="108" actId="1076"/>
        <pc:sldMkLst>
          <pc:docMk/>
          <pc:sldMk cId="4281471524" sldId="2134958655"/>
        </pc:sldMkLst>
        <pc:spChg chg="add del mod">
          <ac:chgData name="Sean Gallagher" userId="577446c3-45ae-4097-b8f0-9d862fa3a0df" providerId="ADAL" clId="{FDE066EC-6FFF-4A69-86A0-78197006CF91}" dt="2024-02-20T15:41:57.101" v="17" actId="478"/>
          <ac:spMkLst>
            <pc:docMk/>
            <pc:sldMk cId="4281471524" sldId="2134958655"/>
            <ac:spMk id="6" creationId="{6A55A15D-0DFA-2A69-C0A9-95EEFB651729}"/>
          </ac:spMkLst>
        </pc:spChg>
        <pc:spChg chg="add del">
          <ac:chgData name="Sean Gallagher" userId="577446c3-45ae-4097-b8f0-9d862fa3a0df" providerId="ADAL" clId="{FDE066EC-6FFF-4A69-86A0-78197006CF91}" dt="2024-02-20T15:42:09.475" v="19" actId="478"/>
          <ac:spMkLst>
            <pc:docMk/>
            <pc:sldMk cId="4281471524" sldId="2134958655"/>
            <ac:spMk id="8" creationId="{333B0552-EA88-B99F-8209-64707D714119}"/>
          </ac:spMkLst>
        </pc:spChg>
        <pc:picChg chg="del">
          <ac:chgData name="Sean Gallagher" userId="577446c3-45ae-4097-b8f0-9d862fa3a0df" providerId="ADAL" clId="{FDE066EC-6FFF-4A69-86A0-78197006CF91}" dt="2024-02-20T15:39:02.075" v="7" actId="478"/>
          <ac:picMkLst>
            <pc:docMk/>
            <pc:sldMk cId="4281471524" sldId="2134958655"/>
            <ac:picMk id="3" creationId="{C3560543-53B0-A2A1-EE15-E4251B7A2AF1}"/>
          </ac:picMkLst>
        </pc:picChg>
        <pc:picChg chg="add del mod">
          <ac:chgData name="Sean Gallagher" userId="577446c3-45ae-4097-b8f0-9d862fa3a0df" providerId="ADAL" clId="{FDE066EC-6FFF-4A69-86A0-78197006CF91}" dt="2024-02-20T15:39:24.190" v="14" actId="478"/>
          <ac:picMkLst>
            <pc:docMk/>
            <pc:sldMk cId="4281471524" sldId="2134958655"/>
            <ac:picMk id="5" creationId="{20C7492D-5002-B4AA-7BF3-5EE8FAAE8050}"/>
          </ac:picMkLst>
        </pc:picChg>
        <pc:picChg chg="del">
          <ac:chgData name="Sean Gallagher" userId="577446c3-45ae-4097-b8f0-9d862fa3a0df" providerId="ADAL" clId="{FDE066EC-6FFF-4A69-86A0-78197006CF91}" dt="2024-02-20T15:39:02.711" v="8" actId="478"/>
          <ac:picMkLst>
            <pc:docMk/>
            <pc:sldMk cId="4281471524" sldId="2134958655"/>
            <ac:picMk id="7" creationId="{1C1423AC-48BF-7C0A-8C6E-4BD69C6E5D4D}"/>
          </ac:picMkLst>
        </pc:picChg>
        <pc:picChg chg="del">
          <ac:chgData name="Sean Gallagher" userId="577446c3-45ae-4097-b8f0-9d862fa3a0df" providerId="ADAL" clId="{FDE066EC-6FFF-4A69-86A0-78197006CF91}" dt="2024-02-20T15:39:03.681" v="9" actId="478"/>
          <ac:picMkLst>
            <pc:docMk/>
            <pc:sldMk cId="4281471524" sldId="2134958655"/>
            <ac:picMk id="10" creationId="{647CC2C8-B3D4-99E7-692B-6BB77515E38C}"/>
          </ac:picMkLst>
        </pc:picChg>
        <pc:picChg chg="add mod">
          <ac:chgData name="Sean Gallagher" userId="577446c3-45ae-4097-b8f0-9d862fa3a0df" providerId="ADAL" clId="{FDE066EC-6FFF-4A69-86A0-78197006CF91}" dt="2024-02-20T16:09:06.317" v="66" actId="1076"/>
          <ac:picMkLst>
            <pc:docMk/>
            <pc:sldMk cId="4281471524" sldId="2134958655"/>
            <ac:picMk id="11" creationId="{E0F10B58-07F8-9E0D-0589-4628F277CBD8}"/>
          </ac:picMkLst>
        </pc:picChg>
        <pc:picChg chg="del">
          <ac:chgData name="Sean Gallagher" userId="577446c3-45ae-4097-b8f0-9d862fa3a0df" providerId="ADAL" clId="{FDE066EC-6FFF-4A69-86A0-78197006CF91}" dt="2024-02-20T15:39:04.393" v="10" actId="478"/>
          <ac:picMkLst>
            <pc:docMk/>
            <pc:sldMk cId="4281471524" sldId="2134958655"/>
            <ac:picMk id="13" creationId="{D9A4DF02-66D9-4DCB-52B4-F7F35A9448BC}"/>
          </ac:picMkLst>
        </pc:picChg>
        <pc:picChg chg="add mod">
          <ac:chgData name="Sean Gallagher" userId="577446c3-45ae-4097-b8f0-9d862fa3a0df" providerId="ADAL" clId="{FDE066EC-6FFF-4A69-86A0-78197006CF91}" dt="2024-02-20T16:09:17.597" v="68" actId="1076"/>
          <ac:picMkLst>
            <pc:docMk/>
            <pc:sldMk cId="4281471524" sldId="2134958655"/>
            <ac:picMk id="14" creationId="{BBD86A75-F533-BD75-1E41-126CA07C4D57}"/>
          </ac:picMkLst>
        </pc:picChg>
        <pc:picChg chg="add mod">
          <ac:chgData name="Sean Gallagher" userId="577446c3-45ae-4097-b8f0-9d862fa3a0df" providerId="ADAL" clId="{FDE066EC-6FFF-4A69-86A0-78197006CF91}" dt="2024-02-20T16:20:52.717" v="108" actId="1076"/>
          <ac:picMkLst>
            <pc:docMk/>
            <pc:sldMk cId="4281471524" sldId="2134958655"/>
            <ac:picMk id="16" creationId="{3B8CB5F8-C4DB-5BC5-3E23-E47CE30CA9BF}"/>
          </ac:picMkLst>
        </pc:picChg>
        <pc:picChg chg="add mod">
          <ac:chgData name="Sean Gallagher" userId="577446c3-45ae-4097-b8f0-9d862fa3a0df" providerId="ADAL" clId="{FDE066EC-6FFF-4A69-86A0-78197006CF91}" dt="2024-02-20T16:08:40.091" v="61" actId="1076"/>
          <ac:picMkLst>
            <pc:docMk/>
            <pc:sldMk cId="4281471524" sldId="2134958655"/>
            <ac:picMk id="18" creationId="{792037F7-604F-4AD1-04CE-72F454A9617C}"/>
          </ac:picMkLst>
        </pc:picChg>
      </pc:sldChg>
      <pc:sldChg chg="modSp mod">
        <pc:chgData name="Sean Gallagher" userId="577446c3-45ae-4097-b8f0-9d862fa3a0df" providerId="ADAL" clId="{FDE066EC-6FFF-4A69-86A0-78197006CF91}" dt="2024-02-20T15:37:21.322" v="6" actId="113"/>
        <pc:sldMkLst>
          <pc:docMk/>
          <pc:sldMk cId="1250068653" sldId="2134958656"/>
        </pc:sldMkLst>
        <pc:spChg chg="mod">
          <ac:chgData name="Sean Gallagher" userId="577446c3-45ae-4097-b8f0-9d862fa3a0df" providerId="ADAL" clId="{FDE066EC-6FFF-4A69-86A0-78197006CF91}" dt="2024-02-20T15:37:21.322" v="6" actId="113"/>
          <ac:spMkLst>
            <pc:docMk/>
            <pc:sldMk cId="1250068653" sldId="2134958656"/>
            <ac:spMk id="2" creationId="{00000000-0000-0000-0000-000000000000}"/>
          </ac:spMkLst>
        </pc:spChg>
      </pc:sldChg>
      <pc:sldMasterChg chg="addSp delSp modSp mod">
        <pc:chgData name="Sean Gallagher" userId="577446c3-45ae-4097-b8f0-9d862fa3a0df" providerId="ADAL" clId="{FDE066EC-6FFF-4A69-86A0-78197006CF91}" dt="2024-02-20T16:22:15.407" v="111" actId="14100"/>
        <pc:sldMasterMkLst>
          <pc:docMk/>
          <pc:sldMasterMk cId="1070809925" sldId="2147483692"/>
        </pc:sldMasterMkLst>
        <pc:picChg chg="add mod">
          <ac:chgData name="Sean Gallagher" userId="577446c3-45ae-4097-b8f0-9d862fa3a0df" providerId="ADAL" clId="{FDE066EC-6FFF-4A69-86A0-78197006CF91}" dt="2024-02-20T16:22:15.407" v="111" actId="14100"/>
          <ac:picMkLst>
            <pc:docMk/>
            <pc:sldMasterMk cId="1070809925" sldId="2147483692"/>
            <ac:picMk id="2" creationId="{F376F353-A65A-00F4-DA4F-B7D786E92E94}"/>
          </ac:picMkLst>
        </pc:picChg>
        <pc:picChg chg="del">
          <ac:chgData name="Sean Gallagher" userId="577446c3-45ae-4097-b8f0-9d862fa3a0df" providerId="ADAL" clId="{FDE066EC-6FFF-4A69-86A0-78197006CF91}" dt="2024-02-20T16:22:12.930" v="109" actId="478"/>
          <ac:picMkLst>
            <pc:docMk/>
            <pc:sldMasterMk cId="1070809925" sldId="2147483692"/>
            <ac:picMk id="4" creationId="{7665FEAA-0E40-A946-651F-3736EF2A71F3}"/>
          </ac:picMkLst>
        </pc:picChg>
      </pc:sldMasterChg>
    </pc:docChg>
  </pc:docChgLst>
  <pc:docChgLst>
    <pc:chgData name="Sean Gallagher" userId="577446c3-45ae-4097-b8f0-9d862fa3a0df" providerId="ADAL" clId="{867E4846-6E6F-43F1-B485-23EACE05B714}"/>
    <pc:docChg chg="custSel addSld delSld modSld sldOrd modMainMaster">
      <pc:chgData name="Sean Gallagher" userId="577446c3-45ae-4097-b8f0-9d862fa3a0df" providerId="ADAL" clId="{867E4846-6E6F-43F1-B485-23EACE05B714}" dt="2024-01-18T13:52:20.108" v="43" actId="1076"/>
      <pc:docMkLst>
        <pc:docMk/>
      </pc:docMkLst>
      <pc:sldChg chg="add ord">
        <pc:chgData name="Sean Gallagher" userId="577446c3-45ae-4097-b8f0-9d862fa3a0df" providerId="ADAL" clId="{867E4846-6E6F-43F1-B485-23EACE05B714}" dt="2024-01-18T13:29:56.728" v="3"/>
        <pc:sldMkLst>
          <pc:docMk/>
          <pc:sldMk cId="264567940" sldId="272"/>
        </pc:sldMkLst>
      </pc:sldChg>
      <pc:sldChg chg="del">
        <pc:chgData name="Sean Gallagher" userId="577446c3-45ae-4097-b8f0-9d862fa3a0df" providerId="ADAL" clId="{867E4846-6E6F-43F1-B485-23EACE05B714}" dt="2024-01-18T13:29:48.164" v="0" actId="47"/>
        <pc:sldMkLst>
          <pc:docMk/>
          <pc:sldMk cId="1433664020" sldId="275"/>
        </pc:sldMkLst>
      </pc:sldChg>
      <pc:sldChg chg="modSp mod">
        <pc:chgData name="Sean Gallagher" userId="577446c3-45ae-4097-b8f0-9d862fa3a0df" providerId="ADAL" clId="{867E4846-6E6F-43F1-B485-23EACE05B714}" dt="2024-01-18T13:50:42.580" v="36" actId="113"/>
        <pc:sldMkLst>
          <pc:docMk/>
          <pc:sldMk cId="3111996064" sldId="2134958649"/>
        </pc:sldMkLst>
        <pc:spChg chg="mod">
          <ac:chgData name="Sean Gallagher" userId="577446c3-45ae-4097-b8f0-9d862fa3a0df" providerId="ADAL" clId="{867E4846-6E6F-43F1-B485-23EACE05B714}" dt="2024-01-18T13:50:42.580" v="36" actId="113"/>
          <ac:spMkLst>
            <pc:docMk/>
            <pc:sldMk cId="3111996064" sldId="2134958649"/>
            <ac:spMk id="3" creationId="{AE7567E0-9FB4-E2D0-F57B-56251EA6FA1C}"/>
          </ac:spMkLst>
        </pc:spChg>
      </pc:sldChg>
      <pc:sldChg chg="delSp">
        <pc:chgData name="Sean Gallagher" userId="577446c3-45ae-4097-b8f0-9d862fa3a0df" providerId="ADAL" clId="{867E4846-6E6F-43F1-B485-23EACE05B714}" dt="2024-01-18T13:34:09.040" v="34" actId="478"/>
        <pc:sldMkLst>
          <pc:docMk/>
          <pc:sldMk cId="548871033" sldId="2134958650"/>
        </pc:sldMkLst>
        <pc:picChg chg="del">
          <ac:chgData name="Sean Gallagher" userId="577446c3-45ae-4097-b8f0-9d862fa3a0df" providerId="ADAL" clId="{867E4846-6E6F-43F1-B485-23EACE05B714}" dt="2024-01-18T13:34:09.040" v="34" actId="478"/>
          <ac:picMkLst>
            <pc:docMk/>
            <pc:sldMk cId="548871033" sldId="2134958650"/>
            <ac:picMk id="1028" creationId="{26612A1E-FB08-1432-7096-8BABF27E9FEA}"/>
          </ac:picMkLst>
        </pc:picChg>
      </pc:sldChg>
      <pc:sldChg chg="addSp delSp modSp mod">
        <pc:chgData name="Sean Gallagher" userId="577446c3-45ae-4097-b8f0-9d862fa3a0df" providerId="ADAL" clId="{867E4846-6E6F-43F1-B485-23EACE05B714}" dt="2024-01-18T13:33:46.929" v="33" actId="14100"/>
        <pc:sldMkLst>
          <pc:docMk/>
          <pc:sldMk cId="4281471524" sldId="2134958655"/>
        </pc:sldMkLst>
        <pc:picChg chg="add mod">
          <ac:chgData name="Sean Gallagher" userId="577446c3-45ae-4097-b8f0-9d862fa3a0df" providerId="ADAL" clId="{867E4846-6E6F-43F1-B485-23EACE05B714}" dt="2024-01-18T13:33:13.132" v="27" actId="1076"/>
          <ac:picMkLst>
            <pc:docMk/>
            <pc:sldMk cId="4281471524" sldId="2134958655"/>
            <ac:picMk id="3" creationId="{C3560543-53B0-A2A1-EE15-E4251B7A2AF1}"/>
          </ac:picMkLst>
        </pc:picChg>
        <pc:picChg chg="del">
          <ac:chgData name="Sean Gallagher" userId="577446c3-45ae-4097-b8f0-9d862fa3a0df" providerId="ADAL" clId="{867E4846-6E6F-43F1-B485-23EACE05B714}" dt="2024-01-18T13:32:13.917" v="4" actId="478"/>
          <ac:picMkLst>
            <pc:docMk/>
            <pc:sldMk cId="4281471524" sldId="2134958655"/>
            <ac:picMk id="5" creationId="{62188F98-DBE7-0829-C1F9-297CAE3F3583}"/>
          </ac:picMkLst>
        </pc:picChg>
        <pc:picChg chg="add mod">
          <ac:chgData name="Sean Gallagher" userId="577446c3-45ae-4097-b8f0-9d862fa3a0df" providerId="ADAL" clId="{867E4846-6E6F-43F1-B485-23EACE05B714}" dt="2024-01-18T13:33:24.185" v="29" actId="1076"/>
          <ac:picMkLst>
            <pc:docMk/>
            <pc:sldMk cId="4281471524" sldId="2134958655"/>
            <ac:picMk id="7" creationId="{1C1423AC-48BF-7C0A-8C6E-4BD69C6E5D4D}"/>
          </ac:picMkLst>
        </pc:picChg>
        <pc:picChg chg="del">
          <ac:chgData name="Sean Gallagher" userId="577446c3-45ae-4097-b8f0-9d862fa3a0df" providerId="ADAL" clId="{867E4846-6E6F-43F1-B485-23EACE05B714}" dt="2024-01-18T13:32:15.013" v="5" actId="478"/>
          <ac:picMkLst>
            <pc:docMk/>
            <pc:sldMk cId="4281471524" sldId="2134958655"/>
            <ac:picMk id="9" creationId="{EE1C309A-1686-BBB7-A4DC-5C2886596D86}"/>
          </ac:picMkLst>
        </pc:picChg>
        <pc:picChg chg="add mod">
          <ac:chgData name="Sean Gallagher" userId="577446c3-45ae-4097-b8f0-9d862fa3a0df" providerId="ADAL" clId="{867E4846-6E6F-43F1-B485-23EACE05B714}" dt="2024-01-18T13:33:43.281" v="32" actId="1076"/>
          <ac:picMkLst>
            <pc:docMk/>
            <pc:sldMk cId="4281471524" sldId="2134958655"/>
            <ac:picMk id="10" creationId="{647CC2C8-B3D4-99E7-692B-6BB77515E38C}"/>
          </ac:picMkLst>
        </pc:picChg>
        <pc:picChg chg="del">
          <ac:chgData name="Sean Gallagher" userId="577446c3-45ae-4097-b8f0-9d862fa3a0df" providerId="ADAL" clId="{867E4846-6E6F-43F1-B485-23EACE05B714}" dt="2024-01-18T13:32:15.981" v="6" actId="478"/>
          <ac:picMkLst>
            <pc:docMk/>
            <pc:sldMk cId="4281471524" sldId="2134958655"/>
            <ac:picMk id="12" creationId="{A61DDC87-C2B3-CF17-EF76-BC4BD29D1714}"/>
          </ac:picMkLst>
        </pc:picChg>
        <pc:picChg chg="add mod">
          <ac:chgData name="Sean Gallagher" userId="577446c3-45ae-4097-b8f0-9d862fa3a0df" providerId="ADAL" clId="{867E4846-6E6F-43F1-B485-23EACE05B714}" dt="2024-01-18T13:33:46.929" v="33" actId="14100"/>
          <ac:picMkLst>
            <pc:docMk/>
            <pc:sldMk cId="4281471524" sldId="2134958655"/>
            <ac:picMk id="13" creationId="{D9A4DF02-66D9-4DCB-52B4-F7F35A9448BC}"/>
          </ac:picMkLst>
        </pc:picChg>
      </pc:sldChg>
      <pc:sldMasterChg chg="addSp delSp modSp mod">
        <pc:chgData name="Sean Gallagher" userId="577446c3-45ae-4097-b8f0-9d862fa3a0df" providerId="ADAL" clId="{867E4846-6E6F-43F1-B485-23EACE05B714}" dt="2024-01-18T13:52:20.108" v="43" actId="1076"/>
        <pc:sldMasterMkLst>
          <pc:docMk/>
          <pc:sldMasterMk cId="1070809925" sldId="2147483692"/>
        </pc:sldMasterMkLst>
        <pc:picChg chg="del">
          <ac:chgData name="Sean Gallagher" userId="577446c3-45ae-4097-b8f0-9d862fa3a0df" providerId="ADAL" clId="{867E4846-6E6F-43F1-B485-23EACE05B714}" dt="2024-01-18T13:52:07.450" v="37" actId="478"/>
          <ac:picMkLst>
            <pc:docMk/>
            <pc:sldMasterMk cId="1070809925" sldId="2147483692"/>
            <ac:picMk id="3" creationId="{280EC375-AE20-E274-8582-152A8C42E8D8}"/>
          </ac:picMkLst>
        </pc:picChg>
        <pc:picChg chg="add mod">
          <ac:chgData name="Sean Gallagher" userId="577446c3-45ae-4097-b8f0-9d862fa3a0df" providerId="ADAL" clId="{867E4846-6E6F-43F1-B485-23EACE05B714}" dt="2024-01-18T13:52:20.108" v="43" actId="1076"/>
          <ac:picMkLst>
            <pc:docMk/>
            <pc:sldMasterMk cId="1070809925" sldId="2147483692"/>
            <ac:picMk id="4" creationId="{7665FEAA-0E40-A946-651F-3736EF2A71F3}"/>
          </ac:picMkLst>
        </pc:picChg>
      </pc:sldMasterChg>
    </pc:docChg>
  </pc:docChgLst>
  <pc:docChgLst>
    <pc:chgData name="Sean Gallagher" userId="577446c3-45ae-4097-b8f0-9d862fa3a0df" providerId="ADAL" clId="{BBBCBC93-EF4A-48AE-9FAC-ADED5835D987}"/>
    <pc:docChg chg="addSld delSld modSld">
      <pc:chgData name="Sean Gallagher" userId="577446c3-45ae-4097-b8f0-9d862fa3a0df" providerId="ADAL" clId="{BBBCBC93-EF4A-48AE-9FAC-ADED5835D987}" dt="2024-05-06T18:29:05.046" v="1" actId="47"/>
      <pc:docMkLst>
        <pc:docMk/>
      </pc:docMkLst>
      <pc:sldChg chg="add">
        <pc:chgData name="Sean Gallagher" userId="577446c3-45ae-4097-b8f0-9d862fa3a0df" providerId="ADAL" clId="{BBBCBC93-EF4A-48AE-9FAC-ADED5835D987}" dt="2024-05-06T18:28:51.688" v="0"/>
        <pc:sldMkLst>
          <pc:docMk/>
          <pc:sldMk cId="863712566" sldId="256"/>
        </pc:sldMkLst>
      </pc:sldChg>
      <pc:sldChg chg="del">
        <pc:chgData name="Sean Gallagher" userId="577446c3-45ae-4097-b8f0-9d862fa3a0df" providerId="ADAL" clId="{BBBCBC93-EF4A-48AE-9FAC-ADED5835D987}" dt="2024-05-06T18:29:05.046" v="1" actId="47"/>
        <pc:sldMkLst>
          <pc:docMk/>
          <pc:sldMk cId="2710295584" sldId="2134958652"/>
        </pc:sldMkLst>
      </pc:sldChg>
    </pc:docChg>
  </pc:docChgLst>
  <pc:docChgLst>
    <pc:chgData name="Sean Gallagher" userId="577446c3-45ae-4097-b8f0-9d862fa3a0df" providerId="ADAL" clId="{30B4CCBD-CB37-4BE3-8DD4-A6DDFAE861FA}"/>
    <pc:docChg chg="undo custSel addSld delSld modSld modMainMaster">
      <pc:chgData name="Sean Gallagher" userId="577446c3-45ae-4097-b8f0-9d862fa3a0df" providerId="ADAL" clId="{30B4CCBD-CB37-4BE3-8DD4-A6DDFAE861FA}" dt="2024-05-09T15:40:39.491" v="44" actId="2085"/>
      <pc:docMkLst>
        <pc:docMk/>
      </pc:docMkLst>
      <pc:sldChg chg="add">
        <pc:chgData name="Sean Gallagher" userId="577446c3-45ae-4097-b8f0-9d862fa3a0df" providerId="ADAL" clId="{30B4CCBD-CB37-4BE3-8DD4-A6DDFAE861FA}" dt="2024-05-09T15:38:27.716" v="30"/>
        <pc:sldMkLst>
          <pc:docMk/>
          <pc:sldMk cId="0" sldId="262"/>
        </pc:sldMkLst>
      </pc:sldChg>
      <pc:sldChg chg="del">
        <pc:chgData name="Sean Gallagher" userId="577446c3-45ae-4097-b8f0-9d862fa3a0df" providerId="ADAL" clId="{30B4CCBD-CB37-4BE3-8DD4-A6DDFAE861FA}" dt="2024-05-09T15:33:44.908" v="1" actId="47"/>
        <pc:sldMkLst>
          <pc:docMk/>
          <pc:sldMk cId="3675703319" sldId="279"/>
        </pc:sldMkLst>
      </pc:sldChg>
      <pc:sldChg chg="add">
        <pc:chgData name="Sean Gallagher" userId="577446c3-45ae-4097-b8f0-9d862fa3a0df" providerId="ADAL" clId="{30B4CCBD-CB37-4BE3-8DD4-A6DDFAE861FA}" dt="2024-05-09T15:33:43.462" v="0"/>
        <pc:sldMkLst>
          <pc:docMk/>
          <pc:sldMk cId="3465688576" sldId="281"/>
        </pc:sldMkLst>
      </pc:sldChg>
      <pc:sldChg chg="modSp mod">
        <pc:chgData name="Sean Gallagher" userId="577446c3-45ae-4097-b8f0-9d862fa3a0df" providerId="ADAL" clId="{30B4CCBD-CB37-4BE3-8DD4-A6DDFAE861FA}" dt="2024-05-09T15:39:04.359" v="35" actId="113"/>
        <pc:sldMkLst>
          <pc:docMk/>
          <pc:sldMk cId="3111996064" sldId="2134958649"/>
        </pc:sldMkLst>
        <pc:spChg chg="mod">
          <ac:chgData name="Sean Gallagher" userId="577446c3-45ae-4097-b8f0-9d862fa3a0df" providerId="ADAL" clId="{30B4CCBD-CB37-4BE3-8DD4-A6DDFAE861FA}" dt="2024-05-09T15:39:04.359" v="35" actId="113"/>
          <ac:spMkLst>
            <pc:docMk/>
            <pc:sldMk cId="3111996064" sldId="2134958649"/>
            <ac:spMk id="3" creationId="{AE7567E0-9FB4-E2D0-F57B-56251EA6FA1C}"/>
          </ac:spMkLst>
        </pc:spChg>
      </pc:sldChg>
      <pc:sldChg chg="addSp del mod">
        <pc:chgData name="Sean Gallagher" userId="577446c3-45ae-4097-b8f0-9d862fa3a0df" providerId="ADAL" clId="{30B4CCBD-CB37-4BE3-8DD4-A6DDFAE861FA}" dt="2024-05-09T15:38:29.349" v="31" actId="47"/>
        <pc:sldMkLst>
          <pc:docMk/>
          <pc:sldMk cId="548871033" sldId="2134958650"/>
        </pc:sldMkLst>
        <pc:spChg chg="add">
          <ac:chgData name="Sean Gallagher" userId="577446c3-45ae-4097-b8f0-9d862fa3a0df" providerId="ADAL" clId="{30B4CCBD-CB37-4BE3-8DD4-A6DDFAE861FA}" dt="2024-05-09T15:36:56.151" v="28" actId="22"/>
          <ac:spMkLst>
            <pc:docMk/>
            <pc:sldMk cId="548871033" sldId="2134958650"/>
            <ac:spMk id="6" creationId="{2C5D2E24-7B82-1B19-A7A7-525A15234D73}"/>
          </ac:spMkLst>
        </pc:spChg>
        <pc:spChg chg="add">
          <ac:chgData name="Sean Gallagher" userId="577446c3-45ae-4097-b8f0-9d862fa3a0df" providerId="ADAL" clId="{30B4CCBD-CB37-4BE3-8DD4-A6DDFAE861FA}" dt="2024-05-09T15:37:06.837" v="29" actId="22"/>
          <ac:spMkLst>
            <pc:docMk/>
            <pc:sldMk cId="548871033" sldId="2134958650"/>
            <ac:spMk id="8" creationId="{D4A43FD4-00E5-128C-63D2-C126C78B5D6B}"/>
          </ac:spMkLst>
        </pc:spChg>
      </pc:sldChg>
      <pc:sldChg chg="addSp delSp modSp mod">
        <pc:chgData name="Sean Gallagher" userId="577446c3-45ae-4097-b8f0-9d862fa3a0df" providerId="ADAL" clId="{30B4CCBD-CB37-4BE3-8DD4-A6DDFAE861FA}" dt="2024-05-09T15:35:51.885" v="27" actId="1076"/>
        <pc:sldMkLst>
          <pc:docMk/>
          <pc:sldMk cId="4281471524" sldId="2134958655"/>
        </pc:sldMkLst>
        <pc:picChg chg="del">
          <ac:chgData name="Sean Gallagher" userId="577446c3-45ae-4097-b8f0-9d862fa3a0df" providerId="ADAL" clId="{30B4CCBD-CB37-4BE3-8DD4-A6DDFAE861FA}" dt="2024-05-09T15:35:02.799" v="5" actId="478"/>
          <ac:picMkLst>
            <pc:docMk/>
            <pc:sldMk cId="4281471524" sldId="2134958655"/>
            <ac:picMk id="3" creationId="{B3F74BC7-42D0-1FDA-778F-7867C05D337B}"/>
          </ac:picMkLst>
        </pc:picChg>
        <pc:picChg chg="add mod">
          <ac:chgData name="Sean Gallagher" userId="577446c3-45ae-4097-b8f0-9d862fa3a0df" providerId="ADAL" clId="{30B4CCBD-CB37-4BE3-8DD4-A6DDFAE861FA}" dt="2024-05-09T15:35:39.881" v="24" actId="1076"/>
          <ac:picMkLst>
            <pc:docMk/>
            <pc:sldMk cId="4281471524" sldId="2134958655"/>
            <ac:picMk id="5" creationId="{4F120467-7C20-D24B-7568-E4A6D7828E8D}"/>
          </ac:picMkLst>
        </pc:picChg>
        <pc:picChg chg="del">
          <ac:chgData name="Sean Gallagher" userId="577446c3-45ae-4097-b8f0-9d862fa3a0df" providerId="ADAL" clId="{30B4CCBD-CB37-4BE3-8DD4-A6DDFAE861FA}" dt="2024-05-09T15:35:03.271" v="6" actId="478"/>
          <ac:picMkLst>
            <pc:docMk/>
            <pc:sldMk cId="4281471524" sldId="2134958655"/>
            <ac:picMk id="7" creationId="{3BEAA07C-81C7-68EF-6A8A-874982EB39F5}"/>
          </ac:picMkLst>
        </pc:picChg>
        <pc:picChg chg="add mod modCrop">
          <ac:chgData name="Sean Gallagher" userId="577446c3-45ae-4097-b8f0-9d862fa3a0df" providerId="ADAL" clId="{30B4CCBD-CB37-4BE3-8DD4-A6DDFAE861FA}" dt="2024-05-09T15:35:51.885" v="27" actId="1076"/>
          <ac:picMkLst>
            <pc:docMk/>
            <pc:sldMk cId="4281471524" sldId="2134958655"/>
            <ac:picMk id="8" creationId="{D4E79016-F06D-05E1-FD87-B96F1C08FA48}"/>
          </ac:picMkLst>
        </pc:picChg>
      </pc:sldChg>
      <pc:sldChg chg="modSp mod">
        <pc:chgData name="Sean Gallagher" userId="577446c3-45ae-4097-b8f0-9d862fa3a0df" providerId="ADAL" clId="{30B4CCBD-CB37-4BE3-8DD4-A6DDFAE861FA}" dt="2024-05-09T15:34:24.446" v="4" actId="113"/>
        <pc:sldMkLst>
          <pc:docMk/>
          <pc:sldMk cId="1250068653" sldId="2134958656"/>
        </pc:sldMkLst>
        <pc:spChg chg="mod">
          <ac:chgData name="Sean Gallagher" userId="577446c3-45ae-4097-b8f0-9d862fa3a0df" providerId="ADAL" clId="{30B4CCBD-CB37-4BE3-8DD4-A6DDFAE861FA}" dt="2024-05-09T15:34:24.446" v="4" actId="113"/>
          <ac:spMkLst>
            <pc:docMk/>
            <pc:sldMk cId="1250068653" sldId="2134958656"/>
            <ac:spMk id="2" creationId="{00000000-0000-0000-0000-000000000000}"/>
          </ac:spMkLst>
        </pc:spChg>
      </pc:sldChg>
      <pc:sldMasterChg chg="addSp delSp modSp mod">
        <pc:chgData name="Sean Gallagher" userId="577446c3-45ae-4097-b8f0-9d862fa3a0df" providerId="ADAL" clId="{30B4CCBD-CB37-4BE3-8DD4-A6DDFAE861FA}" dt="2024-05-09T15:40:11.294" v="41" actId="1076"/>
        <pc:sldMasterMkLst>
          <pc:docMk/>
          <pc:sldMasterMk cId="1070809925" sldId="2147483692"/>
        </pc:sldMasterMkLst>
        <pc:picChg chg="del">
          <ac:chgData name="Sean Gallagher" userId="577446c3-45ae-4097-b8f0-9d862fa3a0df" providerId="ADAL" clId="{30B4CCBD-CB37-4BE3-8DD4-A6DDFAE861FA}" dt="2024-05-09T15:40:09.512" v="39" actId="478"/>
          <ac:picMkLst>
            <pc:docMk/>
            <pc:sldMasterMk cId="1070809925" sldId="2147483692"/>
            <ac:picMk id="2" creationId="{74D0F7A2-81A2-FAE4-3E41-D96010523B7D}"/>
          </ac:picMkLst>
        </pc:picChg>
        <pc:picChg chg="add mod">
          <ac:chgData name="Sean Gallagher" userId="577446c3-45ae-4097-b8f0-9d862fa3a0df" providerId="ADAL" clId="{30B4CCBD-CB37-4BE3-8DD4-A6DDFAE861FA}" dt="2024-05-09T15:40:11.294" v="41" actId="1076"/>
          <ac:picMkLst>
            <pc:docMk/>
            <pc:sldMasterMk cId="1070809925" sldId="2147483692"/>
            <ac:picMk id="3" creationId="{AA9BD4A4-66A2-3673-6CA0-33A2B6C54DAC}"/>
          </ac:picMkLst>
        </pc:picChg>
      </pc:sldMasterChg>
      <pc:sldMasterChg chg="modSldLayout">
        <pc:chgData name="Sean Gallagher" userId="577446c3-45ae-4097-b8f0-9d862fa3a0df" providerId="ADAL" clId="{30B4CCBD-CB37-4BE3-8DD4-A6DDFAE861FA}" dt="2024-05-09T15:40:39.491" v="44" actId="2085"/>
        <pc:sldMasterMkLst>
          <pc:docMk/>
          <pc:sldMasterMk cId="3260853605" sldId="2147483863"/>
        </pc:sldMasterMkLst>
        <pc:sldLayoutChg chg="addSp modSp mod">
          <pc:chgData name="Sean Gallagher" userId="577446c3-45ae-4097-b8f0-9d862fa3a0df" providerId="ADAL" clId="{30B4CCBD-CB37-4BE3-8DD4-A6DDFAE861FA}" dt="2024-05-09T15:40:39.491" v="44" actId="2085"/>
          <pc:sldLayoutMkLst>
            <pc:docMk/>
            <pc:sldMasterMk cId="3260853605" sldId="2147483863"/>
            <pc:sldLayoutMk cId="609842090" sldId="2147483873"/>
          </pc:sldLayoutMkLst>
          <pc:spChg chg="add mod">
            <ac:chgData name="Sean Gallagher" userId="577446c3-45ae-4097-b8f0-9d862fa3a0df" providerId="ADAL" clId="{30B4CCBD-CB37-4BE3-8DD4-A6DDFAE861FA}" dt="2024-05-09T15:40:39.491" v="44" actId="2085"/>
            <ac:spMkLst>
              <pc:docMk/>
              <pc:sldMasterMk cId="3260853605" sldId="2147483863"/>
              <pc:sldLayoutMk cId="609842090" sldId="2147483873"/>
              <ac:spMk id="2" creationId="{C5CF9316-BEB5-B9EF-2406-9D9EDF50C4DD}"/>
            </ac:spMkLst>
          </pc:spChg>
        </pc:sldLayoutChg>
      </pc:sldMasterChg>
      <pc:sldMasterChg chg="addSp delSp modSp mod">
        <pc:chgData name="Sean Gallagher" userId="577446c3-45ae-4097-b8f0-9d862fa3a0df" providerId="ADAL" clId="{30B4CCBD-CB37-4BE3-8DD4-A6DDFAE861FA}" dt="2024-05-09T15:39:27.589" v="38" actId="1076"/>
        <pc:sldMasterMkLst>
          <pc:docMk/>
          <pc:sldMasterMk cId="3729485463" sldId="2147483874"/>
        </pc:sldMasterMkLst>
        <pc:picChg chg="add mod">
          <ac:chgData name="Sean Gallagher" userId="577446c3-45ae-4097-b8f0-9d862fa3a0df" providerId="ADAL" clId="{30B4CCBD-CB37-4BE3-8DD4-A6DDFAE861FA}" dt="2024-05-09T15:39:27.589" v="38" actId="1076"/>
          <ac:picMkLst>
            <pc:docMk/>
            <pc:sldMasterMk cId="3729485463" sldId="2147483874"/>
            <ac:picMk id="2" creationId="{D07081E5-6C05-6D56-FC8B-38DB11F59739}"/>
          </ac:picMkLst>
        </pc:picChg>
        <pc:picChg chg="del">
          <ac:chgData name="Sean Gallagher" userId="577446c3-45ae-4097-b8f0-9d862fa3a0df" providerId="ADAL" clId="{30B4CCBD-CB37-4BE3-8DD4-A6DDFAE861FA}" dt="2024-05-09T15:39:25.533" v="36" actId="478"/>
          <ac:picMkLst>
            <pc:docMk/>
            <pc:sldMasterMk cId="3729485463" sldId="2147483874"/>
            <ac:picMk id="36" creationId="{00000000-0000-0000-0000-000000000000}"/>
          </ac:picMkLst>
        </pc:pic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7261D6C-14C5-3A44-8E3A-4D465321ED47}" type="datetimeFigureOut">
              <a:rPr lang="en-US" smtClean="0"/>
              <a:t>5/10/2024</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EA34FCD-2836-494B-A704-E09BD8379176}" type="slidenum">
              <a:rPr lang="en-US" smtClean="0"/>
              <a:t>‹#›</a:t>
            </a:fld>
            <a:endParaRPr lang="en-US" dirty="0"/>
          </a:p>
        </p:txBody>
      </p:sp>
    </p:spTree>
    <p:extLst>
      <p:ext uri="{BB962C8B-B14F-4D97-AF65-F5344CB8AC3E}">
        <p14:creationId xmlns:p14="http://schemas.microsoft.com/office/powerpoint/2010/main" val="16288014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1E80E03-59A3-E642-9C0D-E919381BCDC5}" type="datetimeFigureOut">
              <a:rPr lang="en-US" smtClean="0"/>
              <a:t>5/10/2024</a:t>
            </a:fld>
            <a:endParaRPr lang="en-US" dirty="0"/>
          </a:p>
        </p:txBody>
      </p:sp>
      <p:sp>
        <p:nvSpPr>
          <p:cNvPr id="4" name="Slide Image Placeholder 3"/>
          <p:cNvSpPr>
            <a:spLocks noGrp="1" noRot="1" noChangeAspect="1"/>
          </p:cNvSpPr>
          <p:nvPr>
            <p:ph type="sldImg" idx="2"/>
          </p:nvPr>
        </p:nvSpPr>
        <p:spPr>
          <a:xfrm>
            <a:off x="688975" y="1143000"/>
            <a:ext cx="548005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3A96171-A15F-AF4E-B7C5-E1453CAAF64D}" type="slidenum">
              <a:rPr lang="en-US" smtClean="0"/>
              <a:t>‹#›</a:t>
            </a:fld>
            <a:endParaRPr 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2</a:t>
            </a:fld>
            <a:endParaRPr lang="en-US" dirty="0"/>
          </a:p>
        </p:txBody>
      </p:sp>
    </p:spTree>
    <p:extLst>
      <p:ext uri="{BB962C8B-B14F-4D97-AF65-F5344CB8AC3E}">
        <p14:creationId xmlns:p14="http://schemas.microsoft.com/office/powerpoint/2010/main" val="26514909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FB59E-7BD9-05BC-3E9C-79D7CEFB0A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513AE1-CF9F-F594-06DD-91BA5A702A5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22E635-276F-FA25-A5DB-C7C7A96572F6}"/>
              </a:ext>
            </a:extLst>
          </p:cNvPr>
          <p:cNvSpPr>
            <a:spLocks noGrp="1"/>
          </p:cNvSpPr>
          <p:nvPr>
            <p:ph type="body" idx="1"/>
          </p:nvPr>
        </p:nvSpPr>
        <p:spPr/>
        <p:txBody>
          <a:bodyPr/>
          <a:lstStyle/>
          <a:p>
            <a:r>
              <a:rPr lang="en-US" dirty="0"/>
              <a:t>Fast forward 7 months later.</a:t>
            </a:r>
          </a:p>
          <a:p>
            <a:r>
              <a:rPr lang="en-US" dirty="0"/>
              <a:t>Hgb recovered spontaneously shortly after presentation, then dropped to 7 and remained in the 7-9 range despite correcting B vitamin deficiency.</a:t>
            </a:r>
          </a:p>
          <a:p>
            <a:r>
              <a:rPr lang="en-US" dirty="0"/>
              <a:t>She was </a:t>
            </a:r>
            <a:r>
              <a:rPr lang="en-US" dirty="0" err="1"/>
              <a:t>sx</a:t>
            </a:r>
            <a:r>
              <a:rPr lang="en-US" dirty="0"/>
              <a:t> when &lt;9 and required transfusions where you see red triangles, every 1-6 weeks.</a:t>
            </a:r>
          </a:p>
        </p:txBody>
      </p:sp>
      <p:sp>
        <p:nvSpPr>
          <p:cNvPr id="4" name="Slide Number Placeholder 3">
            <a:extLst>
              <a:ext uri="{FF2B5EF4-FFF2-40B4-BE49-F238E27FC236}">
                <a16:creationId xmlns:a16="http://schemas.microsoft.com/office/drawing/2014/main" id="{2287995E-E34B-5EC7-3CFC-38B7441DC4BD}"/>
              </a:ext>
            </a:extLst>
          </p:cNvPr>
          <p:cNvSpPr>
            <a:spLocks noGrp="1"/>
          </p:cNvSpPr>
          <p:nvPr>
            <p:ph type="sldNum" sz="quarter" idx="5"/>
          </p:nvPr>
        </p:nvSpPr>
        <p:spPr/>
        <p:txBody>
          <a:bodyPr/>
          <a:lstStyle/>
          <a:p>
            <a:fld id="{B3A96171-A15F-AF4E-B7C5-E1453CAAF64D}" type="slidenum">
              <a:rPr lang="en-US" smtClean="0"/>
              <a:t>63</a:t>
            </a:fld>
            <a:endParaRPr lang="en-US" dirty="0"/>
          </a:p>
        </p:txBody>
      </p:sp>
    </p:spTree>
    <p:extLst>
      <p:ext uri="{BB962C8B-B14F-4D97-AF65-F5344CB8AC3E}">
        <p14:creationId xmlns:p14="http://schemas.microsoft.com/office/powerpoint/2010/main" val="3028972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2E9C5E-5D98-7CE6-2FB6-BFA409643C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A624AD-B83B-CC83-8248-73656E5CE7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7CC829-CDD2-E4C9-C673-6BB08B0837F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CBBDCA0-0C2F-894D-D447-7C5B3E77BF2C}"/>
              </a:ext>
            </a:extLst>
          </p:cNvPr>
          <p:cNvSpPr>
            <a:spLocks noGrp="1"/>
          </p:cNvSpPr>
          <p:nvPr>
            <p:ph type="sldNum" sz="quarter" idx="5"/>
          </p:nvPr>
        </p:nvSpPr>
        <p:spPr/>
        <p:txBody>
          <a:bodyPr/>
          <a:lstStyle/>
          <a:p>
            <a:fld id="{B3A96171-A15F-AF4E-B7C5-E1453CAAF64D}" type="slidenum">
              <a:rPr lang="en-US" smtClean="0"/>
              <a:t>64</a:t>
            </a:fld>
            <a:endParaRPr lang="en-US" dirty="0"/>
          </a:p>
        </p:txBody>
      </p:sp>
    </p:spTree>
    <p:extLst>
      <p:ext uri="{BB962C8B-B14F-4D97-AF65-F5344CB8AC3E}">
        <p14:creationId xmlns:p14="http://schemas.microsoft.com/office/powerpoint/2010/main" val="36418419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A57860-96CE-F20B-0A06-042B22E381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C1063B-A6D8-F10A-C02E-0B37220FFE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09AC39-ECF7-5610-DDF5-296E8074AED9}"/>
              </a:ext>
            </a:extLst>
          </p:cNvPr>
          <p:cNvSpPr>
            <a:spLocks noGrp="1"/>
          </p:cNvSpPr>
          <p:nvPr>
            <p:ph type="body" idx="1"/>
          </p:nvPr>
        </p:nvSpPr>
        <p:spPr/>
        <p:txBody>
          <a:bodyPr/>
          <a:lstStyle/>
          <a:p>
            <a:r>
              <a:rPr lang="en-US" dirty="0">
                <a:effectLst/>
                <a:latin typeface="Arial" panose="020B0604020202020204" pitchFamily="34" charset="0"/>
              </a:rPr>
              <a:t>-Based on </a:t>
            </a:r>
            <a:r>
              <a:rPr lang="en-US" dirty="0" err="1">
                <a:effectLst/>
                <a:latin typeface="Arial" panose="020B0604020202020204" pitchFamily="34" charset="0"/>
              </a:rPr>
              <a:t>bmbx</a:t>
            </a:r>
            <a:r>
              <a:rPr lang="en-US" dirty="0">
                <a:effectLst/>
                <a:latin typeface="Arial" panose="020B0604020202020204" pitchFamily="34" charset="0"/>
              </a:rPr>
              <a:t>, she has a dx of MDS.</a:t>
            </a:r>
          </a:p>
          <a:p>
            <a:r>
              <a:rPr lang="en-US" dirty="0">
                <a:effectLst/>
                <a:latin typeface="Arial" panose="020B0604020202020204" pitchFamily="34" charset="0"/>
              </a:rPr>
              <a:t>-Our most recent classification system is WHO 2022, which incorporates both morphologic and molecular features.</a:t>
            </a:r>
          </a:p>
          <a:p>
            <a:r>
              <a:rPr lang="en-US" dirty="0">
                <a:effectLst/>
                <a:latin typeface="Arial" panose="020B0604020202020204" pitchFamily="34" charset="0"/>
              </a:rPr>
              <a:t>-In this system, she actually has two dx: morphologic …. and molecular …</a:t>
            </a:r>
          </a:p>
          <a:p>
            <a:r>
              <a:rPr lang="en-US" dirty="0">
                <a:effectLst/>
                <a:latin typeface="Arial" panose="020B0604020202020204" pitchFamily="34" charset="0"/>
              </a:rPr>
              <a:t>-If you’re wondering how she got a molecular diagnosis with a negative NGS panel, you would be right to be confused.</a:t>
            </a:r>
          </a:p>
          <a:p>
            <a:r>
              <a:rPr lang="en-US" dirty="0">
                <a:effectLst/>
                <a:latin typeface="Arial" panose="020B0604020202020204" pitchFamily="34" charset="0"/>
              </a:rPr>
              <a:t>-It turns out that &gt;90% of pts with RS also have an SF3B1 mutation. </a:t>
            </a:r>
          </a:p>
          <a:p>
            <a:r>
              <a:rPr lang="en-US" dirty="0">
                <a:effectLst/>
                <a:latin typeface="Arial" panose="020B0604020202020204" pitchFamily="34" charset="0"/>
              </a:rPr>
              <a:t>-So what the WHO has done is to allow the morphologic criteria of &gt;15% RS to substitute for the molecular criteria in order to acknowledge their shared biology between these two features.</a:t>
            </a:r>
          </a:p>
        </p:txBody>
      </p:sp>
      <p:sp>
        <p:nvSpPr>
          <p:cNvPr id="4" name="Slide Number Placeholder 3">
            <a:extLst>
              <a:ext uri="{FF2B5EF4-FFF2-40B4-BE49-F238E27FC236}">
                <a16:creationId xmlns:a16="http://schemas.microsoft.com/office/drawing/2014/main" id="{BF3B766E-BB18-FBF4-E380-868ACA6FA397}"/>
              </a:ext>
            </a:extLst>
          </p:cNvPr>
          <p:cNvSpPr>
            <a:spLocks noGrp="1"/>
          </p:cNvSpPr>
          <p:nvPr>
            <p:ph type="sldNum" sz="quarter" idx="5"/>
          </p:nvPr>
        </p:nvSpPr>
        <p:spPr/>
        <p:txBody>
          <a:bodyPr/>
          <a:lstStyle/>
          <a:p>
            <a:fld id="{B3A96171-A15F-AF4E-B7C5-E1453CAAF64D}" type="slidenum">
              <a:rPr lang="en-US" smtClean="0"/>
              <a:t>65</a:t>
            </a:fld>
            <a:endParaRPr lang="en-US" dirty="0"/>
          </a:p>
        </p:txBody>
      </p:sp>
    </p:spTree>
    <p:extLst>
      <p:ext uri="{BB962C8B-B14F-4D97-AF65-F5344CB8AC3E}">
        <p14:creationId xmlns:p14="http://schemas.microsoft.com/office/powerpoint/2010/main" val="25880493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look a little more closely at these two classification systems, here you can see how WHO 2016 on the left translates to WHO 2022 on the right.</a:t>
            </a:r>
          </a:p>
          <a:p>
            <a:r>
              <a:rPr lang="en-US" dirty="0"/>
              <a:t>-What has happened is that some of our familiar classifications like MDS-EB1, MDS-EB2, MDS-MLD… have all been parsed out into either molecular categories or more simplified morphologic categories.</a:t>
            </a:r>
          </a:p>
          <a:p>
            <a:r>
              <a:rPr lang="en-US" dirty="0"/>
              <a:t>-Molecular groups: SF3B1 and TP53</a:t>
            </a:r>
          </a:p>
          <a:p>
            <a:r>
              <a:rPr lang="en-US" dirty="0"/>
              <a:t>-Morphologic groups: stratified based on degree of blasts, hypoplasia and fibrosis</a:t>
            </a:r>
          </a:p>
        </p:txBody>
      </p:sp>
      <p:sp>
        <p:nvSpPr>
          <p:cNvPr id="4" name="Slide Number Placeholder 3"/>
          <p:cNvSpPr>
            <a:spLocks noGrp="1"/>
          </p:cNvSpPr>
          <p:nvPr>
            <p:ph type="sldNum" sz="quarter" idx="5"/>
          </p:nvPr>
        </p:nvSpPr>
        <p:spPr/>
        <p:txBody>
          <a:bodyPr/>
          <a:lstStyle/>
          <a:p>
            <a:fld id="{B3A96171-A15F-AF4E-B7C5-E1453CAAF64D}" type="slidenum">
              <a:rPr lang="en-US" smtClean="0"/>
              <a:t>66</a:t>
            </a:fld>
            <a:endParaRPr lang="en-US" dirty="0"/>
          </a:p>
        </p:txBody>
      </p:sp>
    </p:spTree>
    <p:extLst>
      <p:ext uri="{BB962C8B-B14F-4D97-AF65-F5344CB8AC3E}">
        <p14:creationId xmlns:p14="http://schemas.microsoft.com/office/powerpoint/2010/main" val="16730762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eason for this new classification system is to put more emphasis on the prognostic implication of certain molecular subtypes.</a:t>
            </a:r>
          </a:p>
          <a:p>
            <a:r>
              <a:rPr lang="en-US" dirty="0"/>
              <a:t>-Forest plot that looks at the </a:t>
            </a:r>
            <a:r>
              <a:rPr lang="en-US" dirty="0" err="1"/>
              <a:t>assoc</a:t>
            </a:r>
            <a:r>
              <a:rPr lang="en-US" dirty="0"/>
              <a:t> between common mutations and disease severity.</a:t>
            </a:r>
          </a:p>
          <a:p>
            <a:r>
              <a:rPr lang="en-US" dirty="0"/>
              <a:t>-Red: bad players - RUNX1, ASXL2, SRSF2, TP53</a:t>
            </a:r>
          </a:p>
          <a:p>
            <a:r>
              <a:rPr lang="en-US" dirty="0"/>
              <a:t>-Blue: only SF3B1 – and only mutation to be </a:t>
            </a:r>
            <a:r>
              <a:rPr lang="en-US" dirty="0" err="1"/>
              <a:t>assoc</a:t>
            </a:r>
            <a:r>
              <a:rPr lang="en-US" dirty="0"/>
              <a:t> with low risk disease.</a:t>
            </a:r>
          </a:p>
          <a:p>
            <a:endParaRPr lang="en-US" dirty="0"/>
          </a:p>
          <a:p>
            <a:r>
              <a:rPr lang="en-US" dirty="0"/>
              <a:t>strong correlation between molecular subtype and prognosis for some mutations </a:t>
            </a:r>
          </a:p>
        </p:txBody>
      </p:sp>
      <p:sp>
        <p:nvSpPr>
          <p:cNvPr id="4" name="Slide Number Placeholder 3"/>
          <p:cNvSpPr>
            <a:spLocks noGrp="1"/>
          </p:cNvSpPr>
          <p:nvPr>
            <p:ph type="sldNum" sz="quarter" idx="5"/>
          </p:nvPr>
        </p:nvSpPr>
        <p:spPr/>
        <p:txBody>
          <a:bodyPr/>
          <a:lstStyle/>
          <a:p>
            <a:fld id="{B3A96171-A15F-AF4E-B7C5-E1453CAAF64D}" type="slidenum">
              <a:rPr lang="en-US" smtClean="0"/>
              <a:t>67</a:t>
            </a:fld>
            <a:endParaRPr lang="en-US" dirty="0"/>
          </a:p>
        </p:txBody>
      </p:sp>
    </p:spTree>
    <p:extLst>
      <p:ext uri="{BB962C8B-B14F-4D97-AF65-F5344CB8AC3E}">
        <p14:creationId xmlns:p14="http://schemas.microsoft.com/office/powerpoint/2010/main" val="3678321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we have a diagnosis, the next step is to risk stratify.</a:t>
            </a:r>
          </a:p>
          <a:p>
            <a:r>
              <a:rPr lang="en-US" dirty="0"/>
              <a:t>-Two systems to do this: IPSS-R and the newer IPSS-M.</a:t>
            </a:r>
          </a:p>
          <a:p>
            <a:r>
              <a:rPr lang="en-US" dirty="0"/>
              <a:t>-Won’t belabor the point here after Dr. Sehgal’s discussion, other than to say that the IPSS-M takes into account most of the same characteristics as IPSS-R and adds molecular features to its model.</a:t>
            </a:r>
          </a:p>
          <a:p>
            <a:r>
              <a:rPr lang="en-US" dirty="0"/>
              <a:t>-Our patient is low risk by both stratification systems, with comparable </a:t>
            </a:r>
            <a:r>
              <a:rPr lang="en-US" dirty="0" err="1"/>
              <a:t>mOS.</a:t>
            </a:r>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68</a:t>
            </a:fld>
            <a:endParaRPr lang="en-US" dirty="0"/>
          </a:p>
        </p:txBody>
      </p:sp>
    </p:spTree>
    <p:extLst>
      <p:ext uri="{BB962C8B-B14F-4D97-AF65-F5344CB8AC3E}">
        <p14:creationId xmlns:p14="http://schemas.microsoft.com/office/powerpoint/2010/main" val="7556825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now that we have a diagnosis and a risk stratification, we can start to think about treatment.</a:t>
            </a:r>
          </a:p>
          <a:p>
            <a:r>
              <a:rPr lang="en-US" dirty="0"/>
              <a:t>-Treatment is indicated for anemia in low risk MDS in pts who have </a:t>
            </a:r>
            <a:r>
              <a:rPr lang="en-US" dirty="0" err="1"/>
              <a:t>hgb</a:t>
            </a:r>
            <a:r>
              <a:rPr lang="en-US" dirty="0"/>
              <a:t> &lt;10 who are symptomatic and may or may not be transfusion dependent.</a:t>
            </a:r>
          </a:p>
          <a:p>
            <a:r>
              <a:rPr lang="en-US" dirty="0"/>
              <a:t>-In the frontline setting, our options are ESA or luspatercept.</a:t>
            </a:r>
          </a:p>
        </p:txBody>
      </p:sp>
      <p:sp>
        <p:nvSpPr>
          <p:cNvPr id="4" name="Slide Number Placeholder 3"/>
          <p:cNvSpPr>
            <a:spLocks noGrp="1"/>
          </p:cNvSpPr>
          <p:nvPr>
            <p:ph type="sldNum" sz="quarter" idx="5"/>
          </p:nvPr>
        </p:nvSpPr>
        <p:spPr/>
        <p:txBody>
          <a:bodyPr/>
          <a:lstStyle/>
          <a:p>
            <a:fld id="{B3A96171-A15F-AF4E-B7C5-E1453CAAF64D}" type="slidenum">
              <a:rPr lang="en-US" smtClean="0"/>
              <a:t>69</a:t>
            </a:fld>
            <a:endParaRPr lang="en-US" dirty="0"/>
          </a:p>
        </p:txBody>
      </p:sp>
    </p:spTree>
    <p:extLst>
      <p:ext uri="{BB962C8B-B14F-4D97-AF65-F5344CB8AC3E}">
        <p14:creationId xmlns:p14="http://schemas.microsoft.com/office/powerpoint/2010/main" val="36220304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956EB2-5C48-F67A-9C7D-F75C8A4C29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D6D0F56-673B-695A-E646-CB0AFB4DE7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E0BCF3-1EE4-839B-3BEF-21FC316EDCCE}"/>
              </a:ext>
            </a:extLst>
          </p:cNvPr>
          <p:cNvSpPr>
            <a:spLocks noGrp="1"/>
          </p:cNvSpPr>
          <p:nvPr>
            <p:ph type="body" idx="1"/>
          </p:nvPr>
        </p:nvSpPr>
        <p:spPr/>
        <p:txBody>
          <a:bodyPr/>
          <a:lstStyle/>
          <a:p>
            <a:r>
              <a:rPr lang="en-US" dirty="0"/>
              <a:t>We can use our case as an illustration of a typical response to ESAs and luspatercept.</a:t>
            </a:r>
          </a:p>
          <a:p>
            <a:endParaRPr lang="en-US" dirty="0"/>
          </a:p>
          <a:p>
            <a:r>
              <a:rPr lang="en-US" dirty="0"/>
              <a:t>Where we left off back in May 2023, 1 year ago, she was started on </a:t>
            </a:r>
            <a:r>
              <a:rPr lang="en-US" dirty="0" err="1"/>
              <a:t>epo</a:t>
            </a:r>
            <a:r>
              <a:rPr lang="en-US" dirty="0"/>
              <a:t>.</a:t>
            </a:r>
          </a:p>
          <a:p>
            <a:r>
              <a:rPr lang="en-US" dirty="0"/>
              <a:t>She was on this for 3 months, and there was no improvement in </a:t>
            </a:r>
            <a:r>
              <a:rPr lang="en-US" dirty="0" err="1"/>
              <a:t>hgb</a:t>
            </a:r>
            <a:r>
              <a:rPr lang="en-US" dirty="0"/>
              <a:t>…</a:t>
            </a:r>
          </a:p>
        </p:txBody>
      </p:sp>
      <p:sp>
        <p:nvSpPr>
          <p:cNvPr id="4" name="Slide Number Placeholder 3">
            <a:extLst>
              <a:ext uri="{FF2B5EF4-FFF2-40B4-BE49-F238E27FC236}">
                <a16:creationId xmlns:a16="http://schemas.microsoft.com/office/drawing/2014/main" id="{28F56C4E-2348-5F7C-24A4-D37AA948D7A3}"/>
              </a:ext>
            </a:extLst>
          </p:cNvPr>
          <p:cNvSpPr>
            <a:spLocks noGrp="1"/>
          </p:cNvSpPr>
          <p:nvPr>
            <p:ph type="sldNum" sz="quarter" idx="5"/>
          </p:nvPr>
        </p:nvSpPr>
        <p:spPr/>
        <p:txBody>
          <a:bodyPr/>
          <a:lstStyle/>
          <a:p>
            <a:fld id="{B3A96171-A15F-AF4E-B7C5-E1453CAAF64D}" type="slidenum">
              <a:rPr lang="en-US" smtClean="0"/>
              <a:t>70</a:t>
            </a:fld>
            <a:endParaRPr lang="en-US" dirty="0"/>
          </a:p>
        </p:txBody>
      </p:sp>
    </p:spTree>
    <p:extLst>
      <p:ext uri="{BB962C8B-B14F-4D97-AF65-F5344CB8AC3E}">
        <p14:creationId xmlns:p14="http://schemas.microsoft.com/office/powerpoint/2010/main" val="29705678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AD1494-A867-B0F9-6EF2-BAF4412CF5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F5D4B4-7665-0325-9C6D-65FCDA703F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9A0D66-36C3-194D-A0B5-EFB589658FC1}"/>
              </a:ext>
            </a:extLst>
          </p:cNvPr>
          <p:cNvSpPr>
            <a:spLocks noGrp="1"/>
          </p:cNvSpPr>
          <p:nvPr>
            <p:ph type="body" idx="1"/>
          </p:nvPr>
        </p:nvSpPr>
        <p:spPr/>
        <p:txBody>
          <a:bodyPr/>
          <a:lstStyle/>
          <a:p>
            <a:r>
              <a:rPr lang="en-US" dirty="0"/>
              <a:t>Hgb trend since starting treatment 1 year ago.</a:t>
            </a:r>
          </a:p>
          <a:p>
            <a:r>
              <a:rPr lang="en-US" dirty="0"/>
              <a:t>No improvement on ESA, then since starting luspatercept, </a:t>
            </a:r>
            <a:r>
              <a:rPr lang="en-US" dirty="0" err="1"/>
              <a:t>hgb</a:t>
            </a:r>
            <a:r>
              <a:rPr lang="en-US" dirty="0"/>
              <a:t> has improved to 12-13 range.</a:t>
            </a:r>
          </a:p>
        </p:txBody>
      </p:sp>
      <p:sp>
        <p:nvSpPr>
          <p:cNvPr id="4" name="Slide Number Placeholder 3">
            <a:extLst>
              <a:ext uri="{FF2B5EF4-FFF2-40B4-BE49-F238E27FC236}">
                <a16:creationId xmlns:a16="http://schemas.microsoft.com/office/drawing/2014/main" id="{84600F9C-53AB-6249-2FC6-0CFC9C6C361A}"/>
              </a:ext>
            </a:extLst>
          </p:cNvPr>
          <p:cNvSpPr>
            <a:spLocks noGrp="1"/>
          </p:cNvSpPr>
          <p:nvPr>
            <p:ph type="sldNum" sz="quarter" idx="5"/>
          </p:nvPr>
        </p:nvSpPr>
        <p:spPr/>
        <p:txBody>
          <a:bodyPr/>
          <a:lstStyle/>
          <a:p>
            <a:fld id="{B3A96171-A15F-AF4E-B7C5-E1453CAAF64D}" type="slidenum">
              <a:rPr lang="en-US" smtClean="0"/>
              <a:t>71</a:t>
            </a:fld>
            <a:endParaRPr lang="en-US" dirty="0"/>
          </a:p>
        </p:txBody>
      </p:sp>
    </p:spTree>
    <p:extLst>
      <p:ext uri="{BB962C8B-B14F-4D97-AF65-F5344CB8AC3E}">
        <p14:creationId xmlns:p14="http://schemas.microsoft.com/office/powerpoint/2010/main" val="13607042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last few minutes, I want to talk about how we decide between frontline ESA or luspatercept.</a:t>
            </a:r>
          </a:p>
        </p:txBody>
      </p:sp>
      <p:sp>
        <p:nvSpPr>
          <p:cNvPr id="4" name="Slide Number Placeholder 3"/>
          <p:cNvSpPr>
            <a:spLocks noGrp="1"/>
          </p:cNvSpPr>
          <p:nvPr>
            <p:ph type="sldNum" sz="quarter" idx="5"/>
          </p:nvPr>
        </p:nvSpPr>
        <p:spPr/>
        <p:txBody>
          <a:bodyPr/>
          <a:lstStyle/>
          <a:p>
            <a:fld id="{B3A96171-A15F-AF4E-B7C5-E1453CAAF64D}" type="slidenum">
              <a:rPr lang="en-US" smtClean="0"/>
              <a:t>72</a:t>
            </a:fld>
            <a:endParaRPr lang="en-US" dirty="0"/>
          </a:p>
        </p:txBody>
      </p:sp>
    </p:spTree>
    <p:extLst>
      <p:ext uri="{BB962C8B-B14F-4D97-AF65-F5344CB8AC3E}">
        <p14:creationId xmlns:p14="http://schemas.microsoft.com/office/powerpoint/2010/main" val="13298061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9"/>
        <p:cNvGrpSpPr/>
        <p:nvPr/>
      </p:nvGrpSpPr>
      <p:grpSpPr>
        <a:xfrm>
          <a:off x="0" y="0"/>
          <a:ext cx="0" cy="0"/>
          <a:chOff x="0" y="0"/>
          <a:chExt cx="0" cy="0"/>
        </a:xfrm>
      </p:grpSpPr>
      <p:sp>
        <p:nvSpPr>
          <p:cNvPr id="360" name="Google Shape;360;p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61" name="Google Shape;361;p7:notes"/>
          <p:cNvSpPr>
            <a:spLocks noGrp="1" noRot="1" noChangeAspect="1"/>
          </p:cNvSpPr>
          <p:nvPr>
            <p:ph type="sldImg" idx="2"/>
          </p:nvPr>
        </p:nvSpPr>
        <p:spPr>
          <a:xfrm>
            <a:off x="688975" y="1143000"/>
            <a:ext cx="548005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817FB6-643D-A9AD-5389-1026353270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CE0DFA-6F5A-7E0A-1BAC-29B3F1B692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503DEF-1B00-DE12-45DF-99F9B3E94FD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ntil recently, ESAs were our SOC for first line treatment of anemia in low risk MD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ut, as we saw with our patient, not all patients respond…</a:t>
            </a:r>
          </a:p>
        </p:txBody>
      </p:sp>
      <p:sp>
        <p:nvSpPr>
          <p:cNvPr id="4" name="Slide Number Placeholder 3">
            <a:extLst>
              <a:ext uri="{FF2B5EF4-FFF2-40B4-BE49-F238E27FC236}">
                <a16:creationId xmlns:a16="http://schemas.microsoft.com/office/drawing/2014/main" id="{08F744AB-71EF-EC99-2E40-2203109184EB}"/>
              </a:ext>
            </a:extLst>
          </p:cNvPr>
          <p:cNvSpPr>
            <a:spLocks noGrp="1"/>
          </p:cNvSpPr>
          <p:nvPr>
            <p:ph type="sldNum" sz="quarter" idx="5"/>
          </p:nvPr>
        </p:nvSpPr>
        <p:spPr/>
        <p:txBody>
          <a:bodyPr/>
          <a:lstStyle/>
          <a:p>
            <a:fld id="{B3A96171-A15F-AF4E-B7C5-E1453CAAF64D}" type="slidenum">
              <a:rPr lang="en-US" smtClean="0"/>
              <a:t>73</a:t>
            </a:fld>
            <a:endParaRPr lang="en-US" dirty="0"/>
          </a:p>
        </p:txBody>
      </p:sp>
    </p:spTree>
    <p:extLst>
      <p:ext uri="{BB962C8B-B14F-4D97-AF65-F5344CB8AC3E}">
        <p14:creationId xmlns:p14="http://schemas.microsoft.com/office/powerpoint/2010/main" val="4645542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084E2D-B80F-88BB-4608-7911CCD889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30D0A7-2B6A-3434-00C8-34237B21F4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ADAF09-42D0-4C8B-3EE7-13A5AEA94E4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cent COMMANDS Trial was pivotal in establishing a role for frontline luspatercep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imary was a composite outcom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TI defined as 12 weeks</a:t>
            </a:r>
          </a:p>
          <a:p>
            <a:endParaRPr lang="en-US" dirty="0">
              <a:effectLst/>
              <a:latin typeface="Arial" panose="020B0604020202020204" pitchFamily="34" charset="0"/>
            </a:endParaRPr>
          </a:p>
        </p:txBody>
      </p:sp>
      <p:sp>
        <p:nvSpPr>
          <p:cNvPr id="4" name="Slide Number Placeholder 3">
            <a:extLst>
              <a:ext uri="{FF2B5EF4-FFF2-40B4-BE49-F238E27FC236}">
                <a16:creationId xmlns:a16="http://schemas.microsoft.com/office/drawing/2014/main" id="{CD2D01A3-3FBB-EEB5-8F7A-4F36C6A98EBE}"/>
              </a:ext>
            </a:extLst>
          </p:cNvPr>
          <p:cNvSpPr>
            <a:spLocks noGrp="1"/>
          </p:cNvSpPr>
          <p:nvPr>
            <p:ph type="sldNum" sz="quarter" idx="5"/>
          </p:nvPr>
        </p:nvSpPr>
        <p:spPr/>
        <p:txBody>
          <a:bodyPr/>
          <a:lstStyle/>
          <a:p>
            <a:fld id="{B3A96171-A15F-AF4E-B7C5-E1453CAAF64D}" type="slidenum">
              <a:rPr lang="en-US" smtClean="0"/>
              <a:t>74</a:t>
            </a:fld>
            <a:endParaRPr lang="en-US" dirty="0"/>
          </a:p>
        </p:txBody>
      </p:sp>
    </p:spTree>
    <p:extLst>
      <p:ext uri="{BB962C8B-B14F-4D97-AF65-F5344CB8AC3E}">
        <p14:creationId xmlns:p14="http://schemas.microsoft.com/office/powerpoint/2010/main" val="37524178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FEB24B-A3E9-4707-BD57-CD511D943F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47482E-C6B1-DE26-71EC-EB680651BB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15FD73-9A81-6F7A-92AC-B56DA98B66E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ransfusion independence rates upwards of 65%</a:t>
            </a:r>
          </a:p>
          <a:p>
            <a:endParaRPr lang="en-US" dirty="0">
              <a:effectLst/>
              <a:latin typeface="Arial" panose="020B0604020202020204" pitchFamily="34" charset="0"/>
            </a:endParaRPr>
          </a:p>
        </p:txBody>
      </p:sp>
      <p:sp>
        <p:nvSpPr>
          <p:cNvPr id="4" name="Slide Number Placeholder 3">
            <a:extLst>
              <a:ext uri="{FF2B5EF4-FFF2-40B4-BE49-F238E27FC236}">
                <a16:creationId xmlns:a16="http://schemas.microsoft.com/office/drawing/2014/main" id="{0EB186A3-8417-E97E-F132-C8D2FFDE31C1}"/>
              </a:ext>
            </a:extLst>
          </p:cNvPr>
          <p:cNvSpPr>
            <a:spLocks noGrp="1"/>
          </p:cNvSpPr>
          <p:nvPr>
            <p:ph type="sldNum" sz="quarter" idx="5"/>
          </p:nvPr>
        </p:nvSpPr>
        <p:spPr/>
        <p:txBody>
          <a:bodyPr/>
          <a:lstStyle/>
          <a:p>
            <a:fld id="{B3A96171-A15F-AF4E-B7C5-E1453CAAF64D}" type="slidenum">
              <a:rPr lang="en-US" smtClean="0"/>
              <a:t>75</a:t>
            </a:fld>
            <a:endParaRPr lang="en-US" dirty="0"/>
          </a:p>
        </p:txBody>
      </p:sp>
    </p:spTree>
    <p:extLst>
      <p:ext uri="{BB962C8B-B14F-4D97-AF65-F5344CB8AC3E}">
        <p14:creationId xmlns:p14="http://schemas.microsoft.com/office/powerpoint/2010/main" val="13166474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2EB2AC-F47F-88C0-0E35-B8827DC523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CC0EE0-FDDF-7702-11FE-1C17FAEB6A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1C5314-9187-3C65-3BFE-CD6C26106ECD}"/>
              </a:ext>
            </a:extLst>
          </p:cNvPr>
          <p:cNvSpPr>
            <a:spLocks noGrp="1"/>
          </p:cNvSpPr>
          <p:nvPr>
            <p:ph type="body" idx="1"/>
          </p:nvPr>
        </p:nvSpPr>
        <p:spPr/>
        <p:txBody>
          <a:bodyPr/>
          <a:lstStyle/>
          <a:p>
            <a:r>
              <a:rPr lang="en-US" dirty="0">
                <a:effectLst/>
                <a:latin typeface="Arial" panose="020B0604020202020204" pitchFamily="34" charset="0"/>
              </a:rPr>
              <a:t>...so our patient was a prime example of someone likely to do very well with luspatercept given her high % of ring sideroblasts.</a:t>
            </a:r>
          </a:p>
          <a:p>
            <a:endParaRPr lang="en-US" dirty="0">
              <a:effectLst/>
              <a:latin typeface="Arial" panose="020B0604020202020204" pitchFamily="34" charset="0"/>
            </a:endParaRPr>
          </a:p>
          <a:p>
            <a:r>
              <a:rPr lang="en-US" dirty="0">
                <a:effectLst/>
                <a:latin typeface="Arial" panose="020B0604020202020204" pitchFamily="34" charset="0"/>
              </a:rPr>
              <a:t>-important point to counsel our patients on, particularly if they’re struggling with coping with a difficult diagnosis like MDS, as our patient was.</a:t>
            </a:r>
          </a:p>
          <a:p>
            <a:endParaRPr lang="en-US" dirty="0">
              <a:effectLst/>
              <a:latin typeface="Arial" panose="020B0604020202020204" pitchFamily="34" charset="0"/>
            </a:endParaRPr>
          </a:p>
          <a:p>
            <a:r>
              <a:rPr lang="en-US" dirty="0">
                <a:effectLst/>
                <a:latin typeface="Arial" panose="020B0604020202020204" pitchFamily="34" charset="0"/>
              </a:rPr>
              <a:t>-Lastly, I would encourage you to consider a broad differential for diagnoses like sideroblastic anemias. And if you find multiple etiologies as we did in our case, fix the modifiable causes as well as treat the MDS to give your patients the best chance overall at responding to treatment.</a:t>
            </a:r>
          </a:p>
        </p:txBody>
      </p:sp>
      <p:sp>
        <p:nvSpPr>
          <p:cNvPr id="4" name="Slide Number Placeholder 3">
            <a:extLst>
              <a:ext uri="{FF2B5EF4-FFF2-40B4-BE49-F238E27FC236}">
                <a16:creationId xmlns:a16="http://schemas.microsoft.com/office/drawing/2014/main" id="{BDB25594-7B14-A6A0-8021-3AF49CE58AE2}"/>
              </a:ext>
            </a:extLst>
          </p:cNvPr>
          <p:cNvSpPr>
            <a:spLocks noGrp="1"/>
          </p:cNvSpPr>
          <p:nvPr>
            <p:ph type="sldNum" sz="quarter" idx="5"/>
          </p:nvPr>
        </p:nvSpPr>
        <p:spPr/>
        <p:txBody>
          <a:bodyPr/>
          <a:lstStyle/>
          <a:p>
            <a:fld id="{B3A96171-A15F-AF4E-B7C5-E1453CAAF64D}" type="slidenum">
              <a:rPr lang="en-US" smtClean="0"/>
              <a:t>76</a:t>
            </a:fld>
            <a:endParaRPr lang="en-US" dirty="0"/>
          </a:p>
        </p:txBody>
      </p:sp>
    </p:spTree>
    <p:extLst>
      <p:ext uri="{BB962C8B-B14F-4D97-AF65-F5344CB8AC3E}">
        <p14:creationId xmlns:p14="http://schemas.microsoft.com/office/powerpoint/2010/main" val="36961878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A14881-5E49-85D3-1119-DAF57A0AEF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8E7F93-1427-C3D9-5423-301E5A9EB0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925DDD-117A-5D65-4EE7-162F2F936F97}"/>
              </a:ext>
            </a:extLst>
          </p:cNvPr>
          <p:cNvSpPr>
            <a:spLocks noGrp="1"/>
          </p:cNvSpPr>
          <p:nvPr>
            <p:ph type="body" idx="1"/>
          </p:nvPr>
        </p:nvSpPr>
        <p:spPr/>
        <p:txBody>
          <a:bodyPr/>
          <a:lstStyle/>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200" dirty="0">
                <a:solidFill>
                  <a:srgbClr val="002E51"/>
                </a:solidFill>
              </a:rPr>
              <a:t>Most common AEs: fatigue, diarrhea, asthenia, nausea, dizziness. </a:t>
            </a:r>
            <a:r>
              <a:rPr lang="en-US" sz="2400" dirty="0">
                <a:solidFill>
                  <a:srgbClr val="002E51"/>
                </a:solidFill>
              </a:rPr>
              <a:t>Incidence decreases over time</a:t>
            </a:r>
          </a:p>
          <a:p>
            <a:pPr marL="180975" indent="-180975" algn="l">
              <a:buFont typeface="Arial" panose="020B0604020202020204" pitchFamily="34" charset="0"/>
              <a:buChar char="•"/>
            </a:pPr>
            <a:r>
              <a:rPr lang="en-US" sz="2200" dirty="0">
                <a:solidFill>
                  <a:srgbClr val="002E51"/>
                </a:solidFill>
              </a:rPr>
              <a:t>TI defined as 8 weeks during weeks 1-24</a:t>
            </a:r>
          </a:p>
        </p:txBody>
      </p:sp>
      <p:sp>
        <p:nvSpPr>
          <p:cNvPr id="4" name="Slide Number Placeholder 3">
            <a:extLst>
              <a:ext uri="{FF2B5EF4-FFF2-40B4-BE49-F238E27FC236}">
                <a16:creationId xmlns:a16="http://schemas.microsoft.com/office/drawing/2014/main" id="{8B8AB045-DC6D-D3BA-27F9-6CA7018A2E38}"/>
              </a:ext>
            </a:extLst>
          </p:cNvPr>
          <p:cNvSpPr>
            <a:spLocks noGrp="1"/>
          </p:cNvSpPr>
          <p:nvPr>
            <p:ph type="sldNum" sz="quarter" idx="5"/>
          </p:nvPr>
        </p:nvSpPr>
        <p:spPr/>
        <p:txBody>
          <a:bodyPr/>
          <a:lstStyle/>
          <a:p>
            <a:fld id="{B3A96171-A15F-AF4E-B7C5-E1453CAAF64D}" type="slidenum">
              <a:rPr lang="en-US" smtClean="0"/>
              <a:t>77</a:t>
            </a:fld>
            <a:endParaRPr lang="en-US" dirty="0"/>
          </a:p>
        </p:txBody>
      </p:sp>
    </p:spTree>
    <p:extLst>
      <p:ext uri="{BB962C8B-B14F-4D97-AF65-F5344CB8AC3E}">
        <p14:creationId xmlns:p14="http://schemas.microsoft.com/office/powerpoint/2010/main" val="10754517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79</a:t>
            </a:fld>
            <a:endParaRPr lang="en-US" dirty="0"/>
          </a:p>
        </p:txBody>
      </p:sp>
    </p:spTree>
    <p:extLst>
      <p:ext uri="{BB962C8B-B14F-4D97-AF65-F5344CB8AC3E}">
        <p14:creationId xmlns:p14="http://schemas.microsoft.com/office/powerpoint/2010/main" val="26514909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83</a:t>
            </a:fld>
            <a:endParaRPr lang="en-US" dirty="0"/>
          </a:p>
        </p:txBody>
      </p:sp>
    </p:spTree>
    <p:extLst>
      <p:ext uri="{BB962C8B-B14F-4D97-AF65-F5344CB8AC3E}">
        <p14:creationId xmlns:p14="http://schemas.microsoft.com/office/powerpoint/2010/main" val="9250671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06C225-F54F-4DA7-B5CD-7E1F4998BAE0}" type="slidenum">
              <a:rPr lang="en-US" smtClean="0"/>
              <a:t>85</a:t>
            </a:fld>
            <a:endParaRPr lang="en-US"/>
          </a:p>
        </p:txBody>
      </p:sp>
    </p:spTree>
    <p:extLst>
      <p:ext uri="{BB962C8B-B14F-4D97-AF65-F5344CB8AC3E}">
        <p14:creationId xmlns:p14="http://schemas.microsoft.com/office/powerpoint/2010/main" val="5943215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GS and novel age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9557F8D-41A5-3C4A-A462-FE7C10BECEC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739213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SO – INSURANCE APPROVALS</a:t>
            </a:r>
          </a:p>
          <a:p>
            <a:r>
              <a:rPr lang="en-US" dirty="0"/>
              <a:t>High LDG, </a:t>
            </a:r>
            <a:r>
              <a:rPr lang="en-US" dirty="0" err="1"/>
              <a:t>abnl</a:t>
            </a:r>
            <a:r>
              <a:rPr lang="en-US" dirty="0"/>
              <a:t> </a:t>
            </a:r>
            <a:r>
              <a:rPr lang="en-US" dirty="0" err="1"/>
              <a:t>Phos</a:t>
            </a:r>
            <a:r>
              <a:rPr lang="en-US" dirty="0"/>
              <a:t>, Mg, </a:t>
            </a:r>
          </a:p>
        </p:txBody>
      </p:sp>
      <p:sp>
        <p:nvSpPr>
          <p:cNvPr id="4" name="Slide Number Placeholder 3"/>
          <p:cNvSpPr>
            <a:spLocks noGrp="1"/>
          </p:cNvSpPr>
          <p:nvPr>
            <p:ph type="sldNum" sz="quarter" idx="5"/>
          </p:nvPr>
        </p:nvSpPr>
        <p:spPr/>
        <p:txBody>
          <a:bodyPr/>
          <a:lstStyle/>
          <a:p>
            <a:fld id="{89557F8D-41A5-3C4A-A462-FE7C10BECEC1}" type="slidenum">
              <a:rPr lang="en-US" smtClean="0"/>
              <a:t>95</a:t>
            </a:fld>
            <a:endParaRPr lang="en-US"/>
          </a:p>
        </p:txBody>
      </p:sp>
    </p:spTree>
    <p:extLst>
      <p:ext uri="{BB962C8B-B14F-4D97-AF65-F5344CB8AC3E}">
        <p14:creationId xmlns:p14="http://schemas.microsoft.com/office/powerpoint/2010/main" val="642835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10</a:t>
            </a:fld>
            <a:endParaRPr lang="en-US" dirty="0"/>
          </a:p>
        </p:txBody>
      </p:sp>
    </p:spTree>
    <p:extLst>
      <p:ext uri="{BB962C8B-B14F-4D97-AF65-F5344CB8AC3E}">
        <p14:creationId xmlns:p14="http://schemas.microsoft.com/office/powerpoint/2010/main" val="26514909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most half of people have a response after cycle 1</a:t>
            </a:r>
          </a:p>
          <a:p>
            <a:r>
              <a:rPr lang="en-US" dirty="0"/>
              <a:t>75% responders delayed subsequent cycle after blast clearance, median 9 days (range 1-39)</a:t>
            </a:r>
          </a:p>
          <a:p>
            <a:r>
              <a:rPr lang="en-US" dirty="0"/>
              <a:t>Prior MDS patients for example – may need 14 day duration of </a:t>
            </a:r>
            <a:r>
              <a:rPr lang="en-US" dirty="0" err="1"/>
              <a:t>ven</a:t>
            </a:r>
            <a:endParaRPr lang="en-US" dirty="0"/>
          </a:p>
        </p:txBody>
      </p:sp>
      <p:sp>
        <p:nvSpPr>
          <p:cNvPr id="4" name="Slide Number Placeholder 3"/>
          <p:cNvSpPr>
            <a:spLocks noGrp="1"/>
          </p:cNvSpPr>
          <p:nvPr>
            <p:ph type="sldNum" sz="quarter" idx="5"/>
          </p:nvPr>
        </p:nvSpPr>
        <p:spPr/>
        <p:txBody>
          <a:bodyPr/>
          <a:lstStyle/>
          <a:p>
            <a:fld id="{1FFE1F5F-0349-4FE0-ADB6-349BA6AE0E74}" type="slidenum">
              <a:rPr lang="en-US" smtClean="0"/>
              <a:t>97</a:t>
            </a:fld>
            <a:endParaRPr lang="en-US"/>
          </a:p>
        </p:txBody>
      </p:sp>
    </p:spTree>
    <p:extLst>
      <p:ext uri="{BB962C8B-B14F-4D97-AF65-F5344CB8AC3E}">
        <p14:creationId xmlns:p14="http://schemas.microsoft.com/office/powerpoint/2010/main" val="9738113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DAC SC D1-10 – can be given at home</a:t>
            </a:r>
          </a:p>
          <a:p>
            <a:endParaRPr lang="en-US" dirty="0"/>
          </a:p>
          <a:p>
            <a:r>
              <a:rPr lang="en-US" dirty="0"/>
              <a:t>* HMA is synergistic – better results</a:t>
            </a:r>
          </a:p>
        </p:txBody>
      </p:sp>
      <p:sp>
        <p:nvSpPr>
          <p:cNvPr id="4" name="Slide Number Placeholder 3"/>
          <p:cNvSpPr>
            <a:spLocks noGrp="1"/>
          </p:cNvSpPr>
          <p:nvPr>
            <p:ph type="sldNum" sz="quarter" idx="5"/>
          </p:nvPr>
        </p:nvSpPr>
        <p:spPr/>
        <p:txBody>
          <a:bodyPr/>
          <a:lstStyle/>
          <a:p>
            <a:fld id="{89557F8D-41A5-3C4A-A462-FE7C10BECEC1}" type="slidenum">
              <a:rPr lang="en-US" smtClean="0"/>
              <a:t>98</a:t>
            </a:fld>
            <a:endParaRPr lang="en-US"/>
          </a:p>
        </p:txBody>
      </p:sp>
    </p:spTree>
    <p:extLst>
      <p:ext uri="{BB962C8B-B14F-4D97-AF65-F5344CB8AC3E}">
        <p14:creationId xmlns:p14="http://schemas.microsoft.com/office/powerpoint/2010/main" val="9849805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d not discuss </a:t>
            </a:r>
            <a:r>
              <a:rPr lang="en-US" dirty="0" err="1"/>
              <a:t>midostaurin</a:t>
            </a:r>
            <a:r>
              <a:rPr lang="en-US" dirty="0"/>
              <a:t> – only role is in induction candidates</a:t>
            </a:r>
          </a:p>
          <a:p>
            <a:r>
              <a:rPr lang="en-US" dirty="0"/>
              <a:t>incidence</a:t>
            </a:r>
          </a:p>
        </p:txBody>
      </p:sp>
      <p:sp>
        <p:nvSpPr>
          <p:cNvPr id="4" name="Slide Number Placeholder 3"/>
          <p:cNvSpPr>
            <a:spLocks noGrp="1"/>
          </p:cNvSpPr>
          <p:nvPr>
            <p:ph type="sldNum" sz="quarter" idx="5"/>
          </p:nvPr>
        </p:nvSpPr>
        <p:spPr/>
        <p:txBody>
          <a:bodyPr/>
          <a:lstStyle/>
          <a:p>
            <a:fld id="{89557F8D-41A5-3C4A-A462-FE7C10BECEC1}" type="slidenum">
              <a:rPr lang="en-US" smtClean="0"/>
              <a:t>100</a:t>
            </a:fld>
            <a:endParaRPr lang="en-US"/>
          </a:p>
        </p:txBody>
      </p:sp>
    </p:spTree>
    <p:extLst>
      <p:ext uri="{BB962C8B-B14F-4D97-AF65-F5344CB8AC3E}">
        <p14:creationId xmlns:p14="http://schemas.microsoft.com/office/powerpoint/2010/main" val="166143144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p to age 85</a:t>
            </a:r>
          </a:p>
          <a:p>
            <a:r>
              <a:rPr lang="en-US" dirty="0" err="1"/>
              <a:t>Cytopenias</a:t>
            </a:r>
            <a:r>
              <a:rPr lang="en-US" dirty="0"/>
              <a:t>, drug </a:t>
            </a:r>
            <a:r>
              <a:rPr lang="en-US" dirty="0" err="1"/>
              <a:t>drug</a:t>
            </a:r>
            <a:r>
              <a:rPr lang="en-US" dirty="0"/>
              <a:t> interactions</a:t>
            </a:r>
          </a:p>
        </p:txBody>
      </p:sp>
      <p:sp>
        <p:nvSpPr>
          <p:cNvPr id="4" name="Slide Number Placeholder 3"/>
          <p:cNvSpPr>
            <a:spLocks noGrp="1"/>
          </p:cNvSpPr>
          <p:nvPr>
            <p:ph type="sldNum" sz="quarter" idx="5"/>
          </p:nvPr>
        </p:nvSpPr>
        <p:spPr/>
        <p:txBody>
          <a:bodyPr/>
          <a:lstStyle/>
          <a:p>
            <a:fld id="{89557F8D-41A5-3C4A-A462-FE7C10BECEC1}" type="slidenum">
              <a:rPr lang="en-US" smtClean="0"/>
              <a:t>101</a:t>
            </a:fld>
            <a:endParaRPr lang="en-US"/>
          </a:p>
        </p:txBody>
      </p:sp>
    </p:spTree>
    <p:extLst>
      <p:ext uri="{BB962C8B-B14F-4D97-AF65-F5344CB8AC3E}">
        <p14:creationId xmlns:p14="http://schemas.microsoft.com/office/powerpoint/2010/main" val="38654808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cidence</a:t>
            </a:r>
          </a:p>
        </p:txBody>
      </p:sp>
      <p:sp>
        <p:nvSpPr>
          <p:cNvPr id="4" name="Slide Number Placeholder 3"/>
          <p:cNvSpPr>
            <a:spLocks noGrp="1"/>
          </p:cNvSpPr>
          <p:nvPr>
            <p:ph type="sldNum" sz="quarter" idx="5"/>
          </p:nvPr>
        </p:nvSpPr>
        <p:spPr/>
        <p:txBody>
          <a:bodyPr/>
          <a:lstStyle/>
          <a:p>
            <a:fld id="{89557F8D-41A5-3C4A-A462-FE7C10BECEC1}" type="slidenum">
              <a:rPr lang="en-US" smtClean="0"/>
              <a:t>103</a:t>
            </a:fld>
            <a:endParaRPr lang="en-US"/>
          </a:p>
        </p:txBody>
      </p:sp>
    </p:spTree>
    <p:extLst>
      <p:ext uri="{BB962C8B-B14F-4D97-AF65-F5344CB8AC3E}">
        <p14:creationId xmlns:p14="http://schemas.microsoft.com/office/powerpoint/2010/main" val="13788292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Oral</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Being evaluated upfront</a:t>
            </a:r>
          </a:p>
        </p:txBody>
      </p:sp>
      <p:sp>
        <p:nvSpPr>
          <p:cNvPr id="4" name="Slide Number Placeholder 3"/>
          <p:cNvSpPr>
            <a:spLocks noGrp="1"/>
          </p:cNvSpPr>
          <p:nvPr>
            <p:ph type="sldNum" sz="quarter" idx="10"/>
          </p:nvPr>
        </p:nvSpPr>
        <p:spPr/>
        <p:txBody>
          <a:bodyPr/>
          <a:lstStyle/>
          <a:p>
            <a:fld id="{8949E9DC-B367-44DF-8AC0-B83A3428DBA6}" type="slidenum">
              <a:rPr lang="en-US" smtClean="0"/>
              <a:t>104</a:t>
            </a:fld>
            <a:endParaRPr lang="en-US" dirty="0"/>
          </a:p>
        </p:txBody>
      </p:sp>
    </p:spTree>
    <p:extLst>
      <p:ext uri="{BB962C8B-B14F-4D97-AF65-F5344CB8AC3E}">
        <p14:creationId xmlns:p14="http://schemas.microsoft.com/office/powerpoint/2010/main" val="38608093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Rare deaths due to DS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Increase in oral agents, patients want to be treated closer to home</a:t>
            </a:r>
          </a:p>
        </p:txBody>
      </p:sp>
      <p:sp>
        <p:nvSpPr>
          <p:cNvPr id="4" name="Slide Number Placeholder 3"/>
          <p:cNvSpPr>
            <a:spLocks noGrp="1"/>
          </p:cNvSpPr>
          <p:nvPr>
            <p:ph type="sldNum" sz="quarter" idx="10"/>
          </p:nvPr>
        </p:nvSpPr>
        <p:spPr/>
        <p:txBody>
          <a:bodyPr/>
          <a:lstStyle/>
          <a:p>
            <a:fld id="{8949E9DC-B367-44DF-8AC0-B83A3428DBA6}" type="slidenum">
              <a:rPr lang="en-US" smtClean="0"/>
              <a:t>105</a:t>
            </a:fld>
            <a:endParaRPr lang="en-US" dirty="0"/>
          </a:p>
        </p:txBody>
      </p:sp>
    </p:spTree>
    <p:extLst>
      <p:ext uri="{BB962C8B-B14F-4D97-AF65-F5344CB8AC3E}">
        <p14:creationId xmlns:p14="http://schemas.microsoft.com/office/powerpoint/2010/main" val="24186535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other “TP53” targeted therapies</a:t>
            </a:r>
          </a:p>
        </p:txBody>
      </p:sp>
      <p:sp>
        <p:nvSpPr>
          <p:cNvPr id="4" name="Slide Number Placeholder 3"/>
          <p:cNvSpPr>
            <a:spLocks noGrp="1"/>
          </p:cNvSpPr>
          <p:nvPr>
            <p:ph type="sldNum" sz="quarter" idx="5"/>
          </p:nvPr>
        </p:nvSpPr>
        <p:spPr/>
        <p:txBody>
          <a:bodyPr/>
          <a:lstStyle/>
          <a:p>
            <a:fld id="{89557F8D-41A5-3C4A-A462-FE7C10BECEC1}" type="slidenum">
              <a:rPr lang="en-US" smtClean="0"/>
              <a:t>106</a:t>
            </a:fld>
            <a:endParaRPr lang="en-US"/>
          </a:p>
        </p:txBody>
      </p:sp>
    </p:spTree>
    <p:extLst>
      <p:ext uri="{BB962C8B-B14F-4D97-AF65-F5344CB8AC3E}">
        <p14:creationId xmlns:p14="http://schemas.microsoft.com/office/powerpoint/2010/main" val="332029318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rative and well tolerated</a:t>
            </a:r>
          </a:p>
          <a:p>
            <a:r>
              <a:rPr lang="en-US" dirty="0"/>
              <a:t>Refer for clinical trials</a:t>
            </a:r>
          </a:p>
          <a:p>
            <a:r>
              <a:rPr lang="en-US" dirty="0"/>
              <a:t>Bone marrow biopsies</a:t>
            </a:r>
          </a:p>
        </p:txBody>
      </p:sp>
      <p:sp>
        <p:nvSpPr>
          <p:cNvPr id="4" name="Slide Number Placeholder 3"/>
          <p:cNvSpPr>
            <a:spLocks noGrp="1"/>
          </p:cNvSpPr>
          <p:nvPr>
            <p:ph type="sldNum" sz="quarter" idx="5"/>
          </p:nvPr>
        </p:nvSpPr>
        <p:spPr/>
        <p:txBody>
          <a:bodyPr/>
          <a:lstStyle/>
          <a:p>
            <a:fld id="{89557F8D-41A5-3C4A-A462-FE7C10BECEC1}" type="slidenum">
              <a:rPr lang="en-US" smtClean="0"/>
              <a:t>107</a:t>
            </a:fld>
            <a:endParaRPr lang="en-US"/>
          </a:p>
        </p:txBody>
      </p:sp>
    </p:spTree>
    <p:extLst>
      <p:ext uri="{BB962C8B-B14F-4D97-AF65-F5344CB8AC3E}">
        <p14:creationId xmlns:p14="http://schemas.microsoft.com/office/powerpoint/2010/main" val="111961671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p:cNvSpPr>
            <a:spLocks noGrp="1" noRot="1" noChangeAspect="1" noTextEdit="1"/>
          </p:cNvSpPr>
          <p:nvPr>
            <p:ph type="sldImg"/>
          </p:nvPr>
        </p:nvSpPr>
        <p:spPr bwMode="auto">
          <a:noFill/>
          <a:ln>
            <a:solidFill>
              <a:srgbClr val="000000"/>
            </a:solidFill>
            <a:miter lim="800000"/>
            <a:headEnd/>
            <a:tailEnd/>
          </a:ln>
        </p:spPr>
      </p:sp>
      <p:sp>
        <p:nvSpPr>
          <p:cNvPr id="106499" name="Rectangle 3"/>
          <p:cNvSpPr>
            <a:spLocks noGrp="1"/>
          </p:cNvSpPr>
          <p:nvPr>
            <p:ph type="body" idx="1"/>
          </p:nvPr>
        </p:nvSpPr>
        <p:spPr bwMode="auto">
          <a:noFill/>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26901702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15</a:t>
            </a:fld>
            <a:endParaRPr lang="en-US" dirty="0"/>
          </a:p>
        </p:txBody>
      </p:sp>
    </p:spTree>
    <p:extLst>
      <p:ext uri="{BB962C8B-B14F-4D97-AF65-F5344CB8AC3E}">
        <p14:creationId xmlns:p14="http://schemas.microsoft.com/office/powerpoint/2010/main" val="10375780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lide 58: </a:t>
            </a:r>
            <a:r>
              <a:rPr lang="en-US" b="0" i="0" baseline="0" dirty="0"/>
              <a:t>The number of autologous transplants for MM and Lymphoma.</a:t>
            </a:r>
            <a:endParaRPr lang="en-US" sz="1200" b="0" dirty="0"/>
          </a:p>
          <a:p>
            <a:endParaRPr lang="en-US" dirty="0"/>
          </a:p>
        </p:txBody>
      </p:sp>
      <p:sp>
        <p:nvSpPr>
          <p:cNvPr id="4" name="Slide Number Placeholder 3"/>
          <p:cNvSpPr>
            <a:spLocks noGrp="1"/>
          </p:cNvSpPr>
          <p:nvPr>
            <p:ph type="sldNum" sz="quarter" idx="5"/>
          </p:nvPr>
        </p:nvSpPr>
        <p:spPr/>
        <p:txBody>
          <a:bodyPr/>
          <a:lstStyle/>
          <a:p>
            <a:fld id="{15813218-D78A-4CED-92B2-D60760461F89}" type="slidenum">
              <a:rPr lang="en-US" smtClean="0"/>
              <a:t>115</a:t>
            </a:fld>
            <a:endParaRPr lang="en-US"/>
          </a:p>
        </p:txBody>
      </p:sp>
    </p:spTree>
    <p:extLst>
      <p:ext uri="{BB962C8B-B14F-4D97-AF65-F5344CB8AC3E}">
        <p14:creationId xmlns:p14="http://schemas.microsoft.com/office/powerpoint/2010/main" val="285082795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lide 59: </a:t>
            </a:r>
            <a:r>
              <a:rPr lang="en-US" b="0" dirty="0"/>
              <a:t>This slide shows a decrease in autologous HCT for Diffuse Large B-Cell Lymphoma.</a:t>
            </a:r>
            <a:endParaRPr lang="en-US" b="1" i="0" dirty="0"/>
          </a:p>
          <a:p>
            <a:endParaRPr lang="en-US" dirty="0"/>
          </a:p>
        </p:txBody>
      </p:sp>
      <p:sp>
        <p:nvSpPr>
          <p:cNvPr id="4" name="Slide Number Placeholder 3"/>
          <p:cNvSpPr>
            <a:spLocks noGrp="1"/>
          </p:cNvSpPr>
          <p:nvPr>
            <p:ph type="sldNum" sz="quarter" idx="5"/>
          </p:nvPr>
        </p:nvSpPr>
        <p:spPr/>
        <p:txBody>
          <a:bodyPr/>
          <a:lstStyle/>
          <a:p>
            <a:fld id="{15813218-D78A-4CED-92B2-D60760461F89}" type="slidenum">
              <a:rPr lang="en-US" smtClean="0"/>
              <a:t>116</a:t>
            </a:fld>
            <a:endParaRPr lang="en-US"/>
          </a:p>
        </p:txBody>
      </p:sp>
    </p:spTree>
    <p:extLst>
      <p:ext uri="{BB962C8B-B14F-4D97-AF65-F5344CB8AC3E}">
        <p14:creationId xmlns:p14="http://schemas.microsoft.com/office/powerpoint/2010/main" val="24534813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09600" y="320675"/>
            <a:ext cx="5505450" cy="31003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8857A81-DEF9-4B57-AC08-20326D7F815B}" type="slidenum">
              <a:rPr lang="en-GB" smtClean="0"/>
              <a:pPr/>
              <a:t>124</a:t>
            </a:fld>
            <a:endParaRPr lang="en-GB"/>
          </a:p>
        </p:txBody>
      </p:sp>
    </p:spTree>
    <p:extLst>
      <p:ext uri="{BB962C8B-B14F-4D97-AF65-F5344CB8AC3E}">
        <p14:creationId xmlns:p14="http://schemas.microsoft.com/office/powerpoint/2010/main" val="215263071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01663" y="325438"/>
            <a:ext cx="5594350" cy="3149600"/>
          </a:xfrm>
        </p:spPr>
      </p:sp>
      <p:sp>
        <p:nvSpPr>
          <p:cNvPr id="3" name="Notes Placeholder 2"/>
          <p:cNvSpPr>
            <a:spLocks noGrp="1"/>
          </p:cNvSpPr>
          <p:nvPr>
            <p:ph type="body" idx="1"/>
          </p:nvPr>
        </p:nvSpPr>
        <p:spPr/>
        <p:txBody>
          <a:bodyPr/>
          <a:lstStyle/>
          <a:p>
            <a:pPr>
              <a:spcAft>
                <a:spcPts val="0"/>
              </a:spcAft>
              <a:defRPr/>
            </a:pPr>
            <a:endParaRPr lang="en-US" sz="1200" dirty="0">
              <a:solidFill>
                <a:prstClr val="black"/>
              </a:solidFill>
              <a:latin typeface="Calibri" panose="020F0502020204030204"/>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857A81-DEF9-4B57-AC08-20326D7F815B}" type="slidenum">
              <a:rPr kumimoji="0" lang="en-GB" sz="800" b="0" i="0" u="none" strike="noStrike" kern="1200" cap="none" spc="0" normalizeH="0" baseline="0" noProof="0" smtClean="0">
                <a:ln>
                  <a:noFill/>
                </a:ln>
                <a:solidFill>
                  <a:srgbClr val="3F4444"/>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GB" sz="800" b="0" i="0" u="none" strike="noStrike" kern="1200" cap="none" spc="0" normalizeH="0" baseline="0" noProof="0">
              <a:ln>
                <a:noFill/>
              </a:ln>
              <a:solidFill>
                <a:srgbClr val="3F4444"/>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733512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4075" y="300038"/>
            <a:ext cx="5149850" cy="2900362"/>
          </a:xfrm>
        </p:spPr>
      </p:sp>
      <p:sp>
        <p:nvSpPr>
          <p:cNvPr id="3" name="Notes Placeholder 2"/>
          <p:cNvSpPr>
            <a:spLocks noGrp="1"/>
          </p:cNvSpPr>
          <p:nvPr>
            <p:ph type="body" idx="1"/>
          </p:nvPr>
        </p:nvSpPr>
        <p:spPr/>
        <p:txBody>
          <a:bodyPr/>
          <a:lstStyle/>
          <a:p>
            <a:pPr marL="171450" indent="-171450">
              <a:spcAft>
                <a:spcPts val="0"/>
              </a:spcAft>
              <a:buChar char="•"/>
              <a:defRPr/>
            </a:pPr>
            <a:endParaRPr lang="en-US" sz="1200" dirty="0">
              <a:solidFill>
                <a:prstClr val="black"/>
              </a:solidFill>
              <a:latin typeface="Calibri" panose="020F0502020204030204"/>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857A81-DEF9-4B57-AC08-20326D7F815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125691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4075" y="300038"/>
            <a:ext cx="5149850" cy="29003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8857A81-DEF9-4B57-AC08-20326D7F815B}" type="slidenum">
              <a:rPr lang="en-GB" smtClean="0"/>
              <a:pPr/>
              <a:t>127</a:t>
            </a:fld>
            <a:endParaRPr lang="en-GB"/>
          </a:p>
        </p:txBody>
      </p:sp>
    </p:spTree>
    <p:extLst>
      <p:ext uri="{BB962C8B-B14F-4D97-AF65-F5344CB8AC3E}">
        <p14:creationId xmlns:p14="http://schemas.microsoft.com/office/powerpoint/2010/main" val="40618050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4075" y="300038"/>
            <a:ext cx="5149850" cy="2900362"/>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Overall incide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All rapidly resolved with no sequelae. Primarily confus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ankey illustrates that almost all happened in C1, at C2D1 at latest (1 pati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2xSUD implemented to further mitigate ICANS</a:t>
            </a:r>
          </a:p>
        </p:txBody>
      </p:sp>
      <p:sp>
        <p:nvSpPr>
          <p:cNvPr id="4" name="Slide Number Placeholder 3"/>
          <p:cNvSpPr>
            <a:spLocks noGrp="1"/>
          </p:cNvSpPr>
          <p:nvPr>
            <p:ph type="sldNum" sz="quarter" idx="5"/>
          </p:nvPr>
        </p:nvSpPr>
        <p:spPr/>
        <p:txBody>
          <a:bodyPr/>
          <a:lstStyle/>
          <a:p>
            <a:fld id="{48857A81-DEF9-4B57-AC08-20326D7F815B}" type="slidenum">
              <a:rPr lang="en-GB" smtClean="0"/>
              <a:pPr/>
              <a:t>128</a:t>
            </a:fld>
            <a:endParaRPr lang="en-GB"/>
          </a:p>
        </p:txBody>
      </p:sp>
    </p:spTree>
    <p:extLst>
      <p:ext uri="{BB962C8B-B14F-4D97-AF65-F5344CB8AC3E}">
        <p14:creationId xmlns:p14="http://schemas.microsoft.com/office/powerpoint/2010/main" val="231007142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3AF0FF-69C6-4CB5-9E51-0AA75A4213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925054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3A96171-A15F-AF4E-B7C5-E1453CAAF64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136</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265149090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Since this presentation is focused on frontline, won't be discussing ALPINE (</a:t>
            </a:r>
            <a:r>
              <a:rPr lang="en-US" dirty="0" err="1">
                <a:ea typeface="Calibri"/>
                <a:cs typeface="Calibri"/>
              </a:rPr>
              <a:t>zanu</a:t>
            </a:r>
            <a:r>
              <a:rPr lang="en-US" dirty="0">
                <a:ea typeface="Calibri"/>
                <a:cs typeface="Calibri"/>
              </a:rPr>
              <a:t> vs ibrutinib for R/R)  or BRUIN (</a:t>
            </a:r>
            <a:r>
              <a:rPr lang="en-US" dirty="0" err="1">
                <a:ea typeface="Calibri"/>
                <a:cs typeface="Calibri"/>
              </a:rPr>
              <a:t>pirtobrutinib</a:t>
            </a:r>
            <a:r>
              <a:rPr lang="en-US" dirty="0">
                <a:ea typeface="Calibri"/>
                <a:cs typeface="Calibri"/>
              </a:rPr>
              <a:t> in R/R)</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3A96171-A15F-AF4E-B7C5-E1453CAAF64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138</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25514343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42</a:t>
            </a:fld>
            <a:endParaRPr lang="en-US" dirty="0"/>
          </a:p>
        </p:txBody>
      </p:sp>
    </p:spTree>
    <p:extLst>
      <p:ext uri="{BB962C8B-B14F-4D97-AF65-F5344CB8AC3E}">
        <p14:creationId xmlns:p14="http://schemas.microsoft.com/office/powerpoint/2010/main" val="265149090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Obin was fixed duration, 6 cycles</a:t>
            </a:r>
          </a:p>
          <a:p>
            <a:r>
              <a:rPr lang="en-US" dirty="0">
                <a:ea typeface="Calibri"/>
                <a:cs typeface="Calibri"/>
              </a:rPr>
              <a:t>Chlorambucil fixed, 6 cycles</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3A96171-A15F-AF4E-B7C5-E1453CAAF64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140</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25087695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Younger, fit patients. All oral.</a:t>
            </a:r>
          </a:p>
          <a:p>
            <a:r>
              <a:rPr lang="en-US" dirty="0">
                <a:ea typeface="Calibri"/>
                <a:cs typeface="Calibri"/>
              </a:rPr>
              <a:t>Still remains how I+V compares to I+V vs V+O</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3A96171-A15F-AF4E-B7C5-E1453CAAF64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170</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311597084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9 months (3 </a:t>
            </a:r>
            <a:r>
              <a:rPr lang="en-US" dirty="0" err="1"/>
              <a:t>mo</a:t>
            </a:r>
            <a:r>
              <a:rPr lang="en-US" dirty="0"/>
              <a:t> post-FCR) 48.3% FCR pts became MRD neg in BM compared to 41.5% for I+V. However, with continued I+V more pts became MRD neg: the odds of MRD negativity at any time for I+V vs FCR were 2.03 (95% CI: [1.43, 2.89]; P&lt;0.001) in BM and 3.91 (95% CI: [2.55, 6.00]; P&lt;0.001) in PB. 90.6% pts achieved PB MRD negativity at up to 5 </a:t>
            </a:r>
            <a:r>
              <a:rPr lang="en-US" dirty="0" err="1"/>
              <a:t>yrs</a:t>
            </a:r>
            <a:r>
              <a:rPr lang="en-US" dirty="0"/>
              <a:t> I+V and 88% of these were BM MRD negative 6 </a:t>
            </a:r>
            <a:r>
              <a:rPr lang="en-US" dirty="0" err="1"/>
              <a:t>mo</a:t>
            </a:r>
            <a:r>
              <a:rPr lang="en-US" dirty="0"/>
              <a:t> after their first PB MRD neg result.</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3A96171-A15F-AF4E-B7C5-E1453CAAF64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172</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413334368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9 months (3 </a:t>
            </a:r>
            <a:r>
              <a:rPr lang="en-US" dirty="0" err="1"/>
              <a:t>mo</a:t>
            </a:r>
            <a:r>
              <a:rPr lang="en-US" dirty="0"/>
              <a:t> post-FCR) 48.3% FCR pts became MRD neg in BM compared to 41.5% for I+V. However, with continued I+V more pts became MRD neg: the odds of MRD negativity at any time for I+V vs FCR were 2.03 (95% CI: [1.43, 2.89]; P&lt;0.001) in BM and 3.91 (95% CI: [2.55, 6.00]; P&lt;0.001) in PB. 90.6% pts achieved PB MRD negativity at up to 5 </a:t>
            </a:r>
            <a:r>
              <a:rPr lang="en-US" dirty="0" err="1"/>
              <a:t>yrs</a:t>
            </a:r>
            <a:r>
              <a:rPr lang="en-US" dirty="0"/>
              <a:t> I+V and 88% of these were BM MRD negative 6 </a:t>
            </a:r>
            <a:r>
              <a:rPr lang="en-US" dirty="0" err="1"/>
              <a:t>mo</a:t>
            </a:r>
            <a:r>
              <a:rPr lang="en-US" dirty="0"/>
              <a:t> after their first PB MRD neg result.</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3A96171-A15F-AF4E-B7C5-E1453CAAF64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174</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235095036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Some think continuous BTKi better for TP53 mutated, some cross trial comparisons have shown decreased efficacy in FD V-O</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3A96171-A15F-AF4E-B7C5-E1453CAAF64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177</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39559798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54</a:t>
            </a:fld>
            <a:endParaRPr lang="en-US" dirty="0"/>
          </a:p>
        </p:txBody>
      </p:sp>
    </p:spTree>
    <p:extLst>
      <p:ext uri="{BB962C8B-B14F-4D97-AF65-F5344CB8AC3E}">
        <p14:creationId xmlns:p14="http://schemas.microsoft.com/office/powerpoint/2010/main" val="33741657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lected this case because it emphasizes some of the nuances of diagnosing and classifying MDS, and it also takes us through some of the decisions around the optimal treatment for low risk disease.</a:t>
            </a:r>
          </a:p>
        </p:txBody>
      </p:sp>
      <p:sp>
        <p:nvSpPr>
          <p:cNvPr id="4" name="Slide Number Placeholder 3"/>
          <p:cNvSpPr>
            <a:spLocks noGrp="1"/>
          </p:cNvSpPr>
          <p:nvPr>
            <p:ph type="sldNum" sz="quarter" idx="5"/>
          </p:nvPr>
        </p:nvSpPr>
        <p:spPr/>
        <p:txBody>
          <a:bodyPr/>
          <a:lstStyle/>
          <a:p>
            <a:fld id="{B3A96171-A15F-AF4E-B7C5-E1453CAAF64D}" type="slidenum">
              <a:rPr lang="en-US" smtClean="0"/>
              <a:t>60</a:t>
            </a:fld>
            <a:endParaRPr lang="en-US" dirty="0"/>
          </a:p>
        </p:txBody>
      </p:sp>
    </p:spTree>
    <p:extLst>
      <p:ext uri="{BB962C8B-B14F-4D97-AF65-F5344CB8AC3E}">
        <p14:creationId xmlns:p14="http://schemas.microsoft.com/office/powerpoint/2010/main" val="26514909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61yo woman with previously normal blood counts comes in with…</a:t>
            </a:r>
          </a:p>
          <a:p>
            <a:endParaRPr lang="en-US" dirty="0">
              <a:effectLst/>
              <a:latin typeface="Arial" panose="020B0604020202020204" pitchFamily="34" charset="0"/>
            </a:endParaRPr>
          </a:p>
          <a:p>
            <a:r>
              <a:rPr lang="en-US" dirty="0">
                <a:effectLst/>
                <a:latin typeface="Arial" panose="020B0604020202020204" pitchFamily="34" charset="0"/>
              </a:rPr>
              <a:t>normocytic anemia with </a:t>
            </a:r>
            <a:r>
              <a:rPr lang="en-US" dirty="0" err="1">
                <a:effectLst/>
                <a:latin typeface="Arial" panose="020B0604020202020204" pitchFamily="34" charset="0"/>
              </a:rPr>
              <a:t>hgb</a:t>
            </a:r>
            <a:r>
              <a:rPr lang="en-US" dirty="0">
                <a:effectLst/>
                <a:latin typeface="Arial" panose="020B0604020202020204" pitchFamily="34" charset="0"/>
              </a:rPr>
              <a:t> 7.4</a:t>
            </a:r>
          </a:p>
          <a:p>
            <a:endParaRPr lang="en-US" dirty="0">
              <a:effectLst/>
              <a:latin typeface="Arial" panose="020B0604020202020204" pitchFamily="34" charset="0"/>
            </a:endParaRPr>
          </a:p>
          <a:p>
            <a:r>
              <a:rPr lang="en-US" dirty="0">
                <a:effectLst/>
                <a:latin typeface="Arial" panose="020B0604020202020204" pitchFamily="34" charset="0"/>
              </a:rPr>
              <a:t>Which are indicators of bone marrow dysfunction.</a:t>
            </a:r>
          </a:p>
        </p:txBody>
      </p:sp>
      <p:sp>
        <p:nvSpPr>
          <p:cNvPr id="4" name="Slide Number Placeholder 3"/>
          <p:cNvSpPr>
            <a:spLocks noGrp="1"/>
          </p:cNvSpPr>
          <p:nvPr>
            <p:ph type="sldNum" sz="quarter" idx="5"/>
          </p:nvPr>
        </p:nvSpPr>
        <p:spPr/>
        <p:txBody>
          <a:bodyPr/>
          <a:lstStyle/>
          <a:p>
            <a:fld id="{B3A96171-A15F-AF4E-B7C5-E1453CAAF64D}" type="slidenum">
              <a:rPr lang="en-US" smtClean="0"/>
              <a:t>61</a:t>
            </a:fld>
            <a:endParaRPr lang="en-US" dirty="0"/>
          </a:p>
        </p:txBody>
      </p:sp>
    </p:spTree>
    <p:extLst>
      <p:ext uri="{BB962C8B-B14F-4D97-AF65-F5344CB8AC3E}">
        <p14:creationId xmlns:p14="http://schemas.microsoft.com/office/powerpoint/2010/main" val="4945109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would add, just as a brief aside, that her alcohol use from this point on has waxed and waned, driven largely by stress about her diagnosis of MDS, as she was a nurse and was familiar with the wide range of outcomes this diagnosis comes with.</a:t>
            </a:r>
          </a:p>
        </p:txBody>
      </p:sp>
      <p:sp>
        <p:nvSpPr>
          <p:cNvPr id="4" name="Slide Number Placeholder 3"/>
          <p:cNvSpPr>
            <a:spLocks noGrp="1"/>
          </p:cNvSpPr>
          <p:nvPr>
            <p:ph type="sldNum" sz="quarter" idx="5"/>
          </p:nvPr>
        </p:nvSpPr>
        <p:spPr/>
        <p:txBody>
          <a:bodyPr/>
          <a:lstStyle/>
          <a:p>
            <a:fld id="{B3A96171-A15F-AF4E-B7C5-E1453CAAF64D}" type="slidenum">
              <a:rPr lang="en-US" smtClean="0"/>
              <a:t>62</a:t>
            </a:fld>
            <a:endParaRPr lang="en-US" dirty="0"/>
          </a:p>
        </p:txBody>
      </p:sp>
    </p:spTree>
    <p:extLst>
      <p:ext uri="{BB962C8B-B14F-4D97-AF65-F5344CB8AC3E}">
        <p14:creationId xmlns:p14="http://schemas.microsoft.com/office/powerpoint/2010/main" val="23977128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5.jpg"/><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4.jpg"/><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g"/><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4.jpg"/><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4.jpg"/><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1.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4.xml"/></Relationships>
</file>

<file path=ppt/slideLayouts/_rels/slideLayout172.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5.xml"/></Relationships>
</file>

<file path=ppt/slideLayouts/_rels/slideLayout173.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6.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4.jpg"/><Relationship Id="rId1" Type="http://schemas.openxmlformats.org/officeDocument/2006/relationships/slideMaster" Target="../slideMasters/slideMaster1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9.jpg"/><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1249681"/>
            <a:ext cx="6400800" cy="2651759"/>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a:t>Click to edit Master subtitle style</a:t>
            </a:r>
          </a:p>
        </p:txBody>
      </p:sp>
      <p:sp>
        <p:nvSpPr>
          <p:cNvPr id="6" name="Title 1"/>
          <p:cNvSpPr>
            <a:spLocks noGrp="1"/>
          </p:cNvSpPr>
          <p:nvPr>
            <p:ph type="title"/>
          </p:nvPr>
        </p:nvSpPr>
        <p:spPr>
          <a:xfrm>
            <a:off x="0" y="132080"/>
            <a:ext cx="9144000" cy="1006507"/>
          </a:xfrm>
          <a:prstGeom prst="rect">
            <a:avLst/>
          </a:prstGeom>
          <a:noFill/>
        </p:spPr>
        <p:txBody>
          <a:bodyPr/>
          <a:lstStyle>
            <a:lvl1pPr>
              <a:defRPr>
                <a:solidFill>
                  <a:srgbClr val="002450"/>
                </a:solidFill>
              </a:defRPr>
            </a:lvl1pPr>
          </a:lstStyle>
          <a:p>
            <a:r>
              <a:rPr lang="en-US" dirty="0"/>
              <a:t>Click to edit Master title style</a:t>
            </a:r>
          </a:p>
        </p:txBody>
      </p:sp>
    </p:spTree>
    <p:extLst>
      <p:ext uri="{BB962C8B-B14F-4D97-AF65-F5344CB8AC3E}">
        <p14:creationId xmlns:p14="http://schemas.microsoft.com/office/powerpoint/2010/main" val="25583284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9B840F-DD3C-4025-8609-7921DD30B81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743B1B-5D1B-4585-BCA6-F5C41489179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FC75597-F7DB-469A-B1CB-ABC60C4591C1}"/>
              </a:ext>
            </a:extLst>
          </p:cNvPr>
          <p:cNvSpPr>
            <a:spLocks noGrp="1"/>
          </p:cNvSpPr>
          <p:nvPr>
            <p:ph type="dt" sz="half" idx="10"/>
          </p:nvPr>
        </p:nvSpPr>
        <p:spPr/>
        <p:txBody>
          <a:bodyPr/>
          <a:lstStyle/>
          <a:p>
            <a:fld id="{AF14DFFF-BE29-4D39-830D-DDE47C3C97AE}" type="datetimeFigureOut">
              <a:rPr lang="en-US" smtClean="0"/>
              <a:t>5/10/2024</a:t>
            </a:fld>
            <a:endParaRPr lang="en-US"/>
          </a:p>
        </p:txBody>
      </p:sp>
      <p:sp>
        <p:nvSpPr>
          <p:cNvPr id="5" name="Footer Placeholder 4">
            <a:extLst>
              <a:ext uri="{FF2B5EF4-FFF2-40B4-BE49-F238E27FC236}">
                <a16:creationId xmlns:a16="http://schemas.microsoft.com/office/drawing/2014/main" id="{456C1D61-D90F-44D8-8197-4BE75896E4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5653B4-2114-435A-A8E6-EB1111C19CBF}"/>
              </a:ext>
            </a:extLst>
          </p:cNvPr>
          <p:cNvSpPr>
            <a:spLocks noGrp="1"/>
          </p:cNvSpPr>
          <p:nvPr>
            <p:ph type="sldNum" sz="quarter" idx="12"/>
          </p:nvPr>
        </p:nvSpPr>
        <p:spPr/>
        <p:txBody>
          <a:bodyPr/>
          <a:lstStyle/>
          <a:p>
            <a:fld id="{2D994E03-0F88-49B3-B680-88EAF0B5195C}" type="slidenum">
              <a:rPr lang="en-US" smtClean="0"/>
              <a:t>‹#›</a:t>
            </a:fld>
            <a:endParaRPr lang="en-US"/>
          </a:p>
        </p:txBody>
      </p:sp>
    </p:spTree>
    <p:extLst>
      <p:ext uri="{BB962C8B-B14F-4D97-AF65-F5344CB8AC3E}">
        <p14:creationId xmlns:p14="http://schemas.microsoft.com/office/powerpoint/2010/main" val="276456430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reast">
    <p:spTree>
      <p:nvGrpSpPr>
        <p:cNvPr id="1" name=""/>
        <p:cNvGrpSpPr/>
        <p:nvPr/>
      </p:nvGrpSpPr>
      <p:grpSpPr>
        <a:xfrm>
          <a:off x="0" y="0"/>
          <a:ext cx="0" cy="0"/>
          <a:chOff x="0" y="0"/>
          <a:chExt cx="0" cy="0"/>
        </a:xfrm>
      </p:grpSpPr>
      <p:pic>
        <p:nvPicPr>
          <p:cNvPr id="3" name="Picture 2" descr="Graphical user interface&#10;&#10;Description automatically generated">
            <a:extLst>
              <a:ext uri="{FF2B5EF4-FFF2-40B4-BE49-F238E27FC236}">
                <a16:creationId xmlns:a16="http://schemas.microsoft.com/office/drawing/2014/main" id="{4CB0EEE4-9DF7-C036-5017-BB6D67525706}"/>
              </a:ext>
            </a:extLst>
          </p:cNvPr>
          <p:cNvPicPr>
            <a:picLocks noChangeAspect="1"/>
          </p:cNvPicPr>
          <p:nvPr userDrawn="1"/>
        </p:nvPicPr>
        <p:blipFill>
          <a:blip r:embed="rId2"/>
          <a:stretch>
            <a:fillRect/>
          </a:stretch>
        </p:blipFill>
        <p:spPr>
          <a:xfrm>
            <a:off x="14075" y="12699"/>
            <a:ext cx="9129925" cy="5148263"/>
          </a:xfrm>
          <a:prstGeom prst="rect">
            <a:avLst/>
          </a:prstGeom>
        </p:spPr>
      </p:pic>
      <p:pic>
        <p:nvPicPr>
          <p:cNvPr id="4" name="Picture 3" descr="A close up of a logo&#10;&#10;Description automatically generated">
            <a:extLst>
              <a:ext uri="{FF2B5EF4-FFF2-40B4-BE49-F238E27FC236}">
                <a16:creationId xmlns:a16="http://schemas.microsoft.com/office/drawing/2014/main" id="{535178C5-66A9-C31E-E229-F55AA09B0ADC}"/>
              </a:ext>
            </a:extLst>
          </p:cNvPr>
          <p:cNvPicPr>
            <a:picLocks noChangeAspect="1"/>
          </p:cNvPicPr>
          <p:nvPr userDrawn="1"/>
        </p:nvPicPr>
        <p:blipFill>
          <a:blip r:embed="rId3"/>
          <a:stretch>
            <a:fillRect/>
          </a:stretch>
        </p:blipFill>
        <p:spPr>
          <a:xfrm>
            <a:off x="6934200" y="4407266"/>
            <a:ext cx="1836420" cy="442833"/>
          </a:xfrm>
          <a:prstGeom prst="rect">
            <a:avLst/>
          </a:prstGeom>
        </p:spPr>
      </p:pic>
    </p:spTree>
    <p:extLst>
      <p:ext uri="{BB962C8B-B14F-4D97-AF65-F5344CB8AC3E}">
        <p14:creationId xmlns:p14="http://schemas.microsoft.com/office/powerpoint/2010/main" val="199018281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GI">
    <p:spTree>
      <p:nvGrpSpPr>
        <p:cNvPr id="1" name=""/>
        <p:cNvGrpSpPr/>
        <p:nvPr/>
      </p:nvGrpSpPr>
      <p:grpSpPr>
        <a:xfrm>
          <a:off x="0" y="0"/>
          <a:ext cx="0" cy="0"/>
          <a:chOff x="0" y="0"/>
          <a:chExt cx="0" cy="0"/>
        </a:xfrm>
      </p:grpSpPr>
      <p:pic>
        <p:nvPicPr>
          <p:cNvPr id="3" name="Picture 2" descr="Calendar&#10;&#10;Description automatically generated">
            <a:extLst>
              <a:ext uri="{FF2B5EF4-FFF2-40B4-BE49-F238E27FC236}">
                <a16:creationId xmlns:a16="http://schemas.microsoft.com/office/drawing/2014/main" id="{7C270E77-EA86-094A-28E0-3F97BD736AD3}"/>
              </a:ext>
            </a:extLst>
          </p:cNvPr>
          <p:cNvPicPr>
            <a:picLocks noChangeAspect="1"/>
          </p:cNvPicPr>
          <p:nvPr userDrawn="1"/>
        </p:nvPicPr>
        <p:blipFill>
          <a:blip r:embed="rId2"/>
          <a:stretch>
            <a:fillRect/>
          </a:stretch>
        </p:blipFill>
        <p:spPr>
          <a:xfrm>
            <a:off x="14075" y="-1"/>
            <a:ext cx="9129925" cy="5148263"/>
          </a:xfrm>
          <a:prstGeom prst="rect">
            <a:avLst/>
          </a:prstGeom>
        </p:spPr>
      </p:pic>
    </p:spTree>
    <p:extLst>
      <p:ext uri="{BB962C8B-B14F-4D97-AF65-F5344CB8AC3E}">
        <p14:creationId xmlns:p14="http://schemas.microsoft.com/office/powerpoint/2010/main" val="410719153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MM">
    <p:spTree>
      <p:nvGrpSpPr>
        <p:cNvPr id="1" name=""/>
        <p:cNvGrpSpPr/>
        <p:nvPr/>
      </p:nvGrpSpPr>
      <p:grpSpPr>
        <a:xfrm>
          <a:off x="0" y="0"/>
          <a:ext cx="0" cy="0"/>
          <a:chOff x="0" y="0"/>
          <a:chExt cx="0" cy="0"/>
        </a:xfrm>
      </p:grpSpPr>
      <p:pic>
        <p:nvPicPr>
          <p:cNvPr id="6" name="Picture 5" descr="A close-up of a blue and white card&#10;&#10;Description automatically generated">
            <a:extLst>
              <a:ext uri="{FF2B5EF4-FFF2-40B4-BE49-F238E27FC236}">
                <a16:creationId xmlns:a16="http://schemas.microsoft.com/office/drawing/2014/main" id="{B8F1D679-6C5D-ADD5-C9F6-A2E76137E187}"/>
              </a:ext>
            </a:extLst>
          </p:cNvPr>
          <p:cNvPicPr>
            <a:picLocks noChangeAspect="1"/>
          </p:cNvPicPr>
          <p:nvPr userDrawn="1"/>
        </p:nvPicPr>
        <p:blipFill>
          <a:blip r:embed="rId2"/>
          <a:stretch>
            <a:fillRect/>
          </a:stretch>
        </p:blipFill>
        <p:spPr>
          <a:xfrm>
            <a:off x="0" y="0"/>
            <a:ext cx="9144000" cy="5156199"/>
          </a:xfrm>
          <a:prstGeom prst="rect">
            <a:avLst/>
          </a:prstGeom>
        </p:spPr>
      </p:pic>
    </p:spTree>
    <p:extLst>
      <p:ext uri="{BB962C8B-B14F-4D97-AF65-F5344CB8AC3E}">
        <p14:creationId xmlns:p14="http://schemas.microsoft.com/office/powerpoint/2010/main" val="57353953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dder/RCC">
    <p:spTree>
      <p:nvGrpSpPr>
        <p:cNvPr id="1" name=""/>
        <p:cNvGrpSpPr/>
        <p:nvPr/>
      </p:nvGrpSpPr>
      <p:grpSpPr>
        <a:xfrm>
          <a:off x="0" y="0"/>
          <a:ext cx="0" cy="0"/>
          <a:chOff x="0" y="0"/>
          <a:chExt cx="0" cy="0"/>
        </a:xfrm>
      </p:grpSpPr>
      <p:pic>
        <p:nvPicPr>
          <p:cNvPr id="7" name="Picture 6" descr="Graphical user interface, website&#10;&#10;Description automatically generated">
            <a:extLst>
              <a:ext uri="{FF2B5EF4-FFF2-40B4-BE49-F238E27FC236}">
                <a16:creationId xmlns:a16="http://schemas.microsoft.com/office/drawing/2014/main" id="{26B5E6D9-A130-A85C-4BEC-0AEA72687438}"/>
              </a:ext>
            </a:extLst>
          </p:cNvPr>
          <p:cNvPicPr>
            <a:picLocks noChangeAspect="1"/>
          </p:cNvPicPr>
          <p:nvPr userDrawn="1"/>
        </p:nvPicPr>
        <p:blipFill>
          <a:blip r:embed="rId2"/>
          <a:stretch>
            <a:fillRect/>
          </a:stretch>
        </p:blipFill>
        <p:spPr>
          <a:xfrm>
            <a:off x="7037" y="-1"/>
            <a:ext cx="9129925" cy="5148263"/>
          </a:xfrm>
          <a:prstGeom prst="rect">
            <a:avLst/>
          </a:prstGeom>
        </p:spPr>
      </p:pic>
    </p:spTree>
    <p:extLst>
      <p:ext uri="{BB962C8B-B14F-4D97-AF65-F5344CB8AC3E}">
        <p14:creationId xmlns:p14="http://schemas.microsoft.com/office/powerpoint/2010/main" val="333612031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Lung">
    <p:spTree>
      <p:nvGrpSpPr>
        <p:cNvPr id="1" name=""/>
        <p:cNvGrpSpPr/>
        <p:nvPr/>
      </p:nvGrpSpPr>
      <p:grpSpPr>
        <a:xfrm>
          <a:off x="0" y="0"/>
          <a:ext cx="0" cy="0"/>
          <a:chOff x="0" y="0"/>
          <a:chExt cx="0" cy="0"/>
        </a:xfrm>
      </p:grpSpPr>
      <p:pic>
        <p:nvPicPr>
          <p:cNvPr id="3" name="Picture 2" descr="Graphical user interface&#10;&#10;Description automatically generated">
            <a:extLst>
              <a:ext uri="{FF2B5EF4-FFF2-40B4-BE49-F238E27FC236}">
                <a16:creationId xmlns:a16="http://schemas.microsoft.com/office/drawing/2014/main" id="{31D1E0C4-497D-B719-A531-EF18537B06A7}"/>
              </a:ext>
            </a:extLst>
          </p:cNvPr>
          <p:cNvPicPr>
            <a:picLocks noChangeAspect="1"/>
          </p:cNvPicPr>
          <p:nvPr userDrawn="1"/>
        </p:nvPicPr>
        <p:blipFill>
          <a:blip r:embed="rId2"/>
          <a:stretch>
            <a:fillRect/>
          </a:stretch>
        </p:blipFill>
        <p:spPr>
          <a:xfrm>
            <a:off x="7037" y="0"/>
            <a:ext cx="9129925" cy="5148263"/>
          </a:xfrm>
          <a:prstGeom prst="rect">
            <a:avLst/>
          </a:prstGeom>
        </p:spPr>
      </p:pic>
    </p:spTree>
    <p:extLst>
      <p:ext uri="{BB962C8B-B14F-4D97-AF65-F5344CB8AC3E}">
        <p14:creationId xmlns:p14="http://schemas.microsoft.com/office/powerpoint/2010/main" val="1813798791"/>
      </p:ext>
    </p:extLst>
  </p:cSld>
  <p:clrMapOvr>
    <a:masterClrMapping/>
  </p:clrMapOvr>
  <p:extLst>
    <p:ext uri="{DCECCB84-F9BA-43D5-87BE-67443E8EF086}">
      <p15:sldGuideLst xmlns:p15="http://schemas.microsoft.com/office/powerpoint/2012/main">
        <p15:guide id="1" orient="horz" pos="1621">
          <p15:clr>
            <a:srgbClr val="FBAE40"/>
          </p15:clr>
        </p15:guide>
        <p15:guide id="2" pos="288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People">
    <p:spTree>
      <p:nvGrpSpPr>
        <p:cNvPr id="1" name=""/>
        <p:cNvGrpSpPr/>
        <p:nvPr/>
      </p:nvGrpSpPr>
      <p:grpSpPr>
        <a:xfrm>
          <a:off x="0" y="0"/>
          <a:ext cx="0" cy="0"/>
          <a:chOff x="0" y="0"/>
          <a:chExt cx="0" cy="0"/>
        </a:xfrm>
      </p:grpSpPr>
      <p:pic>
        <p:nvPicPr>
          <p:cNvPr id="3" name="Picture 2" descr="Graphical user interface&#10;&#10;Description automatically generated">
            <a:extLst>
              <a:ext uri="{FF2B5EF4-FFF2-40B4-BE49-F238E27FC236}">
                <a16:creationId xmlns:a16="http://schemas.microsoft.com/office/drawing/2014/main" id="{44DB8FDD-4B4D-2D77-1C61-26744F17FEFC}"/>
              </a:ext>
            </a:extLst>
          </p:cNvPr>
          <p:cNvPicPr>
            <a:picLocks noChangeAspect="1"/>
          </p:cNvPicPr>
          <p:nvPr userDrawn="1"/>
        </p:nvPicPr>
        <p:blipFill>
          <a:blip r:embed="rId2"/>
          <a:stretch>
            <a:fillRect/>
          </a:stretch>
        </p:blipFill>
        <p:spPr>
          <a:xfrm>
            <a:off x="0" y="-1"/>
            <a:ext cx="9129925" cy="5148263"/>
          </a:xfrm>
          <a:prstGeom prst="rect">
            <a:avLst/>
          </a:prstGeom>
        </p:spPr>
      </p:pic>
    </p:spTree>
    <p:extLst>
      <p:ext uri="{BB962C8B-B14F-4D97-AF65-F5344CB8AC3E}">
        <p14:creationId xmlns:p14="http://schemas.microsoft.com/office/powerpoint/2010/main" val="164174882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LL">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5B1B96D6-1054-EAFB-18A2-98214F3B8225}"/>
              </a:ext>
            </a:extLst>
          </p:cNvPr>
          <p:cNvPicPr>
            <a:picLocks noChangeAspect="1"/>
          </p:cNvPicPr>
          <p:nvPr userDrawn="1"/>
        </p:nvPicPr>
        <p:blipFill>
          <a:blip r:embed="rId2"/>
          <a:stretch>
            <a:fillRect/>
          </a:stretch>
        </p:blipFill>
        <p:spPr>
          <a:xfrm>
            <a:off x="-1" y="-12701"/>
            <a:ext cx="9129925" cy="5148263"/>
          </a:xfrm>
          <a:prstGeom prst="rect">
            <a:avLst/>
          </a:prstGeom>
        </p:spPr>
      </p:pic>
    </p:spTree>
    <p:extLst>
      <p:ext uri="{BB962C8B-B14F-4D97-AF65-F5344CB8AC3E}">
        <p14:creationId xmlns:p14="http://schemas.microsoft.com/office/powerpoint/2010/main" val="306326816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General1">
    <p:spTree>
      <p:nvGrpSpPr>
        <p:cNvPr id="1" name=""/>
        <p:cNvGrpSpPr/>
        <p:nvPr/>
      </p:nvGrpSpPr>
      <p:grpSpPr>
        <a:xfrm>
          <a:off x="0" y="0"/>
          <a:ext cx="0" cy="0"/>
          <a:chOff x="0" y="0"/>
          <a:chExt cx="0" cy="0"/>
        </a:xfrm>
      </p:grpSpPr>
      <p:pic>
        <p:nvPicPr>
          <p:cNvPr id="3" name="Picture 2" descr="A picture containing graphical user interface&#10;&#10;Description automatically generated">
            <a:extLst>
              <a:ext uri="{FF2B5EF4-FFF2-40B4-BE49-F238E27FC236}">
                <a16:creationId xmlns:a16="http://schemas.microsoft.com/office/drawing/2014/main" id="{6E77DDD1-27EC-62E0-3AE9-D48E2F8586E0}"/>
              </a:ext>
            </a:extLst>
          </p:cNvPr>
          <p:cNvPicPr>
            <a:picLocks noChangeAspect="1"/>
          </p:cNvPicPr>
          <p:nvPr userDrawn="1"/>
        </p:nvPicPr>
        <p:blipFill>
          <a:blip r:embed="rId2"/>
          <a:stretch>
            <a:fillRect/>
          </a:stretch>
        </p:blipFill>
        <p:spPr>
          <a:xfrm>
            <a:off x="-1" y="0"/>
            <a:ext cx="9144001" cy="5148263"/>
          </a:xfrm>
          <a:prstGeom prst="rect">
            <a:avLst/>
          </a:prstGeom>
        </p:spPr>
      </p:pic>
    </p:spTree>
    <p:extLst>
      <p:ext uri="{BB962C8B-B14F-4D97-AF65-F5344CB8AC3E}">
        <p14:creationId xmlns:p14="http://schemas.microsoft.com/office/powerpoint/2010/main" val="134958620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General 2">
    <p:spTree>
      <p:nvGrpSpPr>
        <p:cNvPr id="1" name=""/>
        <p:cNvGrpSpPr/>
        <p:nvPr/>
      </p:nvGrpSpPr>
      <p:grpSpPr>
        <a:xfrm>
          <a:off x="0" y="0"/>
          <a:ext cx="0" cy="0"/>
          <a:chOff x="0" y="0"/>
          <a:chExt cx="0" cy="0"/>
        </a:xfrm>
      </p:grpSpPr>
      <p:pic>
        <p:nvPicPr>
          <p:cNvPr id="3" name="Picture 2" descr="Graphical user interface&#10;&#10;Description automatically generated with medium confidence">
            <a:extLst>
              <a:ext uri="{FF2B5EF4-FFF2-40B4-BE49-F238E27FC236}">
                <a16:creationId xmlns:a16="http://schemas.microsoft.com/office/drawing/2014/main" id="{C8ED179C-DAF3-58C7-AF60-40726C5214A6}"/>
              </a:ext>
            </a:extLst>
          </p:cNvPr>
          <p:cNvPicPr>
            <a:picLocks noChangeAspect="1"/>
          </p:cNvPicPr>
          <p:nvPr userDrawn="1"/>
        </p:nvPicPr>
        <p:blipFill>
          <a:blip r:embed="rId2"/>
          <a:stretch>
            <a:fillRect/>
          </a:stretch>
        </p:blipFill>
        <p:spPr>
          <a:xfrm>
            <a:off x="0" y="-1"/>
            <a:ext cx="9129925" cy="5148263"/>
          </a:xfrm>
          <a:prstGeom prst="rect">
            <a:avLst/>
          </a:prstGeom>
        </p:spPr>
      </p:pic>
    </p:spTree>
    <p:extLst>
      <p:ext uri="{BB962C8B-B14F-4D97-AF65-F5344CB8AC3E}">
        <p14:creationId xmlns:p14="http://schemas.microsoft.com/office/powerpoint/2010/main" val="244494059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OV">
    <p:spTree>
      <p:nvGrpSpPr>
        <p:cNvPr id="1" name=""/>
        <p:cNvGrpSpPr/>
        <p:nvPr/>
      </p:nvGrpSpPr>
      <p:grpSpPr>
        <a:xfrm>
          <a:off x="0" y="0"/>
          <a:ext cx="0" cy="0"/>
          <a:chOff x="0" y="0"/>
          <a:chExt cx="0" cy="0"/>
        </a:xfrm>
      </p:grpSpPr>
      <p:pic>
        <p:nvPicPr>
          <p:cNvPr id="3" name="Picture 2" descr="Graphical user interface&#10;&#10;Description automatically generated with medium confidence">
            <a:extLst>
              <a:ext uri="{FF2B5EF4-FFF2-40B4-BE49-F238E27FC236}">
                <a16:creationId xmlns:a16="http://schemas.microsoft.com/office/drawing/2014/main" id="{9F4D702C-5DAD-37D9-1048-A82F5E818EC7}"/>
              </a:ext>
            </a:extLst>
          </p:cNvPr>
          <p:cNvPicPr>
            <a:picLocks noChangeAspect="1"/>
          </p:cNvPicPr>
          <p:nvPr userDrawn="1"/>
        </p:nvPicPr>
        <p:blipFill>
          <a:blip r:embed="rId2"/>
          <a:stretch>
            <a:fillRect/>
          </a:stretch>
        </p:blipFill>
        <p:spPr>
          <a:xfrm>
            <a:off x="0" y="-1"/>
            <a:ext cx="9129925" cy="5148263"/>
          </a:xfrm>
          <a:prstGeom prst="rect">
            <a:avLst/>
          </a:prstGeom>
        </p:spPr>
      </p:pic>
    </p:spTree>
    <p:extLst>
      <p:ext uri="{BB962C8B-B14F-4D97-AF65-F5344CB8AC3E}">
        <p14:creationId xmlns:p14="http://schemas.microsoft.com/office/powerpoint/2010/main" val="27835981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446D9A-EEED-4608-9155-05ECEADA9C0A}"/>
              </a:ext>
            </a:extLst>
          </p:cNvPr>
          <p:cNvSpPr>
            <a:spLocks noGrp="1"/>
          </p:cNvSpPr>
          <p:nvPr>
            <p:ph type="title"/>
          </p:nvPr>
        </p:nvSpPr>
        <p:spPr>
          <a:xfrm>
            <a:off x="623888" y="1282700"/>
            <a:ext cx="7886700" cy="2141538"/>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99F999B-2C83-4E36-B98C-75B5B7862835}"/>
              </a:ext>
            </a:extLst>
          </p:cNvPr>
          <p:cNvSpPr>
            <a:spLocks noGrp="1"/>
          </p:cNvSpPr>
          <p:nvPr>
            <p:ph type="body" idx="1"/>
          </p:nvPr>
        </p:nvSpPr>
        <p:spPr>
          <a:xfrm>
            <a:off x="623888" y="3444875"/>
            <a:ext cx="7886700" cy="1127125"/>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DA3FCCB-D941-45B5-895F-63709397DD88}"/>
              </a:ext>
            </a:extLst>
          </p:cNvPr>
          <p:cNvSpPr>
            <a:spLocks noGrp="1"/>
          </p:cNvSpPr>
          <p:nvPr>
            <p:ph type="dt" sz="half" idx="10"/>
          </p:nvPr>
        </p:nvSpPr>
        <p:spPr/>
        <p:txBody>
          <a:bodyPr/>
          <a:lstStyle/>
          <a:p>
            <a:fld id="{AF14DFFF-BE29-4D39-830D-DDE47C3C97AE}" type="datetimeFigureOut">
              <a:rPr lang="en-US" smtClean="0"/>
              <a:t>5/10/2024</a:t>
            </a:fld>
            <a:endParaRPr lang="en-US"/>
          </a:p>
        </p:txBody>
      </p:sp>
      <p:sp>
        <p:nvSpPr>
          <p:cNvPr id="5" name="Footer Placeholder 4">
            <a:extLst>
              <a:ext uri="{FF2B5EF4-FFF2-40B4-BE49-F238E27FC236}">
                <a16:creationId xmlns:a16="http://schemas.microsoft.com/office/drawing/2014/main" id="{128FFC6C-D399-43AA-A065-486AA8AD57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1641AF2-855C-4DD1-83C9-278A79439016}"/>
              </a:ext>
            </a:extLst>
          </p:cNvPr>
          <p:cNvSpPr>
            <a:spLocks noGrp="1"/>
          </p:cNvSpPr>
          <p:nvPr>
            <p:ph type="sldNum" sz="quarter" idx="12"/>
          </p:nvPr>
        </p:nvSpPr>
        <p:spPr/>
        <p:txBody>
          <a:bodyPr/>
          <a:lstStyle/>
          <a:p>
            <a:fld id="{2D994E03-0F88-49B3-B680-88EAF0B5195C}" type="slidenum">
              <a:rPr lang="en-US" smtClean="0"/>
              <a:t>‹#›</a:t>
            </a:fld>
            <a:endParaRPr lang="en-US"/>
          </a:p>
        </p:txBody>
      </p:sp>
    </p:spTree>
    <p:extLst>
      <p:ext uri="{BB962C8B-B14F-4D97-AF65-F5344CB8AC3E}">
        <p14:creationId xmlns:p14="http://schemas.microsoft.com/office/powerpoint/2010/main" val="279652988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reast">
    <p:spTree>
      <p:nvGrpSpPr>
        <p:cNvPr id="1" name=""/>
        <p:cNvGrpSpPr/>
        <p:nvPr/>
      </p:nvGrpSpPr>
      <p:grpSpPr>
        <a:xfrm>
          <a:off x="0" y="0"/>
          <a:ext cx="0" cy="0"/>
          <a:chOff x="0" y="0"/>
          <a:chExt cx="0" cy="0"/>
        </a:xfrm>
      </p:grpSpPr>
      <p:pic>
        <p:nvPicPr>
          <p:cNvPr id="3" name="Picture 2" descr="Graphical user interface&#10;&#10;Description automatically generated">
            <a:extLst>
              <a:ext uri="{FF2B5EF4-FFF2-40B4-BE49-F238E27FC236}">
                <a16:creationId xmlns:a16="http://schemas.microsoft.com/office/drawing/2014/main" id="{4CB0EEE4-9DF7-C036-5017-BB6D67525706}"/>
              </a:ext>
            </a:extLst>
          </p:cNvPr>
          <p:cNvPicPr>
            <a:picLocks noChangeAspect="1"/>
          </p:cNvPicPr>
          <p:nvPr userDrawn="1"/>
        </p:nvPicPr>
        <p:blipFill>
          <a:blip r:embed="rId2"/>
          <a:stretch>
            <a:fillRect/>
          </a:stretch>
        </p:blipFill>
        <p:spPr>
          <a:xfrm>
            <a:off x="14075" y="12699"/>
            <a:ext cx="9129925" cy="5148263"/>
          </a:xfrm>
          <a:prstGeom prst="rect">
            <a:avLst/>
          </a:prstGeom>
        </p:spPr>
      </p:pic>
    </p:spTree>
    <p:extLst>
      <p:ext uri="{BB962C8B-B14F-4D97-AF65-F5344CB8AC3E}">
        <p14:creationId xmlns:p14="http://schemas.microsoft.com/office/powerpoint/2010/main" val="337081437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GI">
    <p:spTree>
      <p:nvGrpSpPr>
        <p:cNvPr id="1" name=""/>
        <p:cNvGrpSpPr/>
        <p:nvPr/>
      </p:nvGrpSpPr>
      <p:grpSpPr>
        <a:xfrm>
          <a:off x="0" y="0"/>
          <a:ext cx="0" cy="0"/>
          <a:chOff x="0" y="0"/>
          <a:chExt cx="0" cy="0"/>
        </a:xfrm>
      </p:grpSpPr>
      <p:pic>
        <p:nvPicPr>
          <p:cNvPr id="3" name="Picture 2" descr="Calendar&#10;&#10;Description automatically generated">
            <a:extLst>
              <a:ext uri="{FF2B5EF4-FFF2-40B4-BE49-F238E27FC236}">
                <a16:creationId xmlns:a16="http://schemas.microsoft.com/office/drawing/2014/main" id="{7C270E77-EA86-094A-28E0-3F97BD736AD3}"/>
              </a:ext>
            </a:extLst>
          </p:cNvPr>
          <p:cNvPicPr>
            <a:picLocks noChangeAspect="1"/>
          </p:cNvPicPr>
          <p:nvPr userDrawn="1"/>
        </p:nvPicPr>
        <p:blipFill>
          <a:blip r:embed="rId2"/>
          <a:stretch>
            <a:fillRect/>
          </a:stretch>
        </p:blipFill>
        <p:spPr>
          <a:xfrm>
            <a:off x="14075" y="-1"/>
            <a:ext cx="9129925" cy="5148263"/>
          </a:xfrm>
          <a:prstGeom prst="rect">
            <a:avLst/>
          </a:prstGeom>
        </p:spPr>
      </p:pic>
    </p:spTree>
    <p:extLst>
      <p:ext uri="{BB962C8B-B14F-4D97-AF65-F5344CB8AC3E}">
        <p14:creationId xmlns:p14="http://schemas.microsoft.com/office/powerpoint/2010/main" val="162398949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MM">
    <p:spTree>
      <p:nvGrpSpPr>
        <p:cNvPr id="1" name=""/>
        <p:cNvGrpSpPr/>
        <p:nvPr/>
      </p:nvGrpSpPr>
      <p:grpSpPr>
        <a:xfrm>
          <a:off x="0" y="0"/>
          <a:ext cx="0" cy="0"/>
          <a:chOff x="0" y="0"/>
          <a:chExt cx="0" cy="0"/>
        </a:xfrm>
      </p:grpSpPr>
      <p:pic>
        <p:nvPicPr>
          <p:cNvPr id="6" name="Picture 5" descr="A close-up of a blue and white card&#10;&#10;Description automatically generated">
            <a:extLst>
              <a:ext uri="{FF2B5EF4-FFF2-40B4-BE49-F238E27FC236}">
                <a16:creationId xmlns:a16="http://schemas.microsoft.com/office/drawing/2014/main" id="{B8F1D679-6C5D-ADD5-C9F6-A2E76137E187}"/>
              </a:ext>
            </a:extLst>
          </p:cNvPr>
          <p:cNvPicPr>
            <a:picLocks noChangeAspect="1"/>
          </p:cNvPicPr>
          <p:nvPr userDrawn="1"/>
        </p:nvPicPr>
        <p:blipFill>
          <a:blip r:embed="rId2"/>
          <a:stretch>
            <a:fillRect/>
          </a:stretch>
        </p:blipFill>
        <p:spPr>
          <a:xfrm>
            <a:off x="0" y="0"/>
            <a:ext cx="9144000" cy="5156199"/>
          </a:xfrm>
          <a:prstGeom prst="rect">
            <a:avLst/>
          </a:prstGeom>
        </p:spPr>
      </p:pic>
      <p:sp>
        <p:nvSpPr>
          <p:cNvPr id="4" name="Rectangle 3">
            <a:extLst>
              <a:ext uri="{FF2B5EF4-FFF2-40B4-BE49-F238E27FC236}">
                <a16:creationId xmlns:a16="http://schemas.microsoft.com/office/drawing/2014/main" id="{F3E03340-8900-0829-5EFA-D58EA75D5A5C}"/>
              </a:ext>
            </a:extLst>
          </p:cNvPr>
          <p:cNvSpPr/>
          <p:nvPr userDrawn="1"/>
        </p:nvSpPr>
        <p:spPr>
          <a:xfrm>
            <a:off x="7924800" y="350520"/>
            <a:ext cx="666750" cy="320040"/>
          </a:xfrm>
          <a:prstGeom prst="rect">
            <a:avLst/>
          </a:prstGeom>
          <a:solidFill>
            <a:srgbClr val="FFC92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0F9E7D96-D94D-0832-DDF8-4F73E6A3AD57}"/>
              </a:ext>
            </a:extLst>
          </p:cNvPr>
          <p:cNvPicPr>
            <a:picLocks noChangeAspect="1"/>
          </p:cNvPicPr>
          <p:nvPr userDrawn="1"/>
        </p:nvPicPr>
        <p:blipFill>
          <a:blip r:embed="rId3"/>
          <a:stretch>
            <a:fillRect/>
          </a:stretch>
        </p:blipFill>
        <p:spPr>
          <a:xfrm>
            <a:off x="7279201" y="4277181"/>
            <a:ext cx="1737511" cy="762066"/>
          </a:xfrm>
          <a:prstGeom prst="rect">
            <a:avLst/>
          </a:prstGeom>
        </p:spPr>
      </p:pic>
    </p:spTree>
    <p:extLst>
      <p:ext uri="{BB962C8B-B14F-4D97-AF65-F5344CB8AC3E}">
        <p14:creationId xmlns:p14="http://schemas.microsoft.com/office/powerpoint/2010/main" val="371043147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1249681"/>
            <a:ext cx="6400800" cy="2651759"/>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a:t>Click to edit Master subtitle style</a:t>
            </a:r>
          </a:p>
        </p:txBody>
      </p:sp>
      <p:sp>
        <p:nvSpPr>
          <p:cNvPr id="6" name="Title 1"/>
          <p:cNvSpPr>
            <a:spLocks noGrp="1"/>
          </p:cNvSpPr>
          <p:nvPr>
            <p:ph type="title"/>
          </p:nvPr>
        </p:nvSpPr>
        <p:spPr>
          <a:xfrm>
            <a:off x="0" y="132080"/>
            <a:ext cx="9144000" cy="1006507"/>
          </a:xfrm>
          <a:prstGeom prst="rect">
            <a:avLst/>
          </a:prstGeom>
          <a:noFill/>
        </p:spPr>
        <p:txBody>
          <a:bodyPr/>
          <a:lstStyle>
            <a:lvl1pPr>
              <a:defRPr>
                <a:solidFill>
                  <a:srgbClr val="002450"/>
                </a:solidFill>
              </a:defRPr>
            </a:lvl1pPr>
          </a:lstStyle>
          <a:p>
            <a:r>
              <a:rPr lang="en-US" dirty="0"/>
              <a:t>Click to edit Master title style</a:t>
            </a:r>
          </a:p>
        </p:txBody>
      </p:sp>
    </p:spTree>
    <p:extLst>
      <p:ext uri="{BB962C8B-B14F-4D97-AF65-F5344CB8AC3E}">
        <p14:creationId xmlns:p14="http://schemas.microsoft.com/office/powerpoint/2010/main" val="180283373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844550"/>
            <a:ext cx="7772400" cy="31472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219643874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1117600"/>
            <a:ext cx="3810000" cy="29362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117600"/>
            <a:ext cx="3810000" cy="29362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
        <p:nvSpPr>
          <p:cNvPr id="6" name="Title 1"/>
          <p:cNvSpPr>
            <a:spLocks noGrp="1"/>
          </p:cNvSpPr>
          <p:nvPr>
            <p:ph type="title"/>
          </p:nvPr>
        </p:nvSpPr>
        <p:spPr>
          <a:xfrm>
            <a:off x="0" y="127465"/>
            <a:ext cx="9144000" cy="695496"/>
          </a:xfrm>
          <a:prstGeom prst="rect">
            <a:avLst/>
          </a:prstGeom>
          <a:noFill/>
        </p:spPr>
        <p:txBody>
          <a:bodyPr/>
          <a:lstStyle>
            <a:lvl1pPr>
              <a:defRPr>
                <a:solidFill>
                  <a:srgbClr val="003465"/>
                </a:solidFill>
              </a:defRPr>
            </a:lvl1pPr>
          </a:lstStyle>
          <a:p>
            <a:r>
              <a:rPr lang="en-US" dirty="0"/>
              <a:t>Click to edit Master title style</a:t>
            </a:r>
          </a:p>
        </p:txBody>
      </p:sp>
    </p:spTree>
    <p:extLst>
      <p:ext uri="{BB962C8B-B14F-4D97-AF65-F5344CB8AC3E}">
        <p14:creationId xmlns:p14="http://schemas.microsoft.com/office/powerpoint/2010/main" val="305826188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27464"/>
            <a:ext cx="9144000" cy="1006507"/>
          </a:xfrm>
          <a:prstGeom prst="rect">
            <a:avLst/>
          </a:prstGeom>
          <a:noFill/>
        </p:spPr>
        <p:txBody>
          <a:bodyPr/>
          <a:lstStyle>
            <a:lvl1pPr>
              <a:defRPr>
                <a:solidFill>
                  <a:srgbClr val="002450"/>
                </a:solidFill>
              </a:defRPr>
            </a:lvl1pPr>
          </a:lstStyle>
          <a:p>
            <a:r>
              <a:rPr lang="en-US" dirty="0"/>
              <a:t>Click to edit Master title style</a:t>
            </a:r>
          </a:p>
        </p:txBody>
      </p:sp>
      <p:sp>
        <p:nvSpPr>
          <p:cNvPr id="3"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15478049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0498460"/>
      </p:ext>
    </p:extLst>
  </p:cSld>
  <p:clrMapOvr>
    <a:masterClrMapping/>
  </p:clrMapOvr>
  <p:extLst>
    <p:ext uri="{DCECCB84-F9BA-43D5-87BE-67443E8EF086}">
      <p15:sldGuideLst xmlns:p15="http://schemas.microsoft.com/office/powerpoint/2012/main">
        <p15:guide id="1" orient="horz" pos="1621">
          <p15:clr>
            <a:srgbClr val="FBAE40"/>
          </p15:clr>
        </p15:guide>
        <p15:guide id="2" pos="288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3784"/>
            <a:ext cx="5486400" cy="425447"/>
          </a:xfrm>
          <a:prstGeom prst="rect">
            <a:avLst/>
          </a:prstGeom>
        </p:spPr>
        <p:txBody>
          <a:bodyPr anchor="b"/>
          <a:lstStyle>
            <a:lvl1pPr algn="l">
              <a:defRPr sz="2000" b="0" i="1"/>
            </a:lvl1pPr>
          </a:lstStyle>
          <a:p>
            <a:r>
              <a:rPr lang="en-US"/>
              <a:t>Click to edit Master title style</a:t>
            </a:r>
            <a:endParaRPr lang="en-US" dirty="0"/>
          </a:p>
        </p:txBody>
      </p:sp>
      <p:sp>
        <p:nvSpPr>
          <p:cNvPr id="3" name="Picture Placeholder 2"/>
          <p:cNvSpPr>
            <a:spLocks noGrp="1"/>
          </p:cNvSpPr>
          <p:nvPr>
            <p:ph type="pic" idx="1"/>
          </p:nvPr>
        </p:nvSpPr>
        <p:spPr>
          <a:xfrm>
            <a:off x="1792288" y="460007"/>
            <a:ext cx="5486400" cy="308895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Drag picture to placeholder or click icon to add</a:t>
            </a:r>
          </a:p>
        </p:txBody>
      </p:sp>
      <p:sp>
        <p:nvSpPr>
          <p:cNvPr id="4" name="Text Placeholder 3"/>
          <p:cNvSpPr>
            <a:spLocks noGrp="1"/>
          </p:cNvSpPr>
          <p:nvPr>
            <p:ph type="body" sz="half" idx="2"/>
          </p:nvPr>
        </p:nvSpPr>
        <p:spPr>
          <a:xfrm>
            <a:off x="1792288" y="4029231"/>
            <a:ext cx="5486400" cy="54497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259266872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006507"/>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3342583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2AB87-0DC0-417B-8484-4A0B8DC3140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5473F18-898F-4CFD-98C6-DDC753244E46}"/>
              </a:ext>
            </a:extLst>
          </p:cNvPr>
          <p:cNvSpPr>
            <a:spLocks noGrp="1"/>
          </p:cNvSpPr>
          <p:nvPr>
            <p:ph sz="half" idx="1"/>
          </p:nvPr>
        </p:nvSpPr>
        <p:spPr>
          <a:xfrm>
            <a:off x="628650" y="1370013"/>
            <a:ext cx="3867150" cy="326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D1FD847-0123-49D8-86D2-022BE10C150F}"/>
              </a:ext>
            </a:extLst>
          </p:cNvPr>
          <p:cNvSpPr>
            <a:spLocks noGrp="1"/>
          </p:cNvSpPr>
          <p:nvPr>
            <p:ph sz="half" idx="2"/>
          </p:nvPr>
        </p:nvSpPr>
        <p:spPr>
          <a:xfrm>
            <a:off x="4648200" y="1370013"/>
            <a:ext cx="3867150" cy="326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5B53343-64EB-4B6F-955D-38C8E7DC78A3}"/>
              </a:ext>
            </a:extLst>
          </p:cNvPr>
          <p:cNvSpPr>
            <a:spLocks noGrp="1"/>
          </p:cNvSpPr>
          <p:nvPr>
            <p:ph type="dt" sz="half" idx="10"/>
          </p:nvPr>
        </p:nvSpPr>
        <p:spPr/>
        <p:txBody>
          <a:bodyPr/>
          <a:lstStyle/>
          <a:p>
            <a:fld id="{AF14DFFF-BE29-4D39-830D-DDE47C3C97AE}" type="datetimeFigureOut">
              <a:rPr lang="en-US" smtClean="0"/>
              <a:t>5/10/2024</a:t>
            </a:fld>
            <a:endParaRPr lang="en-US"/>
          </a:p>
        </p:txBody>
      </p:sp>
      <p:sp>
        <p:nvSpPr>
          <p:cNvPr id="6" name="Footer Placeholder 5">
            <a:extLst>
              <a:ext uri="{FF2B5EF4-FFF2-40B4-BE49-F238E27FC236}">
                <a16:creationId xmlns:a16="http://schemas.microsoft.com/office/drawing/2014/main" id="{7EAD5855-98B8-41D0-8643-4454015225E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837C90-7F71-4EDF-93C3-7BF72629A98C}"/>
              </a:ext>
            </a:extLst>
          </p:cNvPr>
          <p:cNvSpPr>
            <a:spLocks noGrp="1"/>
          </p:cNvSpPr>
          <p:nvPr>
            <p:ph type="sldNum" sz="quarter" idx="12"/>
          </p:nvPr>
        </p:nvSpPr>
        <p:spPr/>
        <p:txBody>
          <a:bodyPr/>
          <a:lstStyle/>
          <a:p>
            <a:fld id="{2D994E03-0F88-49B3-B680-88EAF0B5195C}" type="slidenum">
              <a:rPr lang="en-US" smtClean="0"/>
              <a:t>‹#›</a:t>
            </a:fld>
            <a:endParaRPr lang="en-US"/>
          </a:p>
        </p:txBody>
      </p:sp>
    </p:spTree>
    <p:extLst>
      <p:ext uri="{BB962C8B-B14F-4D97-AF65-F5344CB8AC3E}">
        <p14:creationId xmlns:p14="http://schemas.microsoft.com/office/powerpoint/2010/main" val="191225652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a:t>Click to edit Master title style</a:t>
            </a:r>
          </a:p>
        </p:txBody>
      </p:sp>
      <p:sp>
        <p:nvSpPr>
          <p:cNvPr id="3" name="Footer Placeholder 2"/>
          <p:cNvSpPr>
            <a:spLocks noGrp="1"/>
          </p:cNvSpPr>
          <p:nvPr>
            <p:ph type="ftr" sz="quarter" idx="10"/>
          </p:nvPr>
        </p:nvSpPr>
        <p:spPr>
          <a:xfrm>
            <a:off x="2897632" y="4593882"/>
            <a:ext cx="3903712" cy="417515"/>
          </a:xfrm>
          <a:prstGeom prst="rect">
            <a:avLst/>
          </a:prstGeom>
        </p:spPr>
        <p:txBody>
          <a:bodyPr/>
          <a:lstStyle/>
          <a:p>
            <a:endParaRPr lang="en-US" dirty="0"/>
          </a:p>
        </p:txBody>
      </p:sp>
    </p:spTree>
    <p:extLst>
      <p:ext uri="{BB962C8B-B14F-4D97-AF65-F5344CB8AC3E}">
        <p14:creationId xmlns:p14="http://schemas.microsoft.com/office/powerpoint/2010/main" val="173874610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dder/RCC">
    <p:spTree>
      <p:nvGrpSpPr>
        <p:cNvPr id="1" name=""/>
        <p:cNvGrpSpPr/>
        <p:nvPr/>
      </p:nvGrpSpPr>
      <p:grpSpPr>
        <a:xfrm>
          <a:off x="0" y="0"/>
          <a:ext cx="0" cy="0"/>
          <a:chOff x="0" y="0"/>
          <a:chExt cx="0" cy="0"/>
        </a:xfrm>
      </p:grpSpPr>
      <p:pic>
        <p:nvPicPr>
          <p:cNvPr id="7" name="Picture 6" descr="Graphical user interface, website&#10;&#10;Description automatically generated">
            <a:extLst>
              <a:ext uri="{FF2B5EF4-FFF2-40B4-BE49-F238E27FC236}">
                <a16:creationId xmlns:a16="http://schemas.microsoft.com/office/drawing/2014/main" id="{26B5E6D9-A130-A85C-4BEC-0AEA72687438}"/>
              </a:ext>
            </a:extLst>
          </p:cNvPr>
          <p:cNvPicPr>
            <a:picLocks noChangeAspect="1"/>
          </p:cNvPicPr>
          <p:nvPr userDrawn="1"/>
        </p:nvPicPr>
        <p:blipFill>
          <a:blip r:embed="rId2"/>
          <a:stretch>
            <a:fillRect/>
          </a:stretch>
        </p:blipFill>
        <p:spPr>
          <a:xfrm>
            <a:off x="7037" y="-1"/>
            <a:ext cx="9129925" cy="5148263"/>
          </a:xfrm>
          <a:prstGeom prst="rect">
            <a:avLst/>
          </a:prstGeom>
        </p:spPr>
      </p:pic>
    </p:spTree>
    <p:extLst>
      <p:ext uri="{BB962C8B-B14F-4D97-AF65-F5344CB8AC3E}">
        <p14:creationId xmlns:p14="http://schemas.microsoft.com/office/powerpoint/2010/main" val="254261477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Lung">
    <p:spTree>
      <p:nvGrpSpPr>
        <p:cNvPr id="1" name=""/>
        <p:cNvGrpSpPr/>
        <p:nvPr/>
      </p:nvGrpSpPr>
      <p:grpSpPr>
        <a:xfrm>
          <a:off x="0" y="0"/>
          <a:ext cx="0" cy="0"/>
          <a:chOff x="0" y="0"/>
          <a:chExt cx="0" cy="0"/>
        </a:xfrm>
      </p:grpSpPr>
      <p:pic>
        <p:nvPicPr>
          <p:cNvPr id="3" name="Picture 2" descr="Graphical user interface&#10;&#10;Description automatically generated">
            <a:extLst>
              <a:ext uri="{FF2B5EF4-FFF2-40B4-BE49-F238E27FC236}">
                <a16:creationId xmlns:a16="http://schemas.microsoft.com/office/drawing/2014/main" id="{31D1E0C4-497D-B719-A531-EF18537B06A7}"/>
              </a:ext>
            </a:extLst>
          </p:cNvPr>
          <p:cNvPicPr>
            <a:picLocks noChangeAspect="1"/>
          </p:cNvPicPr>
          <p:nvPr userDrawn="1"/>
        </p:nvPicPr>
        <p:blipFill>
          <a:blip r:embed="rId2"/>
          <a:stretch>
            <a:fillRect/>
          </a:stretch>
        </p:blipFill>
        <p:spPr>
          <a:xfrm>
            <a:off x="7037" y="0"/>
            <a:ext cx="9129925" cy="5148263"/>
          </a:xfrm>
          <a:prstGeom prst="rect">
            <a:avLst/>
          </a:prstGeom>
        </p:spPr>
      </p:pic>
    </p:spTree>
    <p:extLst>
      <p:ext uri="{BB962C8B-B14F-4D97-AF65-F5344CB8AC3E}">
        <p14:creationId xmlns:p14="http://schemas.microsoft.com/office/powerpoint/2010/main" val="112282276"/>
      </p:ext>
    </p:extLst>
  </p:cSld>
  <p:clrMapOvr>
    <a:masterClrMapping/>
  </p:clrMapOvr>
  <p:extLst>
    <p:ext uri="{DCECCB84-F9BA-43D5-87BE-67443E8EF086}">
      <p15:sldGuideLst xmlns:p15="http://schemas.microsoft.com/office/powerpoint/2012/main">
        <p15:guide id="1" orient="horz" pos="1621">
          <p15:clr>
            <a:srgbClr val="FBAE40"/>
          </p15:clr>
        </p15:guide>
        <p15:guide id="2" pos="288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eople">
    <p:spTree>
      <p:nvGrpSpPr>
        <p:cNvPr id="1" name=""/>
        <p:cNvGrpSpPr/>
        <p:nvPr/>
      </p:nvGrpSpPr>
      <p:grpSpPr>
        <a:xfrm>
          <a:off x="0" y="0"/>
          <a:ext cx="0" cy="0"/>
          <a:chOff x="0" y="0"/>
          <a:chExt cx="0" cy="0"/>
        </a:xfrm>
      </p:grpSpPr>
      <p:pic>
        <p:nvPicPr>
          <p:cNvPr id="3" name="Picture 2" descr="Graphical user interface&#10;&#10;Description automatically generated">
            <a:extLst>
              <a:ext uri="{FF2B5EF4-FFF2-40B4-BE49-F238E27FC236}">
                <a16:creationId xmlns:a16="http://schemas.microsoft.com/office/drawing/2014/main" id="{44DB8FDD-4B4D-2D77-1C61-26744F17FEFC}"/>
              </a:ext>
            </a:extLst>
          </p:cNvPr>
          <p:cNvPicPr>
            <a:picLocks noChangeAspect="1"/>
          </p:cNvPicPr>
          <p:nvPr userDrawn="1"/>
        </p:nvPicPr>
        <p:blipFill>
          <a:blip r:embed="rId2"/>
          <a:stretch>
            <a:fillRect/>
          </a:stretch>
        </p:blipFill>
        <p:spPr>
          <a:xfrm>
            <a:off x="0" y="-1"/>
            <a:ext cx="9129925" cy="5148263"/>
          </a:xfrm>
          <a:prstGeom prst="rect">
            <a:avLst/>
          </a:prstGeom>
        </p:spPr>
      </p:pic>
    </p:spTree>
    <p:extLst>
      <p:ext uri="{BB962C8B-B14F-4D97-AF65-F5344CB8AC3E}">
        <p14:creationId xmlns:p14="http://schemas.microsoft.com/office/powerpoint/2010/main" val="268506948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L">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5B1B96D6-1054-EAFB-18A2-98214F3B8225}"/>
              </a:ext>
            </a:extLst>
          </p:cNvPr>
          <p:cNvPicPr>
            <a:picLocks noChangeAspect="1"/>
          </p:cNvPicPr>
          <p:nvPr userDrawn="1"/>
        </p:nvPicPr>
        <p:blipFill>
          <a:blip r:embed="rId2"/>
          <a:stretch>
            <a:fillRect/>
          </a:stretch>
        </p:blipFill>
        <p:spPr>
          <a:xfrm>
            <a:off x="-1" y="-12701"/>
            <a:ext cx="9129925" cy="5148263"/>
          </a:xfrm>
          <a:prstGeom prst="rect">
            <a:avLst/>
          </a:prstGeom>
        </p:spPr>
      </p:pic>
    </p:spTree>
    <p:extLst>
      <p:ext uri="{BB962C8B-B14F-4D97-AF65-F5344CB8AC3E}">
        <p14:creationId xmlns:p14="http://schemas.microsoft.com/office/powerpoint/2010/main" val="222356306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General1">
    <p:spTree>
      <p:nvGrpSpPr>
        <p:cNvPr id="1" name=""/>
        <p:cNvGrpSpPr/>
        <p:nvPr/>
      </p:nvGrpSpPr>
      <p:grpSpPr>
        <a:xfrm>
          <a:off x="0" y="0"/>
          <a:ext cx="0" cy="0"/>
          <a:chOff x="0" y="0"/>
          <a:chExt cx="0" cy="0"/>
        </a:xfrm>
      </p:grpSpPr>
      <p:pic>
        <p:nvPicPr>
          <p:cNvPr id="3" name="Picture 2" descr="A picture containing graphical user interface&#10;&#10;Description automatically generated">
            <a:extLst>
              <a:ext uri="{FF2B5EF4-FFF2-40B4-BE49-F238E27FC236}">
                <a16:creationId xmlns:a16="http://schemas.microsoft.com/office/drawing/2014/main" id="{6E77DDD1-27EC-62E0-3AE9-D48E2F8586E0}"/>
              </a:ext>
            </a:extLst>
          </p:cNvPr>
          <p:cNvPicPr>
            <a:picLocks noChangeAspect="1"/>
          </p:cNvPicPr>
          <p:nvPr userDrawn="1"/>
        </p:nvPicPr>
        <p:blipFill>
          <a:blip r:embed="rId2"/>
          <a:stretch>
            <a:fillRect/>
          </a:stretch>
        </p:blipFill>
        <p:spPr>
          <a:xfrm>
            <a:off x="-1" y="0"/>
            <a:ext cx="9144001" cy="5148263"/>
          </a:xfrm>
          <a:prstGeom prst="rect">
            <a:avLst/>
          </a:prstGeom>
        </p:spPr>
      </p:pic>
    </p:spTree>
    <p:extLst>
      <p:ext uri="{BB962C8B-B14F-4D97-AF65-F5344CB8AC3E}">
        <p14:creationId xmlns:p14="http://schemas.microsoft.com/office/powerpoint/2010/main" val="50059601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General 2">
    <p:spTree>
      <p:nvGrpSpPr>
        <p:cNvPr id="1" name=""/>
        <p:cNvGrpSpPr/>
        <p:nvPr/>
      </p:nvGrpSpPr>
      <p:grpSpPr>
        <a:xfrm>
          <a:off x="0" y="0"/>
          <a:ext cx="0" cy="0"/>
          <a:chOff x="0" y="0"/>
          <a:chExt cx="0" cy="0"/>
        </a:xfrm>
      </p:grpSpPr>
      <p:pic>
        <p:nvPicPr>
          <p:cNvPr id="3" name="Picture 2" descr="Graphical user interface&#10;&#10;Description automatically generated with medium confidence">
            <a:extLst>
              <a:ext uri="{FF2B5EF4-FFF2-40B4-BE49-F238E27FC236}">
                <a16:creationId xmlns:a16="http://schemas.microsoft.com/office/drawing/2014/main" id="{C8ED179C-DAF3-58C7-AF60-40726C5214A6}"/>
              </a:ext>
            </a:extLst>
          </p:cNvPr>
          <p:cNvPicPr>
            <a:picLocks noChangeAspect="1"/>
          </p:cNvPicPr>
          <p:nvPr userDrawn="1"/>
        </p:nvPicPr>
        <p:blipFill>
          <a:blip r:embed="rId2"/>
          <a:stretch>
            <a:fillRect/>
          </a:stretch>
        </p:blipFill>
        <p:spPr>
          <a:xfrm>
            <a:off x="0" y="-1"/>
            <a:ext cx="9129925" cy="5148263"/>
          </a:xfrm>
          <a:prstGeom prst="rect">
            <a:avLst/>
          </a:prstGeom>
        </p:spPr>
      </p:pic>
    </p:spTree>
    <p:extLst>
      <p:ext uri="{BB962C8B-B14F-4D97-AF65-F5344CB8AC3E}">
        <p14:creationId xmlns:p14="http://schemas.microsoft.com/office/powerpoint/2010/main" val="170298114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OV">
    <p:spTree>
      <p:nvGrpSpPr>
        <p:cNvPr id="1" name=""/>
        <p:cNvGrpSpPr/>
        <p:nvPr/>
      </p:nvGrpSpPr>
      <p:grpSpPr>
        <a:xfrm>
          <a:off x="0" y="0"/>
          <a:ext cx="0" cy="0"/>
          <a:chOff x="0" y="0"/>
          <a:chExt cx="0" cy="0"/>
        </a:xfrm>
      </p:grpSpPr>
      <p:pic>
        <p:nvPicPr>
          <p:cNvPr id="3" name="Picture 2" descr="Graphical user interface&#10;&#10;Description automatically generated with medium confidence">
            <a:extLst>
              <a:ext uri="{FF2B5EF4-FFF2-40B4-BE49-F238E27FC236}">
                <a16:creationId xmlns:a16="http://schemas.microsoft.com/office/drawing/2014/main" id="{9F4D702C-5DAD-37D9-1048-A82F5E818EC7}"/>
              </a:ext>
            </a:extLst>
          </p:cNvPr>
          <p:cNvPicPr>
            <a:picLocks noChangeAspect="1"/>
          </p:cNvPicPr>
          <p:nvPr userDrawn="1"/>
        </p:nvPicPr>
        <p:blipFill>
          <a:blip r:embed="rId2"/>
          <a:stretch>
            <a:fillRect/>
          </a:stretch>
        </p:blipFill>
        <p:spPr>
          <a:xfrm>
            <a:off x="0" y="-1"/>
            <a:ext cx="9129925" cy="5148263"/>
          </a:xfrm>
          <a:prstGeom prst="rect">
            <a:avLst/>
          </a:prstGeom>
        </p:spPr>
      </p:pic>
    </p:spTree>
    <p:extLst>
      <p:ext uri="{BB962C8B-B14F-4D97-AF65-F5344CB8AC3E}">
        <p14:creationId xmlns:p14="http://schemas.microsoft.com/office/powerpoint/2010/main" val="30075862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reast">
    <p:spTree>
      <p:nvGrpSpPr>
        <p:cNvPr id="1" name=""/>
        <p:cNvGrpSpPr/>
        <p:nvPr/>
      </p:nvGrpSpPr>
      <p:grpSpPr>
        <a:xfrm>
          <a:off x="0" y="0"/>
          <a:ext cx="0" cy="0"/>
          <a:chOff x="0" y="0"/>
          <a:chExt cx="0" cy="0"/>
        </a:xfrm>
      </p:grpSpPr>
      <p:pic>
        <p:nvPicPr>
          <p:cNvPr id="3" name="Picture 2" descr="Graphical user interface&#10;&#10;Description automatically generated">
            <a:extLst>
              <a:ext uri="{FF2B5EF4-FFF2-40B4-BE49-F238E27FC236}">
                <a16:creationId xmlns:a16="http://schemas.microsoft.com/office/drawing/2014/main" id="{4CB0EEE4-9DF7-C036-5017-BB6D67525706}"/>
              </a:ext>
            </a:extLst>
          </p:cNvPr>
          <p:cNvPicPr>
            <a:picLocks noChangeAspect="1"/>
          </p:cNvPicPr>
          <p:nvPr userDrawn="1"/>
        </p:nvPicPr>
        <p:blipFill>
          <a:blip r:embed="rId2"/>
          <a:stretch>
            <a:fillRect/>
          </a:stretch>
        </p:blipFill>
        <p:spPr>
          <a:xfrm>
            <a:off x="14075" y="12699"/>
            <a:ext cx="9129925" cy="5148263"/>
          </a:xfrm>
          <a:prstGeom prst="rect">
            <a:avLst/>
          </a:prstGeom>
        </p:spPr>
      </p:pic>
      <p:pic>
        <p:nvPicPr>
          <p:cNvPr id="4" name="Picture 3" descr="A black background with red and orange text&#10;&#10;Description automatically generated">
            <a:extLst>
              <a:ext uri="{FF2B5EF4-FFF2-40B4-BE49-F238E27FC236}">
                <a16:creationId xmlns:a16="http://schemas.microsoft.com/office/drawing/2014/main" id="{B9646973-21CA-80D8-51CE-FB3357B3F87E}"/>
              </a:ext>
            </a:extLst>
          </p:cNvPr>
          <p:cNvPicPr>
            <a:picLocks noChangeAspect="1"/>
          </p:cNvPicPr>
          <p:nvPr userDrawn="1"/>
        </p:nvPicPr>
        <p:blipFill>
          <a:blip r:embed="rId3"/>
          <a:stretch>
            <a:fillRect/>
          </a:stretch>
        </p:blipFill>
        <p:spPr>
          <a:xfrm>
            <a:off x="8115183" y="4228290"/>
            <a:ext cx="854438" cy="848637"/>
          </a:xfrm>
          <a:prstGeom prst="rect">
            <a:avLst/>
          </a:prstGeom>
        </p:spPr>
      </p:pic>
    </p:spTree>
    <p:extLst>
      <p:ext uri="{BB962C8B-B14F-4D97-AF65-F5344CB8AC3E}">
        <p14:creationId xmlns:p14="http://schemas.microsoft.com/office/powerpoint/2010/main" val="91499016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GI">
    <p:spTree>
      <p:nvGrpSpPr>
        <p:cNvPr id="1" name=""/>
        <p:cNvGrpSpPr/>
        <p:nvPr/>
      </p:nvGrpSpPr>
      <p:grpSpPr>
        <a:xfrm>
          <a:off x="0" y="0"/>
          <a:ext cx="0" cy="0"/>
          <a:chOff x="0" y="0"/>
          <a:chExt cx="0" cy="0"/>
        </a:xfrm>
      </p:grpSpPr>
      <p:pic>
        <p:nvPicPr>
          <p:cNvPr id="3" name="Picture 2" descr="Calendar&#10;&#10;Description automatically generated">
            <a:extLst>
              <a:ext uri="{FF2B5EF4-FFF2-40B4-BE49-F238E27FC236}">
                <a16:creationId xmlns:a16="http://schemas.microsoft.com/office/drawing/2014/main" id="{7C270E77-EA86-094A-28E0-3F97BD736AD3}"/>
              </a:ext>
            </a:extLst>
          </p:cNvPr>
          <p:cNvPicPr>
            <a:picLocks noChangeAspect="1"/>
          </p:cNvPicPr>
          <p:nvPr userDrawn="1"/>
        </p:nvPicPr>
        <p:blipFill>
          <a:blip r:embed="rId2"/>
          <a:stretch>
            <a:fillRect/>
          </a:stretch>
        </p:blipFill>
        <p:spPr>
          <a:xfrm>
            <a:off x="14075" y="-1"/>
            <a:ext cx="9129925" cy="5148263"/>
          </a:xfrm>
          <a:prstGeom prst="rect">
            <a:avLst/>
          </a:prstGeom>
        </p:spPr>
      </p:pic>
    </p:spTree>
    <p:extLst>
      <p:ext uri="{BB962C8B-B14F-4D97-AF65-F5344CB8AC3E}">
        <p14:creationId xmlns:p14="http://schemas.microsoft.com/office/powerpoint/2010/main" val="14498436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500F37-846D-409E-B61F-0BA43EBC6713}"/>
              </a:ext>
            </a:extLst>
          </p:cNvPr>
          <p:cNvSpPr>
            <a:spLocks noGrp="1"/>
          </p:cNvSpPr>
          <p:nvPr>
            <p:ph type="title"/>
          </p:nvPr>
        </p:nvSpPr>
        <p:spPr>
          <a:xfrm>
            <a:off x="630238" y="274638"/>
            <a:ext cx="7886700" cy="993775"/>
          </a:xfrm>
        </p:spPr>
        <p:txBody>
          <a:bodyPr/>
          <a:lstStyle/>
          <a:p>
            <a:r>
              <a:rPr lang="en-US"/>
              <a:t>Click to edit Master title style</a:t>
            </a:r>
          </a:p>
        </p:txBody>
      </p:sp>
      <p:sp>
        <p:nvSpPr>
          <p:cNvPr id="3" name="Text Placeholder 2">
            <a:extLst>
              <a:ext uri="{FF2B5EF4-FFF2-40B4-BE49-F238E27FC236}">
                <a16:creationId xmlns:a16="http://schemas.microsoft.com/office/drawing/2014/main" id="{AD56DE71-F999-457C-AFCF-7633ECBFD5EA}"/>
              </a:ext>
            </a:extLst>
          </p:cNvPr>
          <p:cNvSpPr>
            <a:spLocks noGrp="1"/>
          </p:cNvSpPr>
          <p:nvPr>
            <p:ph type="body" idx="1"/>
          </p:nvPr>
        </p:nvSpPr>
        <p:spPr>
          <a:xfrm>
            <a:off x="630238" y="1262063"/>
            <a:ext cx="3868737"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A848B18-4B16-4563-85E2-9F46D60C08F0}"/>
              </a:ext>
            </a:extLst>
          </p:cNvPr>
          <p:cNvSpPr>
            <a:spLocks noGrp="1"/>
          </p:cNvSpPr>
          <p:nvPr>
            <p:ph sz="half" idx="2"/>
          </p:nvPr>
        </p:nvSpPr>
        <p:spPr>
          <a:xfrm>
            <a:off x="630238" y="1881188"/>
            <a:ext cx="3868737" cy="2765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2DFC2D2-5022-4218-AE1D-603E751FBF64}"/>
              </a:ext>
            </a:extLst>
          </p:cNvPr>
          <p:cNvSpPr>
            <a:spLocks noGrp="1"/>
          </p:cNvSpPr>
          <p:nvPr>
            <p:ph type="body" sz="quarter" idx="3"/>
          </p:nvPr>
        </p:nvSpPr>
        <p:spPr>
          <a:xfrm>
            <a:off x="4629150" y="1262063"/>
            <a:ext cx="3887788"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7471805-1A87-4172-8B36-31020053A580}"/>
              </a:ext>
            </a:extLst>
          </p:cNvPr>
          <p:cNvSpPr>
            <a:spLocks noGrp="1"/>
          </p:cNvSpPr>
          <p:nvPr>
            <p:ph sz="quarter" idx="4"/>
          </p:nvPr>
        </p:nvSpPr>
        <p:spPr>
          <a:xfrm>
            <a:off x="4629150" y="1881188"/>
            <a:ext cx="3887788" cy="2765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BAFB294-79EC-4B17-BA19-B710F9DA9AE0}"/>
              </a:ext>
            </a:extLst>
          </p:cNvPr>
          <p:cNvSpPr>
            <a:spLocks noGrp="1"/>
          </p:cNvSpPr>
          <p:nvPr>
            <p:ph type="dt" sz="half" idx="10"/>
          </p:nvPr>
        </p:nvSpPr>
        <p:spPr/>
        <p:txBody>
          <a:bodyPr/>
          <a:lstStyle/>
          <a:p>
            <a:fld id="{AF14DFFF-BE29-4D39-830D-DDE47C3C97AE}" type="datetimeFigureOut">
              <a:rPr lang="en-US" smtClean="0"/>
              <a:t>5/10/2024</a:t>
            </a:fld>
            <a:endParaRPr lang="en-US"/>
          </a:p>
        </p:txBody>
      </p:sp>
      <p:sp>
        <p:nvSpPr>
          <p:cNvPr id="8" name="Footer Placeholder 7">
            <a:extLst>
              <a:ext uri="{FF2B5EF4-FFF2-40B4-BE49-F238E27FC236}">
                <a16:creationId xmlns:a16="http://schemas.microsoft.com/office/drawing/2014/main" id="{80D9DF68-74B6-4F37-BBD0-9EBA41F364E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CEB2735-345D-47BA-BF70-75C150E82153}"/>
              </a:ext>
            </a:extLst>
          </p:cNvPr>
          <p:cNvSpPr>
            <a:spLocks noGrp="1"/>
          </p:cNvSpPr>
          <p:nvPr>
            <p:ph type="sldNum" sz="quarter" idx="12"/>
          </p:nvPr>
        </p:nvSpPr>
        <p:spPr/>
        <p:txBody>
          <a:bodyPr/>
          <a:lstStyle/>
          <a:p>
            <a:fld id="{2D994E03-0F88-49B3-B680-88EAF0B5195C}" type="slidenum">
              <a:rPr lang="en-US" smtClean="0"/>
              <a:t>‹#›</a:t>
            </a:fld>
            <a:endParaRPr lang="en-US"/>
          </a:p>
        </p:txBody>
      </p:sp>
    </p:spTree>
    <p:extLst>
      <p:ext uri="{BB962C8B-B14F-4D97-AF65-F5344CB8AC3E}">
        <p14:creationId xmlns:p14="http://schemas.microsoft.com/office/powerpoint/2010/main" val="312741285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MM">
    <p:spTree>
      <p:nvGrpSpPr>
        <p:cNvPr id="1" name=""/>
        <p:cNvGrpSpPr/>
        <p:nvPr/>
      </p:nvGrpSpPr>
      <p:grpSpPr>
        <a:xfrm>
          <a:off x="0" y="0"/>
          <a:ext cx="0" cy="0"/>
          <a:chOff x="0" y="0"/>
          <a:chExt cx="0" cy="0"/>
        </a:xfrm>
      </p:grpSpPr>
      <p:pic>
        <p:nvPicPr>
          <p:cNvPr id="6" name="Picture 5" descr="A close-up of a blue and white card&#10;&#10;Description automatically generated">
            <a:extLst>
              <a:ext uri="{FF2B5EF4-FFF2-40B4-BE49-F238E27FC236}">
                <a16:creationId xmlns:a16="http://schemas.microsoft.com/office/drawing/2014/main" id="{B8F1D679-6C5D-ADD5-C9F6-A2E76137E187}"/>
              </a:ext>
            </a:extLst>
          </p:cNvPr>
          <p:cNvPicPr>
            <a:picLocks noChangeAspect="1"/>
          </p:cNvPicPr>
          <p:nvPr userDrawn="1"/>
        </p:nvPicPr>
        <p:blipFill>
          <a:blip r:embed="rId2"/>
          <a:stretch>
            <a:fillRect/>
          </a:stretch>
        </p:blipFill>
        <p:spPr>
          <a:xfrm>
            <a:off x="0" y="0"/>
            <a:ext cx="9144000" cy="5156199"/>
          </a:xfrm>
          <a:prstGeom prst="rect">
            <a:avLst/>
          </a:prstGeom>
        </p:spPr>
      </p:pic>
      <p:pic>
        <p:nvPicPr>
          <p:cNvPr id="4" name="Picture 3" descr="A logo for an immunization center&#10;&#10;Description automatically generated">
            <a:extLst>
              <a:ext uri="{FF2B5EF4-FFF2-40B4-BE49-F238E27FC236}">
                <a16:creationId xmlns:a16="http://schemas.microsoft.com/office/drawing/2014/main" id="{1C0680F0-AFEE-EB13-2D0E-AEE315DA38F0}"/>
              </a:ext>
            </a:extLst>
          </p:cNvPr>
          <p:cNvPicPr>
            <a:picLocks noChangeAspect="1"/>
          </p:cNvPicPr>
          <p:nvPr userDrawn="1"/>
        </p:nvPicPr>
        <p:blipFill>
          <a:blip r:embed="rId3"/>
          <a:stretch>
            <a:fillRect/>
          </a:stretch>
        </p:blipFill>
        <p:spPr>
          <a:xfrm>
            <a:off x="8046721" y="4292364"/>
            <a:ext cx="929640" cy="726359"/>
          </a:xfrm>
          <a:prstGeom prst="rect">
            <a:avLst/>
          </a:prstGeom>
        </p:spPr>
      </p:pic>
    </p:spTree>
    <p:extLst>
      <p:ext uri="{BB962C8B-B14F-4D97-AF65-F5344CB8AC3E}">
        <p14:creationId xmlns:p14="http://schemas.microsoft.com/office/powerpoint/2010/main" val="18169653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407A2-D819-4C4D-AFCB-538DF5CA137F}"/>
              </a:ext>
            </a:extLst>
          </p:cNvPr>
          <p:cNvSpPr>
            <a:spLocks noGrp="1"/>
          </p:cNvSpPr>
          <p:nvPr>
            <p:ph type="ctrTitle"/>
          </p:nvPr>
        </p:nvSpPr>
        <p:spPr>
          <a:xfrm>
            <a:off x="1143000" y="842552"/>
            <a:ext cx="6858000" cy="1792358"/>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6491D18E-8123-004B-6CB1-24F05848C8A6}"/>
              </a:ext>
            </a:extLst>
          </p:cNvPr>
          <p:cNvSpPr>
            <a:spLocks noGrp="1"/>
          </p:cNvSpPr>
          <p:nvPr>
            <p:ph type="subTitle" idx="1"/>
          </p:nvPr>
        </p:nvSpPr>
        <p:spPr>
          <a:xfrm>
            <a:off x="1143000" y="2704030"/>
            <a:ext cx="6858000" cy="1242971"/>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79051CD5-1EEC-0FD1-A7FC-490A20B7F428}"/>
              </a:ext>
            </a:extLst>
          </p:cNvPr>
          <p:cNvSpPr>
            <a:spLocks noGrp="1"/>
          </p:cNvSpPr>
          <p:nvPr>
            <p:ph type="dt" sz="half" idx="10"/>
          </p:nvPr>
        </p:nvSpPr>
        <p:spPr/>
        <p:txBody>
          <a:bodyPr/>
          <a:lstStyle/>
          <a:p>
            <a:fld id="{05834BF6-1AC8-2349-BB78-6727C1965871}" type="datetimeFigureOut">
              <a:rPr lang="en-US" smtClean="0"/>
              <a:t>5/10/2024</a:t>
            </a:fld>
            <a:endParaRPr lang="en-US"/>
          </a:p>
        </p:txBody>
      </p:sp>
      <p:sp>
        <p:nvSpPr>
          <p:cNvPr id="5" name="Footer Placeholder 4">
            <a:extLst>
              <a:ext uri="{FF2B5EF4-FFF2-40B4-BE49-F238E27FC236}">
                <a16:creationId xmlns:a16="http://schemas.microsoft.com/office/drawing/2014/main" id="{200AFDDC-C925-7FEF-F475-FA5EBE53A7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5C9F47-1369-2450-2492-5D407F549BA7}"/>
              </a:ext>
            </a:extLst>
          </p:cNvPr>
          <p:cNvSpPr>
            <a:spLocks noGrp="1"/>
          </p:cNvSpPr>
          <p:nvPr>
            <p:ph type="sldNum" sz="quarter" idx="12"/>
          </p:nvPr>
        </p:nvSpPr>
        <p:spPr/>
        <p:txBody>
          <a:bodyPr/>
          <a:lstStyle/>
          <a:p>
            <a:fld id="{0F490B9D-4A25-EF4C-8680-CCEF6CF61D8F}" type="slidenum">
              <a:rPr lang="en-US" smtClean="0"/>
              <a:t>‹#›</a:t>
            </a:fld>
            <a:endParaRPr lang="en-US"/>
          </a:p>
        </p:txBody>
      </p:sp>
    </p:spTree>
    <p:extLst>
      <p:ext uri="{BB962C8B-B14F-4D97-AF65-F5344CB8AC3E}">
        <p14:creationId xmlns:p14="http://schemas.microsoft.com/office/powerpoint/2010/main" val="139212210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13E17-0D7F-FB79-3C00-B077F558C3F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A7E89A-1476-F1FB-071E-CF0FFC927B5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AEE788-7FCF-90C0-45B5-290354916CDB}"/>
              </a:ext>
            </a:extLst>
          </p:cNvPr>
          <p:cNvSpPr>
            <a:spLocks noGrp="1"/>
          </p:cNvSpPr>
          <p:nvPr>
            <p:ph type="dt" sz="half" idx="10"/>
          </p:nvPr>
        </p:nvSpPr>
        <p:spPr/>
        <p:txBody>
          <a:bodyPr/>
          <a:lstStyle/>
          <a:p>
            <a:fld id="{05834BF6-1AC8-2349-BB78-6727C1965871}" type="datetimeFigureOut">
              <a:rPr lang="en-US" smtClean="0"/>
              <a:t>5/10/2024</a:t>
            </a:fld>
            <a:endParaRPr lang="en-US"/>
          </a:p>
        </p:txBody>
      </p:sp>
      <p:sp>
        <p:nvSpPr>
          <p:cNvPr id="5" name="Footer Placeholder 4">
            <a:extLst>
              <a:ext uri="{FF2B5EF4-FFF2-40B4-BE49-F238E27FC236}">
                <a16:creationId xmlns:a16="http://schemas.microsoft.com/office/drawing/2014/main" id="{8D49B532-7C81-C889-D00C-7191BC5084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DF8C3C-3B59-B839-1AA0-F77D646FC231}"/>
              </a:ext>
            </a:extLst>
          </p:cNvPr>
          <p:cNvSpPr>
            <a:spLocks noGrp="1"/>
          </p:cNvSpPr>
          <p:nvPr>
            <p:ph type="sldNum" sz="quarter" idx="12"/>
          </p:nvPr>
        </p:nvSpPr>
        <p:spPr/>
        <p:txBody>
          <a:bodyPr/>
          <a:lstStyle/>
          <a:p>
            <a:fld id="{0F490B9D-4A25-EF4C-8680-CCEF6CF61D8F}" type="slidenum">
              <a:rPr lang="en-US" smtClean="0"/>
              <a:t>‹#›</a:t>
            </a:fld>
            <a:endParaRPr lang="en-US"/>
          </a:p>
        </p:txBody>
      </p:sp>
    </p:spTree>
    <p:extLst>
      <p:ext uri="{BB962C8B-B14F-4D97-AF65-F5344CB8AC3E}">
        <p14:creationId xmlns:p14="http://schemas.microsoft.com/office/powerpoint/2010/main" val="42034192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54472-1B53-A971-3CE2-838BAADC26A2}"/>
              </a:ext>
            </a:extLst>
          </p:cNvPr>
          <p:cNvSpPr>
            <a:spLocks noGrp="1"/>
          </p:cNvSpPr>
          <p:nvPr>
            <p:ph type="title"/>
          </p:nvPr>
        </p:nvSpPr>
        <p:spPr>
          <a:xfrm>
            <a:off x="623888" y="1283491"/>
            <a:ext cx="7886700" cy="2141534"/>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7CE73CC6-EF35-B890-3AD9-E4A5816DB06F}"/>
              </a:ext>
            </a:extLst>
          </p:cNvPr>
          <p:cNvSpPr>
            <a:spLocks noGrp="1"/>
          </p:cNvSpPr>
          <p:nvPr>
            <p:ph type="body" idx="1"/>
          </p:nvPr>
        </p:nvSpPr>
        <p:spPr>
          <a:xfrm>
            <a:off x="623888" y="3445285"/>
            <a:ext cx="7886700" cy="1126182"/>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C162025-50D3-7512-368C-427E33900B32}"/>
              </a:ext>
            </a:extLst>
          </p:cNvPr>
          <p:cNvSpPr>
            <a:spLocks noGrp="1"/>
          </p:cNvSpPr>
          <p:nvPr>
            <p:ph type="dt" sz="half" idx="10"/>
          </p:nvPr>
        </p:nvSpPr>
        <p:spPr/>
        <p:txBody>
          <a:bodyPr/>
          <a:lstStyle/>
          <a:p>
            <a:fld id="{05834BF6-1AC8-2349-BB78-6727C1965871}" type="datetimeFigureOut">
              <a:rPr lang="en-US" smtClean="0"/>
              <a:t>5/10/2024</a:t>
            </a:fld>
            <a:endParaRPr lang="en-US"/>
          </a:p>
        </p:txBody>
      </p:sp>
      <p:sp>
        <p:nvSpPr>
          <p:cNvPr id="5" name="Footer Placeholder 4">
            <a:extLst>
              <a:ext uri="{FF2B5EF4-FFF2-40B4-BE49-F238E27FC236}">
                <a16:creationId xmlns:a16="http://schemas.microsoft.com/office/drawing/2014/main" id="{FDC772E2-33C2-B131-E0FF-5BC1B3D80F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B9BE38-4058-F15A-CA7C-E7AA05FEC75E}"/>
              </a:ext>
            </a:extLst>
          </p:cNvPr>
          <p:cNvSpPr>
            <a:spLocks noGrp="1"/>
          </p:cNvSpPr>
          <p:nvPr>
            <p:ph type="sldNum" sz="quarter" idx="12"/>
          </p:nvPr>
        </p:nvSpPr>
        <p:spPr/>
        <p:txBody>
          <a:bodyPr/>
          <a:lstStyle/>
          <a:p>
            <a:fld id="{0F490B9D-4A25-EF4C-8680-CCEF6CF61D8F}" type="slidenum">
              <a:rPr lang="en-US" smtClean="0"/>
              <a:t>‹#›</a:t>
            </a:fld>
            <a:endParaRPr lang="en-US"/>
          </a:p>
        </p:txBody>
      </p:sp>
    </p:spTree>
    <p:extLst>
      <p:ext uri="{BB962C8B-B14F-4D97-AF65-F5344CB8AC3E}">
        <p14:creationId xmlns:p14="http://schemas.microsoft.com/office/powerpoint/2010/main" val="17981630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DB27D2-5270-1B7A-5DAB-FC946D75CC9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5D0BB48-5507-5EDB-75DE-7F8CB7136A74}"/>
              </a:ext>
            </a:extLst>
          </p:cNvPr>
          <p:cNvSpPr>
            <a:spLocks noGrp="1"/>
          </p:cNvSpPr>
          <p:nvPr>
            <p:ph sz="half" idx="1"/>
          </p:nvPr>
        </p:nvSpPr>
        <p:spPr>
          <a:xfrm>
            <a:off x="628650" y="1370486"/>
            <a:ext cx="3886200" cy="32665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74CDAE9-59FC-F769-7C5B-5B85BC6FB6B8}"/>
              </a:ext>
            </a:extLst>
          </p:cNvPr>
          <p:cNvSpPr>
            <a:spLocks noGrp="1"/>
          </p:cNvSpPr>
          <p:nvPr>
            <p:ph sz="half" idx="2"/>
          </p:nvPr>
        </p:nvSpPr>
        <p:spPr>
          <a:xfrm>
            <a:off x="4629150" y="1370486"/>
            <a:ext cx="3886200" cy="32665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071A96E-9403-CC68-00D1-AE97C20B1B2B}"/>
              </a:ext>
            </a:extLst>
          </p:cNvPr>
          <p:cNvSpPr>
            <a:spLocks noGrp="1"/>
          </p:cNvSpPr>
          <p:nvPr>
            <p:ph type="dt" sz="half" idx="10"/>
          </p:nvPr>
        </p:nvSpPr>
        <p:spPr/>
        <p:txBody>
          <a:bodyPr/>
          <a:lstStyle/>
          <a:p>
            <a:fld id="{05834BF6-1AC8-2349-BB78-6727C1965871}" type="datetimeFigureOut">
              <a:rPr lang="en-US" smtClean="0"/>
              <a:t>5/10/2024</a:t>
            </a:fld>
            <a:endParaRPr lang="en-US"/>
          </a:p>
        </p:txBody>
      </p:sp>
      <p:sp>
        <p:nvSpPr>
          <p:cNvPr id="6" name="Footer Placeholder 5">
            <a:extLst>
              <a:ext uri="{FF2B5EF4-FFF2-40B4-BE49-F238E27FC236}">
                <a16:creationId xmlns:a16="http://schemas.microsoft.com/office/drawing/2014/main" id="{A959BE6A-046E-A3DC-FE3B-F4200B29B06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B00414-EA9F-38B7-1696-E7DDA0D127A4}"/>
              </a:ext>
            </a:extLst>
          </p:cNvPr>
          <p:cNvSpPr>
            <a:spLocks noGrp="1"/>
          </p:cNvSpPr>
          <p:nvPr>
            <p:ph type="sldNum" sz="quarter" idx="12"/>
          </p:nvPr>
        </p:nvSpPr>
        <p:spPr/>
        <p:txBody>
          <a:bodyPr/>
          <a:lstStyle/>
          <a:p>
            <a:fld id="{0F490B9D-4A25-EF4C-8680-CCEF6CF61D8F}" type="slidenum">
              <a:rPr lang="en-US" smtClean="0"/>
              <a:t>‹#›</a:t>
            </a:fld>
            <a:endParaRPr lang="en-US"/>
          </a:p>
        </p:txBody>
      </p:sp>
    </p:spTree>
    <p:extLst>
      <p:ext uri="{BB962C8B-B14F-4D97-AF65-F5344CB8AC3E}">
        <p14:creationId xmlns:p14="http://schemas.microsoft.com/office/powerpoint/2010/main" val="199820739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DA6BA6-86DB-34CE-73EA-C3489FA43D12}"/>
              </a:ext>
            </a:extLst>
          </p:cNvPr>
          <p:cNvSpPr>
            <a:spLocks noGrp="1"/>
          </p:cNvSpPr>
          <p:nvPr>
            <p:ph type="title"/>
          </p:nvPr>
        </p:nvSpPr>
        <p:spPr>
          <a:xfrm>
            <a:off x="629841" y="274098"/>
            <a:ext cx="7886700" cy="99509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A907E6C-6D85-447B-13B2-719AF7A461D7}"/>
              </a:ext>
            </a:extLst>
          </p:cNvPr>
          <p:cNvSpPr>
            <a:spLocks noGrp="1"/>
          </p:cNvSpPr>
          <p:nvPr>
            <p:ph type="body" idx="1"/>
          </p:nvPr>
        </p:nvSpPr>
        <p:spPr>
          <a:xfrm>
            <a:off x="629842" y="1262040"/>
            <a:ext cx="3868340" cy="618506"/>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78495D2B-A520-958C-3826-90531F4D45BC}"/>
              </a:ext>
            </a:extLst>
          </p:cNvPr>
          <p:cNvSpPr>
            <a:spLocks noGrp="1"/>
          </p:cNvSpPr>
          <p:nvPr>
            <p:ph sz="half" idx="2"/>
          </p:nvPr>
        </p:nvSpPr>
        <p:spPr>
          <a:xfrm>
            <a:off x="629842" y="1880546"/>
            <a:ext cx="3868340" cy="276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09FB9FD-65AC-B82A-9234-4FF8A2DE4B70}"/>
              </a:ext>
            </a:extLst>
          </p:cNvPr>
          <p:cNvSpPr>
            <a:spLocks noGrp="1"/>
          </p:cNvSpPr>
          <p:nvPr>
            <p:ph type="body" sz="quarter" idx="3"/>
          </p:nvPr>
        </p:nvSpPr>
        <p:spPr>
          <a:xfrm>
            <a:off x="4629150" y="1262040"/>
            <a:ext cx="3887391" cy="618506"/>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7E1ED897-DBF4-CDDA-2CB7-1EB5B1C5C8E3}"/>
              </a:ext>
            </a:extLst>
          </p:cNvPr>
          <p:cNvSpPr>
            <a:spLocks noGrp="1"/>
          </p:cNvSpPr>
          <p:nvPr>
            <p:ph sz="quarter" idx="4"/>
          </p:nvPr>
        </p:nvSpPr>
        <p:spPr>
          <a:xfrm>
            <a:off x="4629150" y="1880546"/>
            <a:ext cx="3887391" cy="276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3688421-9C77-F0EE-36C2-A1A52CE0B17B}"/>
              </a:ext>
            </a:extLst>
          </p:cNvPr>
          <p:cNvSpPr>
            <a:spLocks noGrp="1"/>
          </p:cNvSpPr>
          <p:nvPr>
            <p:ph type="dt" sz="half" idx="10"/>
          </p:nvPr>
        </p:nvSpPr>
        <p:spPr/>
        <p:txBody>
          <a:bodyPr/>
          <a:lstStyle/>
          <a:p>
            <a:fld id="{05834BF6-1AC8-2349-BB78-6727C1965871}" type="datetimeFigureOut">
              <a:rPr lang="en-US" smtClean="0"/>
              <a:t>5/10/2024</a:t>
            </a:fld>
            <a:endParaRPr lang="en-US"/>
          </a:p>
        </p:txBody>
      </p:sp>
      <p:sp>
        <p:nvSpPr>
          <p:cNvPr id="8" name="Footer Placeholder 7">
            <a:extLst>
              <a:ext uri="{FF2B5EF4-FFF2-40B4-BE49-F238E27FC236}">
                <a16:creationId xmlns:a16="http://schemas.microsoft.com/office/drawing/2014/main" id="{19CB7B63-48E1-2E97-3EA6-C3A049E3868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76FB7D9-76AC-F6D4-7266-3CF78114E7B8}"/>
              </a:ext>
            </a:extLst>
          </p:cNvPr>
          <p:cNvSpPr>
            <a:spLocks noGrp="1"/>
          </p:cNvSpPr>
          <p:nvPr>
            <p:ph type="sldNum" sz="quarter" idx="12"/>
          </p:nvPr>
        </p:nvSpPr>
        <p:spPr/>
        <p:txBody>
          <a:bodyPr/>
          <a:lstStyle/>
          <a:p>
            <a:fld id="{0F490B9D-4A25-EF4C-8680-CCEF6CF61D8F}" type="slidenum">
              <a:rPr lang="en-US" smtClean="0"/>
              <a:t>‹#›</a:t>
            </a:fld>
            <a:endParaRPr lang="en-US"/>
          </a:p>
        </p:txBody>
      </p:sp>
    </p:spTree>
    <p:extLst>
      <p:ext uri="{BB962C8B-B14F-4D97-AF65-F5344CB8AC3E}">
        <p14:creationId xmlns:p14="http://schemas.microsoft.com/office/powerpoint/2010/main" val="203946683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CBAC8-4B6B-A902-8ACF-B9BA50CE93B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229BC4D-2272-3587-A0A2-A80335FE0E7C}"/>
              </a:ext>
            </a:extLst>
          </p:cNvPr>
          <p:cNvSpPr>
            <a:spLocks noGrp="1"/>
          </p:cNvSpPr>
          <p:nvPr>
            <p:ph type="dt" sz="half" idx="10"/>
          </p:nvPr>
        </p:nvSpPr>
        <p:spPr/>
        <p:txBody>
          <a:bodyPr/>
          <a:lstStyle/>
          <a:p>
            <a:fld id="{05834BF6-1AC8-2349-BB78-6727C1965871}" type="datetimeFigureOut">
              <a:rPr lang="en-US" smtClean="0"/>
              <a:t>5/10/2024</a:t>
            </a:fld>
            <a:endParaRPr lang="en-US"/>
          </a:p>
        </p:txBody>
      </p:sp>
      <p:sp>
        <p:nvSpPr>
          <p:cNvPr id="4" name="Footer Placeholder 3">
            <a:extLst>
              <a:ext uri="{FF2B5EF4-FFF2-40B4-BE49-F238E27FC236}">
                <a16:creationId xmlns:a16="http://schemas.microsoft.com/office/drawing/2014/main" id="{A8AB6E7A-E6A3-95FD-0AD0-D4075B13225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C96CD86-BA40-DE54-F959-8ACB33E46748}"/>
              </a:ext>
            </a:extLst>
          </p:cNvPr>
          <p:cNvSpPr>
            <a:spLocks noGrp="1"/>
          </p:cNvSpPr>
          <p:nvPr>
            <p:ph type="sldNum" sz="quarter" idx="12"/>
          </p:nvPr>
        </p:nvSpPr>
        <p:spPr/>
        <p:txBody>
          <a:bodyPr/>
          <a:lstStyle/>
          <a:p>
            <a:fld id="{0F490B9D-4A25-EF4C-8680-CCEF6CF61D8F}" type="slidenum">
              <a:rPr lang="en-US" smtClean="0"/>
              <a:t>‹#›</a:t>
            </a:fld>
            <a:endParaRPr lang="en-US"/>
          </a:p>
        </p:txBody>
      </p:sp>
    </p:spTree>
    <p:extLst>
      <p:ext uri="{BB962C8B-B14F-4D97-AF65-F5344CB8AC3E}">
        <p14:creationId xmlns:p14="http://schemas.microsoft.com/office/powerpoint/2010/main" val="206576921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A3E414C-C693-D115-2B05-2BB9CC8AE855}"/>
              </a:ext>
            </a:extLst>
          </p:cNvPr>
          <p:cNvSpPr>
            <a:spLocks noGrp="1"/>
          </p:cNvSpPr>
          <p:nvPr>
            <p:ph type="dt" sz="half" idx="10"/>
          </p:nvPr>
        </p:nvSpPr>
        <p:spPr/>
        <p:txBody>
          <a:bodyPr/>
          <a:lstStyle/>
          <a:p>
            <a:fld id="{05834BF6-1AC8-2349-BB78-6727C1965871}" type="datetimeFigureOut">
              <a:rPr lang="en-US" smtClean="0"/>
              <a:t>5/10/2024</a:t>
            </a:fld>
            <a:endParaRPr lang="en-US"/>
          </a:p>
        </p:txBody>
      </p:sp>
      <p:sp>
        <p:nvSpPr>
          <p:cNvPr id="3" name="Footer Placeholder 2">
            <a:extLst>
              <a:ext uri="{FF2B5EF4-FFF2-40B4-BE49-F238E27FC236}">
                <a16:creationId xmlns:a16="http://schemas.microsoft.com/office/drawing/2014/main" id="{8279EDEF-11C7-AB02-C2A4-85072F32215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F5AE128-2AC1-A0C2-F9A9-44419AB47CC8}"/>
              </a:ext>
            </a:extLst>
          </p:cNvPr>
          <p:cNvSpPr>
            <a:spLocks noGrp="1"/>
          </p:cNvSpPr>
          <p:nvPr>
            <p:ph type="sldNum" sz="quarter" idx="12"/>
          </p:nvPr>
        </p:nvSpPr>
        <p:spPr/>
        <p:txBody>
          <a:bodyPr/>
          <a:lstStyle/>
          <a:p>
            <a:fld id="{0F490B9D-4A25-EF4C-8680-CCEF6CF61D8F}" type="slidenum">
              <a:rPr lang="en-US" smtClean="0"/>
              <a:t>‹#›</a:t>
            </a:fld>
            <a:endParaRPr lang="en-US"/>
          </a:p>
        </p:txBody>
      </p:sp>
    </p:spTree>
    <p:extLst>
      <p:ext uri="{BB962C8B-B14F-4D97-AF65-F5344CB8AC3E}">
        <p14:creationId xmlns:p14="http://schemas.microsoft.com/office/powerpoint/2010/main" val="163166974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E267D-5960-B4A7-A28C-E1354A565982}"/>
              </a:ext>
            </a:extLst>
          </p:cNvPr>
          <p:cNvSpPr>
            <a:spLocks noGrp="1"/>
          </p:cNvSpPr>
          <p:nvPr>
            <p:ph type="title"/>
          </p:nvPr>
        </p:nvSpPr>
        <p:spPr>
          <a:xfrm>
            <a:off x="629841" y="343218"/>
            <a:ext cx="2949178" cy="1201261"/>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AD87578B-CDA7-FCF5-87B9-2F7C521C3D43}"/>
              </a:ext>
            </a:extLst>
          </p:cNvPr>
          <p:cNvSpPr>
            <a:spLocks noGrp="1"/>
          </p:cNvSpPr>
          <p:nvPr>
            <p:ph idx="1"/>
          </p:nvPr>
        </p:nvSpPr>
        <p:spPr>
          <a:xfrm>
            <a:off x="3887391" y="741255"/>
            <a:ext cx="4629150" cy="3658604"/>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7E7970F-CD42-8DAE-3C89-282EDF2AAD60}"/>
              </a:ext>
            </a:extLst>
          </p:cNvPr>
          <p:cNvSpPr>
            <a:spLocks noGrp="1"/>
          </p:cNvSpPr>
          <p:nvPr>
            <p:ph type="body" sz="half" idx="2"/>
          </p:nvPr>
        </p:nvSpPr>
        <p:spPr>
          <a:xfrm>
            <a:off x="629841" y="1544479"/>
            <a:ext cx="2949178" cy="286133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7AD13941-83A1-2423-A12F-3222C39D9E39}"/>
              </a:ext>
            </a:extLst>
          </p:cNvPr>
          <p:cNvSpPr>
            <a:spLocks noGrp="1"/>
          </p:cNvSpPr>
          <p:nvPr>
            <p:ph type="dt" sz="half" idx="10"/>
          </p:nvPr>
        </p:nvSpPr>
        <p:spPr/>
        <p:txBody>
          <a:bodyPr/>
          <a:lstStyle/>
          <a:p>
            <a:fld id="{05834BF6-1AC8-2349-BB78-6727C1965871}" type="datetimeFigureOut">
              <a:rPr lang="en-US" smtClean="0"/>
              <a:t>5/10/2024</a:t>
            </a:fld>
            <a:endParaRPr lang="en-US"/>
          </a:p>
        </p:txBody>
      </p:sp>
      <p:sp>
        <p:nvSpPr>
          <p:cNvPr id="6" name="Footer Placeholder 5">
            <a:extLst>
              <a:ext uri="{FF2B5EF4-FFF2-40B4-BE49-F238E27FC236}">
                <a16:creationId xmlns:a16="http://schemas.microsoft.com/office/drawing/2014/main" id="{C371536F-5783-349F-6109-D7648F6F1E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878750C-426D-23CF-E0A9-63C3635EE7C3}"/>
              </a:ext>
            </a:extLst>
          </p:cNvPr>
          <p:cNvSpPr>
            <a:spLocks noGrp="1"/>
          </p:cNvSpPr>
          <p:nvPr>
            <p:ph type="sldNum" sz="quarter" idx="12"/>
          </p:nvPr>
        </p:nvSpPr>
        <p:spPr/>
        <p:txBody>
          <a:bodyPr/>
          <a:lstStyle/>
          <a:p>
            <a:fld id="{0F490B9D-4A25-EF4C-8680-CCEF6CF61D8F}" type="slidenum">
              <a:rPr lang="en-US" smtClean="0"/>
              <a:t>‹#›</a:t>
            </a:fld>
            <a:endParaRPr lang="en-US"/>
          </a:p>
        </p:txBody>
      </p:sp>
    </p:spTree>
    <p:extLst>
      <p:ext uri="{BB962C8B-B14F-4D97-AF65-F5344CB8AC3E}">
        <p14:creationId xmlns:p14="http://schemas.microsoft.com/office/powerpoint/2010/main" val="265927963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3BB4A-D690-9057-03D5-F1EF9DCACF94}"/>
              </a:ext>
            </a:extLst>
          </p:cNvPr>
          <p:cNvSpPr>
            <a:spLocks noGrp="1"/>
          </p:cNvSpPr>
          <p:nvPr>
            <p:ph type="title"/>
          </p:nvPr>
        </p:nvSpPr>
        <p:spPr>
          <a:xfrm>
            <a:off x="629841" y="343218"/>
            <a:ext cx="2949178" cy="1201261"/>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ABF204D4-8CA0-4167-47B7-56A3CAC18166}"/>
              </a:ext>
            </a:extLst>
          </p:cNvPr>
          <p:cNvSpPr>
            <a:spLocks noGrp="1"/>
          </p:cNvSpPr>
          <p:nvPr>
            <p:ph type="pic" idx="1"/>
          </p:nvPr>
        </p:nvSpPr>
        <p:spPr>
          <a:xfrm>
            <a:off x="3887391" y="741255"/>
            <a:ext cx="4629150" cy="3658604"/>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AFA13F86-21C6-9CB0-1EB4-C02794F3A462}"/>
              </a:ext>
            </a:extLst>
          </p:cNvPr>
          <p:cNvSpPr>
            <a:spLocks noGrp="1"/>
          </p:cNvSpPr>
          <p:nvPr>
            <p:ph type="body" sz="half" idx="2"/>
          </p:nvPr>
        </p:nvSpPr>
        <p:spPr>
          <a:xfrm>
            <a:off x="629841" y="1544479"/>
            <a:ext cx="2949178" cy="286133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8A75DD57-56BF-8EDA-9C1C-7AD015B3F583}"/>
              </a:ext>
            </a:extLst>
          </p:cNvPr>
          <p:cNvSpPr>
            <a:spLocks noGrp="1"/>
          </p:cNvSpPr>
          <p:nvPr>
            <p:ph type="dt" sz="half" idx="10"/>
          </p:nvPr>
        </p:nvSpPr>
        <p:spPr/>
        <p:txBody>
          <a:bodyPr/>
          <a:lstStyle/>
          <a:p>
            <a:fld id="{05834BF6-1AC8-2349-BB78-6727C1965871}" type="datetimeFigureOut">
              <a:rPr lang="en-US" smtClean="0"/>
              <a:t>5/10/2024</a:t>
            </a:fld>
            <a:endParaRPr lang="en-US"/>
          </a:p>
        </p:txBody>
      </p:sp>
      <p:sp>
        <p:nvSpPr>
          <p:cNvPr id="6" name="Footer Placeholder 5">
            <a:extLst>
              <a:ext uri="{FF2B5EF4-FFF2-40B4-BE49-F238E27FC236}">
                <a16:creationId xmlns:a16="http://schemas.microsoft.com/office/drawing/2014/main" id="{8812EB7A-9C3F-74F1-10FD-2E7612CB6A3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22D5023-A167-9864-708B-E873BC8A5F3F}"/>
              </a:ext>
            </a:extLst>
          </p:cNvPr>
          <p:cNvSpPr>
            <a:spLocks noGrp="1"/>
          </p:cNvSpPr>
          <p:nvPr>
            <p:ph type="sldNum" sz="quarter" idx="12"/>
          </p:nvPr>
        </p:nvSpPr>
        <p:spPr/>
        <p:txBody>
          <a:bodyPr/>
          <a:lstStyle/>
          <a:p>
            <a:fld id="{0F490B9D-4A25-EF4C-8680-CCEF6CF61D8F}" type="slidenum">
              <a:rPr lang="en-US" smtClean="0"/>
              <a:t>‹#›</a:t>
            </a:fld>
            <a:endParaRPr lang="en-US"/>
          </a:p>
        </p:txBody>
      </p:sp>
    </p:spTree>
    <p:extLst>
      <p:ext uri="{BB962C8B-B14F-4D97-AF65-F5344CB8AC3E}">
        <p14:creationId xmlns:p14="http://schemas.microsoft.com/office/powerpoint/2010/main" val="34155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F06FED-23CF-4EE4-8693-27DDB4040A6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D52DB67-DBF9-465E-A03D-CEFBC68668BB}"/>
              </a:ext>
            </a:extLst>
          </p:cNvPr>
          <p:cNvSpPr>
            <a:spLocks noGrp="1"/>
          </p:cNvSpPr>
          <p:nvPr>
            <p:ph type="dt" sz="half" idx="10"/>
          </p:nvPr>
        </p:nvSpPr>
        <p:spPr/>
        <p:txBody>
          <a:bodyPr/>
          <a:lstStyle/>
          <a:p>
            <a:fld id="{AF14DFFF-BE29-4D39-830D-DDE47C3C97AE}" type="datetimeFigureOut">
              <a:rPr lang="en-US" smtClean="0"/>
              <a:t>5/10/2024</a:t>
            </a:fld>
            <a:endParaRPr lang="en-US"/>
          </a:p>
        </p:txBody>
      </p:sp>
      <p:sp>
        <p:nvSpPr>
          <p:cNvPr id="4" name="Footer Placeholder 3">
            <a:extLst>
              <a:ext uri="{FF2B5EF4-FFF2-40B4-BE49-F238E27FC236}">
                <a16:creationId xmlns:a16="http://schemas.microsoft.com/office/drawing/2014/main" id="{75A44DE0-A2FC-4C62-913B-63B5080CECF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6ADA929-DC14-434B-AA8B-8F9708513F61}"/>
              </a:ext>
            </a:extLst>
          </p:cNvPr>
          <p:cNvSpPr>
            <a:spLocks noGrp="1"/>
          </p:cNvSpPr>
          <p:nvPr>
            <p:ph type="sldNum" sz="quarter" idx="12"/>
          </p:nvPr>
        </p:nvSpPr>
        <p:spPr/>
        <p:txBody>
          <a:bodyPr/>
          <a:lstStyle/>
          <a:p>
            <a:fld id="{2D994E03-0F88-49B3-B680-88EAF0B5195C}" type="slidenum">
              <a:rPr lang="en-US" smtClean="0"/>
              <a:t>‹#›</a:t>
            </a:fld>
            <a:endParaRPr lang="en-US"/>
          </a:p>
        </p:txBody>
      </p:sp>
    </p:spTree>
    <p:extLst>
      <p:ext uri="{BB962C8B-B14F-4D97-AF65-F5344CB8AC3E}">
        <p14:creationId xmlns:p14="http://schemas.microsoft.com/office/powerpoint/2010/main" val="90039214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F6AA51-26A1-9797-0D69-A1AEC2B6E37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40DABE9-92E9-773D-C2E7-D5A72A1CE76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5FBD82-6BF5-7799-0CA9-BB9C282DEB71}"/>
              </a:ext>
            </a:extLst>
          </p:cNvPr>
          <p:cNvSpPr>
            <a:spLocks noGrp="1"/>
          </p:cNvSpPr>
          <p:nvPr>
            <p:ph type="dt" sz="half" idx="10"/>
          </p:nvPr>
        </p:nvSpPr>
        <p:spPr/>
        <p:txBody>
          <a:bodyPr/>
          <a:lstStyle/>
          <a:p>
            <a:fld id="{05834BF6-1AC8-2349-BB78-6727C1965871}" type="datetimeFigureOut">
              <a:rPr lang="en-US" smtClean="0"/>
              <a:t>5/10/2024</a:t>
            </a:fld>
            <a:endParaRPr lang="en-US"/>
          </a:p>
        </p:txBody>
      </p:sp>
      <p:sp>
        <p:nvSpPr>
          <p:cNvPr id="5" name="Footer Placeholder 4">
            <a:extLst>
              <a:ext uri="{FF2B5EF4-FFF2-40B4-BE49-F238E27FC236}">
                <a16:creationId xmlns:a16="http://schemas.microsoft.com/office/drawing/2014/main" id="{B291B8E6-5EAC-3EAC-1D39-0185475449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AE63D1-E6B9-B34E-9672-414CFD3FFE8E}"/>
              </a:ext>
            </a:extLst>
          </p:cNvPr>
          <p:cNvSpPr>
            <a:spLocks noGrp="1"/>
          </p:cNvSpPr>
          <p:nvPr>
            <p:ph type="sldNum" sz="quarter" idx="12"/>
          </p:nvPr>
        </p:nvSpPr>
        <p:spPr/>
        <p:txBody>
          <a:bodyPr/>
          <a:lstStyle/>
          <a:p>
            <a:fld id="{0F490B9D-4A25-EF4C-8680-CCEF6CF61D8F}" type="slidenum">
              <a:rPr lang="en-US" smtClean="0"/>
              <a:t>‹#›</a:t>
            </a:fld>
            <a:endParaRPr lang="en-US"/>
          </a:p>
        </p:txBody>
      </p:sp>
    </p:spTree>
    <p:extLst>
      <p:ext uri="{BB962C8B-B14F-4D97-AF65-F5344CB8AC3E}">
        <p14:creationId xmlns:p14="http://schemas.microsoft.com/office/powerpoint/2010/main" val="394771184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38CB69-F6E3-9484-866F-E6DC76712A1F}"/>
              </a:ext>
            </a:extLst>
          </p:cNvPr>
          <p:cNvSpPr>
            <a:spLocks noGrp="1"/>
          </p:cNvSpPr>
          <p:nvPr>
            <p:ph type="title" orient="vert"/>
          </p:nvPr>
        </p:nvSpPr>
        <p:spPr>
          <a:xfrm>
            <a:off x="6543675" y="274097"/>
            <a:ext cx="1971675" cy="4362915"/>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ADE8D33-68DE-9351-C2A1-5A72ADBA47C2}"/>
              </a:ext>
            </a:extLst>
          </p:cNvPr>
          <p:cNvSpPr>
            <a:spLocks noGrp="1"/>
          </p:cNvSpPr>
          <p:nvPr>
            <p:ph type="body" orient="vert" idx="1"/>
          </p:nvPr>
        </p:nvSpPr>
        <p:spPr>
          <a:xfrm>
            <a:off x="628650" y="274097"/>
            <a:ext cx="5800725" cy="436291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25CA63-E032-79C3-FBE1-79623A49F547}"/>
              </a:ext>
            </a:extLst>
          </p:cNvPr>
          <p:cNvSpPr>
            <a:spLocks noGrp="1"/>
          </p:cNvSpPr>
          <p:nvPr>
            <p:ph type="dt" sz="half" idx="10"/>
          </p:nvPr>
        </p:nvSpPr>
        <p:spPr/>
        <p:txBody>
          <a:bodyPr/>
          <a:lstStyle/>
          <a:p>
            <a:fld id="{05834BF6-1AC8-2349-BB78-6727C1965871}" type="datetimeFigureOut">
              <a:rPr lang="en-US" smtClean="0"/>
              <a:t>5/10/2024</a:t>
            </a:fld>
            <a:endParaRPr lang="en-US"/>
          </a:p>
        </p:txBody>
      </p:sp>
      <p:sp>
        <p:nvSpPr>
          <p:cNvPr id="5" name="Footer Placeholder 4">
            <a:extLst>
              <a:ext uri="{FF2B5EF4-FFF2-40B4-BE49-F238E27FC236}">
                <a16:creationId xmlns:a16="http://schemas.microsoft.com/office/drawing/2014/main" id="{611A31C7-1AD3-2781-637F-AE5653E117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ED62AB-B111-8960-AE6D-AB47190D26A1}"/>
              </a:ext>
            </a:extLst>
          </p:cNvPr>
          <p:cNvSpPr>
            <a:spLocks noGrp="1"/>
          </p:cNvSpPr>
          <p:nvPr>
            <p:ph type="sldNum" sz="quarter" idx="12"/>
          </p:nvPr>
        </p:nvSpPr>
        <p:spPr/>
        <p:txBody>
          <a:bodyPr/>
          <a:lstStyle/>
          <a:p>
            <a:fld id="{0F490B9D-4A25-EF4C-8680-CCEF6CF61D8F}" type="slidenum">
              <a:rPr lang="en-US" smtClean="0"/>
              <a:t>‹#›</a:t>
            </a:fld>
            <a:endParaRPr lang="en-US"/>
          </a:p>
        </p:txBody>
      </p:sp>
    </p:spTree>
    <p:extLst>
      <p:ext uri="{BB962C8B-B14F-4D97-AF65-F5344CB8AC3E}">
        <p14:creationId xmlns:p14="http://schemas.microsoft.com/office/powerpoint/2010/main" val="188606083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dder/RCC">
    <p:spTree>
      <p:nvGrpSpPr>
        <p:cNvPr id="1" name=""/>
        <p:cNvGrpSpPr/>
        <p:nvPr/>
      </p:nvGrpSpPr>
      <p:grpSpPr>
        <a:xfrm>
          <a:off x="0" y="0"/>
          <a:ext cx="0" cy="0"/>
          <a:chOff x="0" y="0"/>
          <a:chExt cx="0" cy="0"/>
        </a:xfrm>
      </p:grpSpPr>
      <p:pic>
        <p:nvPicPr>
          <p:cNvPr id="7" name="Picture 6" descr="Graphical user interface, website&#10;&#10;Description automatically generated">
            <a:extLst>
              <a:ext uri="{FF2B5EF4-FFF2-40B4-BE49-F238E27FC236}">
                <a16:creationId xmlns:a16="http://schemas.microsoft.com/office/drawing/2014/main" id="{26B5E6D9-A130-A85C-4BEC-0AEA72687438}"/>
              </a:ext>
            </a:extLst>
          </p:cNvPr>
          <p:cNvPicPr>
            <a:picLocks noChangeAspect="1"/>
          </p:cNvPicPr>
          <p:nvPr userDrawn="1"/>
        </p:nvPicPr>
        <p:blipFill>
          <a:blip r:embed="rId2"/>
          <a:stretch>
            <a:fillRect/>
          </a:stretch>
        </p:blipFill>
        <p:spPr>
          <a:xfrm>
            <a:off x="7037" y="-1"/>
            <a:ext cx="9129925" cy="5148263"/>
          </a:xfrm>
          <a:prstGeom prst="rect">
            <a:avLst/>
          </a:prstGeom>
        </p:spPr>
      </p:pic>
    </p:spTree>
    <p:extLst>
      <p:ext uri="{BB962C8B-B14F-4D97-AF65-F5344CB8AC3E}">
        <p14:creationId xmlns:p14="http://schemas.microsoft.com/office/powerpoint/2010/main" val="252183635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Lung">
    <p:spTree>
      <p:nvGrpSpPr>
        <p:cNvPr id="1" name=""/>
        <p:cNvGrpSpPr/>
        <p:nvPr/>
      </p:nvGrpSpPr>
      <p:grpSpPr>
        <a:xfrm>
          <a:off x="0" y="0"/>
          <a:ext cx="0" cy="0"/>
          <a:chOff x="0" y="0"/>
          <a:chExt cx="0" cy="0"/>
        </a:xfrm>
      </p:grpSpPr>
      <p:pic>
        <p:nvPicPr>
          <p:cNvPr id="3" name="Picture 2" descr="Graphical user interface&#10;&#10;Description automatically generated">
            <a:extLst>
              <a:ext uri="{FF2B5EF4-FFF2-40B4-BE49-F238E27FC236}">
                <a16:creationId xmlns:a16="http://schemas.microsoft.com/office/drawing/2014/main" id="{31D1E0C4-497D-B719-A531-EF18537B06A7}"/>
              </a:ext>
            </a:extLst>
          </p:cNvPr>
          <p:cNvPicPr>
            <a:picLocks noChangeAspect="1"/>
          </p:cNvPicPr>
          <p:nvPr userDrawn="1"/>
        </p:nvPicPr>
        <p:blipFill>
          <a:blip r:embed="rId2"/>
          <a:stretch>
            <a:fillRect/>
          </a:stretch>
        </p:blipFill>
        <p:spPr>
          <a:xfrm>
            <a:off x="7037" y="0"/>
            <a:ext cx="9129925" cy="5148263"/>
          </a:xfrm>
          <a:prstGeom prst="rect">
            <a:avLst/>
          </a:prstGeom>
        </p:spPr>
      </p:pic>
    </p:spTree>
    <p:extLst>
      <p:ext uri="{BB962C8B-B14F-4D97-AF65-F5344CB8AC3E}">
        <p14:creationId xmlns:p14="http://schemas.microsoft.com/office/powerpoint/2010/main" val="3492499013"/>
      </p:ext>
    </p:extLst>
  </p:cSld>
  <p:clrMapOvr>
    <a:masterClrMapping/>
  </p:clrMapOvr>
  <p:extLst>
    <p:ext uri="{DCECCB84-F9BA-43D5-87BE-67443E8EF086}">
      <p15:sldGuideLst xmlns:p15="http://schemas.microsoft.com/office/powerpoint/2012/main">
        <p15:guide id="1" orient="horz" pos="1621">
          <p15:clr>
            <a:srgbClr val="FBAE40"/>
          </p15:clr>
        </p15:guide>
        <p15:guide id="2" pos="288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People">
    <p:spTree>
      <p:nvGrpSpPr>
        <p:cNvPr id="1" name=""/>
        <p:cNvGrpSpPr/>
        <p:nvPr/>
      </p:nvGrpSpPr>
      <p:grpSpPr>
        <a:xfrm>
          <a:off x="0" y="0"/>
          <a:ext cx="0" cy="0"/>
          <a:chOff x="0" y="0"/>
          <a:chExt cx="0" cy="0"/>
        </a:xfrm>
      </p:grpSpPr>
      <p:pic>
        <p:nvPicPr>
          <p:cNvPr id="3" name="Picture 2" descr="Graphical user interface&#10;&#10;Description automatically generated">
            <a:extLst>
              <a:ext uri="{FF2B5EF4-FFF2-40B4-BE49-F238E27FC236}">
                <a16:creationId xmlns:a16="http://schemas.microsoft.com/office/drawing/2014/main" id="{44DB8FDD-4B4D-2D77-1C61-26744F17FEFC}"/>
              </a:ext>
            </a:extLst>
          </p:cNvPr>
          <p:cNvPicPr>
            <a:picLocks noChangeAspect="1"/>
          </p:cNvPicPr>
          <p:nvPr userDrawn="1"/>
        </p:nvPicPr>
        <p:blipFill>
          <a:blip r:embed="rId2"/>
          <a:stretch>
            <a:fillRect/>
          </a:stretch>
        </p:blipFill>
        <p:spPr>
          <a:xfrm>
            <a:off x="0" y="-1"/>
            <a:ext cx="9129925" cy="5148263"/>
          </a:xfrm>
          <a:prstGeom prst="rect">
            <a:avLst/>
          </a:prstGeom>
        </p:spPr>
      </p:pic>
    </p:spTree>
    <p:extLst>
      <p:ext uri="{BB962C8B-B14F-4D97-AF65-F5344CB8AC3E}">
        <p14:creationId xmlns:p14="http://schemas.microsoft.com/office/powerpoint/2010/main" val="93095950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LL">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5B1B96D6-1054-EAFB-18A2-98214F3B8225}"/>
              </a:ext>
            </a:extLst>
          </p:cNvPr>
          <p:cNvPicPr>
            <a:picLocks noChangeAspect="1"/>
          </p:cNvPicPr>
          <p:nvPr userDrawn="1"/>
        </p:nvPicPr>
        <p:blipFill>
          <a:blip r:embed="rId2"/>
          <a:stretch>
            <a:fillRect/>
          </a:stretch>
        </p:blipFill>
        <p:spPr>
          <a:xfrm>
            <a:off x="-1" y="-12701"/>
            <a:ext cx="9129925" cy="5148263"/>
          </a:xfrm>
          <a:prstGeom prst="rect">
            <a:avLst/>
          </a:prstGeom>
        </p:spPr>
      </p:pic>
    </p:spTree>
    <p:extLst>
      <p:ext uri="{BB962C8B-B14F-4D97-AF65-F5344CB8AC3E}">
        <p14:creationId xmlns:p14="http://schemas.microsoft.com/office/powerpoint/2010/main" val="247073584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General1">
    <p:spTree>
      <p:nvGrpSpPr>
        <p:cNvPr id="1" name=""/>
        <p:cNvGrpSpPr/>
        <p:nvPr/>
      </p:nvGrpSpPr>
      <p:grpSpPr>
        <a:xfrm>
          <a:off x="0" y="0"/>
          <a:ext cx="0" cy="0"/>
          <a:chOff x="0" y="0"/>
          <a:chExt cx="0" cy="0"/>
        </a:xfrm>
      </p:grpSpPr>
      <p:pic>
        <p:nvPicPr>
          <p:cNvPr id="3" name="Picture 2" descr="A picture containing graphical user interface&#10;&#10;Description automatically generated">
            <a:extLst>
              <a:ext uri="{FF2B5EF4-FFF2-40B4-BE49-F238E27FC236}">
                <a16:creationId xmlns:a16="http://schemas.microsoft.com/office/drawing/2014/main" id="{6E77DDD1-27EC-62E0-3AE9-D48E2F8586E0}"/>
              </a:ext>
            </a:extLst>
          </p:cNvPr>
          <p:cNvPicPr>
            <a:picLocks noChangeAspect="1"/>
          </p:cNvPicPr>
          <p:nvPr userDrawn="1"/>
        </p:nvPicPr>
        <p:blipFill>
          <a:blip r:embed="rId2"/>
          <a:stretch>
            <a:fillRect/>
          </a:stretch>
        </p:blipFill>
        <p:spPr>
          <a:xfrm>
            <a:off x="-1" y="0"/>
            <a:ext cx="9144001" cy="5148263"/>
          </a:xfrm>
          <a:prstGeom prst="rect">
            <a:avLst/>
          </a:prstGeom>
        </p:spPr>
      </p:pic>
    </p:spTree>
    <p:extLst>
      <p:ext uri="{BB962C8B-B14F-4D97-AF65-F5344CB8AC3E}">
        <p14:creationId xmlns:p14="http://schemas.microsoft.com/office/powerpoint/2010/main" val="166028070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General 2">
    <p:spTree>
      <p:nvGrpSpPr>
        <p:cNvPr id="1" name=""/>
        <p:cNvGrpSpPr/>
        <p:nvPr/>
      </p:nvGrpSpPr>
      <p:grpSpPr>
        <a:xfrm>
          <a:off x="0" y="0"/>
          <a:ext cx="0" cy="0"/>
          <a:chOff x="0" y="0"/>
          <a:chExt cx="0" cy="0"/>
        </a:xfrm>
      </p:grpSpPr>
      <p:pic>
        <p:nvPicPr>
          <p:cNvPr id="3" name="Picture 2" descr="Graphical user interface&#10;&#10;Description automatically generated with medium confidence">
            <a:extLst>
              <a:ext uri="{FF2B5EF4-FFF2-40B4-BE49-F238E27FC236}">
                <a16:creationId xmlns:a16="http://schemas.microsoft.com/office/drawing/2014/main" id="{C8ED179C-DAF3-58C7-AF60-40726C5214A6}"/>
              </a:ext>
            </a:extLst>
          </p:cNvPr>
          <p:cNvPicPr>
            <a:picLocks noChangeAspect="1"/>
          </p:cNvPicPr>
          <p:nvPr userDrawn="1"/>
        </p:nvPicPr>
        <p:blipFill>
          <a:blip r:embed="rId2"/>
          <a:stretch>
            <a:fillRect/>
          </a:stretch>
        </p:blipFill>
        <p:spPr>
          <a:xfrm>
            <a:off x="0" y="-1"/>
            <a:ext cx="9129925" cy="5148263"/>
          </a:xfrm>
          <a:prstGeom prst="rect">
            <a:avLst/>
          </a:prstGeom>
        </p:spPr>
      </p:pic>
    </p:spTree>
    <p:extLst>
      <p:ext uri="{BB962C8B-B14F-4D97-AF65-F5344CB8AC3E}">
        <p14:creationId xmlns:p14="http://schemas.microsoft.com/office/powerpoint/2010/main" val="76583580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OV">
    <p:spTree>
      <p:nvGrpSpPr>
        <p:cNvPr id="1" name=""/>
        <p:cNvGrpSpPr/>
        <p:nvPr/>
      </p:nvGrpSpPr>
      <p:grpSpPr>
        <a:xfrm>
          <a:off x="0" y="0"/>
          <a:ext cx="0" cy="0"/>
          <a:chOff x="0" y="0"/>
          <a:chExt cx="0" cy="0"/>
        </a:xfrm>
      </p:grpSpPr>
      <p:pic>
        <p:nvPicPr>
          <p:cNvPr id="3" name="Picture 2" descr="Graphical user interface&#10;&#10;Description automatically generated with medium confidence">
            <a:extLst>
              <a:ext uri="{FF2B5EF4-FFF2-40B4-BE49-F238E27FC236}">
                <a16:creationId xmlns:a16="http://schemas.microsoft.com/office/drawing/2014/main" id="{9F4D702C-5DAD-37D9-1048-A82F5E818EC7}"/>
              </a:ext>
            </a:extLst>
          </p:cNvPr>
          <p:cNvPicPr>
            <a:picLocks noChangeAspect="1"/>
          </p:cNvPicPr>
          <p:nvPr userDrawn="1"/>
        </p:nvPicPr>
        <p:blipFill>
          <a:blip r:embed="rId2"/>
          <a:stretch>
            <a:fillRect/>
          </a:stretch>
        </p:blipFill>
        <p:spPr>
          <a:xfrm>
            <a:off x="0" y="-1"/>
            <a:ext cx="9129925" cy="5148263"/>
          </a:xfrm>
          <a:prstGeom prst="rect">
            <a:avLst/>
          </a:prstGeom>
        </p:spPr>
      </p:pic>
    </p:spTree>
    <p:extLst>
      <p:ext uri="{BB962C8B-B14F-4D97-AF65-F5344CB8AC3E}">
        <p14:creationId xmlns:p14="http://schemas.microsoft.com/office/powerpoint/2010/main" val="68730104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reast">
    <p:spTree>
      <p:nvGrpSpPr>
        <p:cNvPr id="1" name=""/>
        <p:cNvGrpSpPr/>
        <p:nvPr/>
      </p:nvGrpSpPr>
      <p:grpSpPr>
        <a:xfrm>
          <a:off x="0" y="0"/>
          <a:ext cx="0" cy="0"/>
          <a:chOff x="0" y="0"/>
          <a:chExt cx="0" cy="0"/>
        </a:xfrm>
      </p:grpSpPr>
      <p:pic>
        <p:nvPicPr>
          <p:cNvPr id="3" name="Picture 2" descr="Graphical user interface&#10;&#10;Description automatically generated">
            <a:extLst>
              <a:ext uri="{FF2B5EF4-FFF2-40B4-BE49-F238E27FC236}">
                <a16:creationId xmlns:a16="http://schemas.microsoft.com/office/drawing/2014/main" id="{4CB0EEE4-9DF7-C036-5017-BB6D67525706}"/>
              </a:ext>
            </a:extLst>
          </p:cNvPr>
          <p:cNvPicPr>
            <a:picLocks noChangeAspect="1"/>
          </p:cNvPicPr>
          <p:nvPr userDrawn="1"/>
        </p:nvPicPr>
        <p:blipFill>
          <a:blip r:embed="rId2"/>
          <a:stretch>
            <a:fillRect/>
          </a:stretch>
        </p:blipFill>
        <p:spPr>
          <a:xfrm>
            <a:off x="14075" y="12699"/>
            <a:ext cx="9129925" cy="5148263"/>
          </a:xfrm>
          <a:prstGeom prst="rect">
            <a:avLst/>
          </a:prstGeom>
        </p:spPr>
      </p:pic>
    </p:spTree>
    <p:extLst>
      <p:ext uri="{BB962C8B-B14F-4D97-AF65-F5344CB8AC3E}">
        <p14:creationId xmlns:p14="http://schemas.microsoft.com/office/powerpoint/2010/main" val="9413027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D27497F-685E-4A1D-A120-A48C46BF25A7}"/>
              </a:ext>
            </a:extLst>
          </p:cNvPr>
          <p:cNvSpPr>
            <a:spLocks noGrp="1"/>
          </p:cNvSpPr>
          <p:nvPr>
            <p:ph type="dt" sz="half" idx="10"/>
          </p:nvPr>
        </p:nvSpPr>
        <p:spPr/>
        <p:txBody>
          <a:bodyPr/>
          <a:lstStyle/>
          <a:p>
            <a:fld id="{AF14DFFF-BE29-4D39-830D-DDE47C3C97AE}" type="datetimeFigureOut">
              <a:rPr lang="en-US" smtClean="0"/>
              <a:t>5/10/2024</a:t>
            </a:fld>
            <a:endParaRPr lang="en-US"/>
          </a:p>
        </p:txBody>
      </p:sp>
      <p:sp>
        <p:nvSpPr>
          <p:cNvPr id="3" name="Footer Placeholder 2">
            <a:extLst>
              <a:ext uri="{FF2B5EF4-FFF2-40B4-BE49-F238E27FC236}">
                <a16:creationId xmlns:a16="http://schemas.microsoft.com/office/drawing/2014/main" id="{D6A479B3-83C7-440E-9289-762BA9D4230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67D2715-D143-4AFC-9BE9-706148B15E0D}"/>
              </a:ext>
            </a:extLst>
          </p:cNvPr>
          <p:cNvSpPr>
            <a:spLocks noGrp="1"/>
          </p:cNvSpPr>
          <p:nvPr>
            <p:ph type="sldNum" sz="quarter" idx="12"/>
          </p:nvPr>
        </p:nvSpPr>
        <p:spPr/>
        <p:txBody>
          <a:bodyPr/>
          <a:lstStyle/>
          <a:p>
            <a:fld id="{2D994E03-0F88-49B3-B680-88EAF0B5195C}" type="slidenum">
              <a:rPr lang="en-US" smtClean="0"/>
              <a:t>‹#›</a:t>
            </a:fld>
            <a:endParaRPr lang="en-US"/>
          </a:p>
        </p:txBody>
      </p:sp>
    </p:spTree>
    <p:extLst>
      <p:ext uri="{BB962C8B-B14F-4D97-AF65-F5344CB8AC3E}">
        <p14:creationId xmlns:p14="http://schemas.microsoft.com/office/powerpoint/2010/main" val="3670481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GI">
    <p:spTree>
      <p:nvGrpSpPr>
        <p:cNvPr id="1" name=""/>
        <p:cNvGrpSpPr/>
        <p:nvPr/>
      </p:nvGrpSpPr>
      <p:grpSpPr>
        <a:xfrm>
          <a:off x="0" y="0"/>
          <a:ext cx="0" cy="0"/>
          <a:chOff x="0" y="0"/>
          <a:chExt cx="0" cy="0"/>
        </a:xfrm>
      </p:grpSpPr>
      <p:pic>
        <p:nvPicPr>
          <p:cNvPr id="3" name="Picture 2" descr="Calendar&#10;&#10;Description automatically generated">
            <a:extLst>
              <a:ext uri="{FF2B5EF4-FFF2-40B4-BE49-F238E27FC236}">
                <a16:creationId xmlns:a16="http://schemas.microsoft.com/office/drawing/2014/main" id="{7C270E77-EA86-094A-28E0-3F97BD736AD3}"/>
              </a:ext>
            </a:extLst>
          </p:cNvPr>
          <p:cNvPicPr>
            <a:picLocks noChangeAspect="1"/>
          </p:cNvPicPr>
          <p:nvPr userDrawn="1"/>
        </p:nvPicPr>
        <p:blipFill>
          <a:blip r:embed="rId2"/>
          <a:stretch>
            <a:fillRect/>
          </a:stretch>
        </p:blipFill>
        <p:spPr>
          <a:xfrm>
            <a:off x="14075" y="-1"/>
            <a:ext cx="9129925" cy="5148263"/>
          </a:xfrm>
          <a:prstGeom prst="rect">
            <a:avLst/>
          </a:prstGeom>
        </p:spPr>
      </p:pic>
    </p:spTree>
    <p:extLst>
      <p:ext uri="{BB962C8B-B14F-4D97-AF65-F5344CB8AC3E}">
        <p14:creationId xmlns:p14="http://schemas.microsoft.com/office/powerpoint/2010/main" val="134279626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M">
    <p:spTree>
      <p:nvGrpSpPr>
        <p:cNvPr id="1" name=""/>
        <p:cNvGrpSpPr/>
        <p:nvPr/>
      </p:nvGrpSpPr>
      <p:grpSpPr>
        <a:xfrm>
          <a:off x="0" y="0"/>
          <a:ext cx="0" cy="0"/>
          <a:chOff x="0" y="0"/>
          <a:chExt cx="0" cy="0"/>
        </a:xfrm>
      </p:grpSpPr>
      <p:pic>
        <p:nvPicPr>
          <p:cNvPr id="6" name="Picture 5" descr="A close-up of a blue and white card&#10;&#10;Description automatically generated">
            <a:extLst>
              <a:ext uri="{FF2B5EF4-FFF2-40B4-BE49-F238E27FC236}">
                <a16:creationId xmlns:a16="http://schemas.microsoft.com/office/drawing/2014/main" id="{B8F1D679-6C5D-ADD5-C9F6-A2E76137E187}"/>
              </a:ext>
            </a:extLst>
          </p:cNvPr>
          <p:cNvPicPr>
            <a:picLocks noChangeAspect="1"/>
          </p:cNvPicPr>
          <p:nvPr userDrawn="1"/>
        </p:nvPicPr>
        <p:blipFill>
          <a:blip r:embed="rId2"/>
          <a:stretch>
            <a:fillRect/>
          </a:stretch>
        </p:blipFill>
        <p:spPr>
          <a:xfrm>
            <a:off x="0" y="0"/>
            <a:ext cx="9144000" cy="5156199"/>
          </a:xfrm>
          <a:prstGeom prst="rect">
            <a:avLst/>
          </a:prstGeom>
        </p:spPr>
      </p:pic>
      <p:pic>
        <p:nvPicPr>
          <p:cNvPr id="4" name="Picture 3" descr="A close up of a logo&#10;&#10;Description automatically generated">
            <a:extLst>
              <a:ext uri="{FF2B5EF4-FFF2-40B4-BE49-F238E27FC236}">
                <a16:creationId xmlns:a16="http://schemas.microsoft.com/office/drawing/2014/main" id="{11066229-7678-7F10-02A0-7A6732A67C7E}"/>
              </a:ext>
            </a:extLst>
          </p:cNvPr>
          <p:cNvPicPr>
            <a:picLocks noChangeAspect="1"/>
          </p:cNvPicPr>
          <p:nvPr userDrawn="1"/>
        </p:nvPicPr>
        <p:blipFill>
          <a:blip r:embed="rId3"/>
          <a:stretch>
            <a:fillRect/>
          </a:stretch>
        </p:blipFill>
        <p:spPr>
          <a:xfrm>
            <a:off x="5631180" y="4366260"/>
            <a:ext cx="3327609" cy="553988"/>
          </a:xfrm>
          <a:prstGeom prst="rect">
            <a:avLst/>
          </a:prstGeom>
        </p:spPr>
      </p:pic>
      <p:sp>
        <p:nvSpPr>
          <p:cNvPr id="2" name="Rectangle 1">
            <a:extLst>
              <a:ext uri="{FF2B5EF4-FFF2-40B4-BE49-F238E27FC236}">
                <a16:creationId xmlns:a16="http://schemas.microsoft.com/office/drawing/2014/main" id="{C5CF9316-BEB5-B9EF-2406-9D9EDF50C4DD}"/>
              </a:ext>
            </a:extLst>
          </p:cNvPr>
          <p:cNvSpPr/>
          <p:nvPr userDrawn="1"/>
        </p:nvSpPr>
        <p:spPr>
          <a:xfrm>
            <a:off x="7917180" y="335280"/>
            <a:ext cx="541020" cy="335280"/>
          </a:xfrm>
          <a:prstGeom prst="rect">
            <a:avLst/>
          </a:prstGeom>
          <a:solidFill>
            <a:srgbClr val="FFC8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0984209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37"/>
        <p:cNvGrpSpPr/>
        <p:nvPr/>
      </p:nvGrpSpPr>
      <p:grpSpPr>
        <a:xfrm>
          <a:off x="0" y="0"/>
          <a:ext cx="0" cy="0"/>
          <a:chOff x="0" y="0"/>
          <a:chExt cx="0" cy="0"/>
        </a:xfrm>
      </p:grpSpPr>
      <p:sp>
        <p:nvSpPr>
          <p:cNvPr id="38" name="Google Shape;38;p12"/>
          <p:cNvSpPr txBox="1">
            <a:spLocks noGrp="1"/>
          </p:cNvSpPr>
          <p:nvPr>
            <p:ph type="subTitle" idx="1"/>
          </p:nvPr>
        </p:nvSpPr>
        <p:spPr>
          <a:xfrm>
            <a:off x="1371600" y="1249681"/>
            <a:ext cx="6400800" cy="2651759"/>
          </a:xfrm>
          <a:prstGeom prst="rect">
            <a:avLst/>
          </a:prstGeom>
          <a:noFill/>
          <a:ln>
            <a:noFill/>
          </a:ln>
        </p:spPr>
        <p:txBody>
          <a:bodyPr spcFirstLastPara="1" wrap="square" lIns="91425" tIns="45700" rIns="91425" bIns="45700" anchor="t" anchorCtr="0">
            <a:noAutofit/>
          </a:bodyPr>
          <a:lstStyle>
            <a:lvl1pPr lvl="0" algn="ctr">
              <a:spcBef>
                <a:spcPts val="480"/>
              </a:spcBef>
              <a:spcAft>
                <a:spcPts val="0"/>
              </a:spcAft>
              <a:buClr>
                <a:schemeClr val="dk1"/>
              </a:buClr>
              <a:buSzPts val="2400"/>
              <a:buFont typeface="Arial"/>
              <a:buNone/>
              <a:defRPr/>
            </a:lvl1pPr>
            <a:lvl2pPr lvl="1" algn="ctr">
              <a:spcBef>
                <a:spcPts val="400"/>
              </a:spcBef>
              <a:spcAft>
                <a:spcPts val="0"/>
              </a:spcAft>
              <a:buClr>
                <a:schemeClr val="dk1"/>
              </a:buClr>
              <a:buSzPts val="2000"/>
              <a:buFont typeface="Arial"/>
              <a:buNone/>
              <a:defRPr/>
            </a:lvl2pPr>
            <a:lvl3pPr lvl="2" algn="ctr">
              <a:spcBef>
                <a:spcPts val="360"/>
              </a:spcBef>
              <a:spcAft>
                <a:spcPts val="0"/>
              </a:spcAft>
              <a:buClr>
                <a:schemeClr val="dk1"/>
              </a:buClr>
              <a:buSzPts val="1800"/>
              <a:buFont typeface="Arial"/>
              <a:buNone/>
              <a:defRPr/>
            </a:lvl3pPr>
            <a:lvl4pPr lvl="3" algn="ctr">
              <a:spcBef>
                <a:spcPts val="400"/>
              </a:spcBef>
              <a:spcAft>
                <a:spcPts val="0"/>
              </a:spcAft>
              <a:buClr>
                <a:schemeClr val="dk1"/>
              </a:buClr>
              <a:buSzPts val="2000"/>
              <a:buFont typeface="Arial"/>
              <a:buNone/>
              <a:defRPr/>
            </a:lvl4pPr>
            <a:lvl5pPr lvl="4" algn="ctr">
              <a:spcBef>
                <a:spcPts val="400"/>
              </a:spcBef>
              <a:spcAft>
                <a:spcPts val="0"/>
              </a:spcAft>
              <a:buClr>
                <a:schemeClr val="dk1"/>
              </a:buClr>
              <a:buSzPts val="2000"/>
              <a:buFont typeface="Arial"/>
              <a:buNone/>
              <a:defRPr/>
            </a:lvl5pPr>
            <a:lvl6pPr lvl="5" algn="ctr">
              <a:spcBef>
                <a:spcPts val="400"/>
              </a:spcBef>
              <a:spcAft>
                <a:spcPts val="0"/>
              </a:spcAft>
              <a:buClr>
                <a:schemeClr val="dk1"/>
              </a:buClr>
              <a:buSzPts val="2000"/>
              <a:buFont typeface="Arial"/>
              <a:buNone/>
              <a:defRPr/>
            </a:lvl6pPr>
            <a:lvl7pPr lvl="6" algn="ctr">
              <a:spcBef>
                <a:spcPts val="400"/>
              </a:spcBef>
              <a:spcAft>
                <a:spcPts val="0"/>
              </a:spcAft>
              <a:buClr>
                <a:schemeClr val="dk1"/>
              </a:buClr>
              <a:buSzPts val="2000"/>
              <a:buFont typeface="Arial"/>
              <a:buNone/>
              <a:defRPr/>
            </a:lvl7pPr>
            <a:lvl8pPr lvl="7" algn="ctr">
              <a:spcBef>
                <a:spcPts val="400"/>
              </a:spcBef>
              <a:spcAft>
                <a:spcPts val="0"/>
              </a:spcAft>
              <a:buClr>
                <a:schemeClr val="dk1"/>
              </a:buClr>
              <a:buSzPts val="2000"/>
              <a:buFont typeface="Arial"/>
              <a:buNone/>
              <a:defRPr/>
            </a:lvl8pPr>
            <a:lvl9pPr lvl="8" algn="ctr">
              <a:spcBef>
                <a:spcPts val="400"/>
              </a:spcBef>
              <a:spcAft>
                <a:spcPts val="0"/>
              </a:spcAft>
              <a:buClr>
                <a:schemeClr val="dk1"/>
              </a:buClr>
              <a:buSzPts val="2000"/>
              <a:buFont typeface="Arial"/>
              <a:buNone/>
              <a:defRPr/>
            </a:lvl9pPr>
          </a:lstStyle>
          <a:p>
            <a:endParaRPr/>
          </a:p>
        </p:txBody>
      </p:sp>
      <p:sp>
        <p:nvSpPr>
          <p:cNvPr id="39" name="Google Shape;39;p12"/>
          <p:cNvSpPr txBox="1">
            <a:spLocks noGrp="1"/>
          </p:cNvSpPr>
          <p:nvPr>
            <p:ph type="title"/>
          </p:nvPr>
        </p:nvSpPr>
        <p:spPr>
          <a:xfrm>
            <a:off x="0" y="132080"/>
            <a:ext cx="9144000" cy="1006507"/>
          </a:xfrm>
          <a:prstGeom prst="rect">
            <a:avLst/>
          </a:prstGeom>
          <a:noFill/>
          <a:ln>
            <a:noFill/>
          </a:ln>
        </p:spPr>
        <p:txBody>
          <a:bodyPr spcFirstLastPara="1" wrap="square" lIns="91425" tIns="45700" rIns="91425" bIns="45700" anchor="t" anchorCtr="0">
            <a:noAutofit/>
          </a:bodyPr>
          <a:lstStyle>
            <a:lvl1pPr marR="0" lvl="0" algn="ctr" rtl="0">
              <a:spcBef>
                <a:spcPts val="0"/>
              </a:spcBef>
              <a:spcAft>
                <a:spcPts val="0"/>
              </a:spcAft>
              <a:buSzPts val="1400"/>
              <a:buNone/>
              <a:defRPr sz="3600" b="0" i="0" u="none" strike="noStrike" cap="none">
                <a:solidFill>
                  <a:srgbClr val="002450"/>
                </a:solidFill>
                <a:latin typeface="Arial"/>
                <a:ea typeface="Arial"/>
                <a:cs typeface="Arial"/>
                <a:sym typeface="Arial"/>
              </a:defRPr>
            </a:lvl1pPr>
            <a:lvl2pPr marR="0" lvl="1"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2pPr>
            <a:lvl3pPr marR="0" lvl="2"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3pPr>
            <a:lvl4pPr marR="0" lvl="3"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4pPr>
            <a:lvl5pPr marR="0" lvl="4"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5pPr>
            <a:lvl6pPr marR="0" lvl="5"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6pPr>
            <a:lvl7pPr marR="0" lvl="6"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7pPr>
            <a:lvl8pPr marR="0" lvl="7"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8pPr>
            <a:lvl9pPr marR="0" lvl="8"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9pPr>
          </a:lstStyle>
          <a:p>
            <a:endParaRPr/>
          </a:p>
        </p:txBody>
      </p:sp>
    </p:spTree>
    <p:extLst>
      <p:ext uri="{BB962C8B-B14F-4D97-AF65-F5344CB8AC3E}">
        <p14:creationId xmlns:p14="http://schemas.microsoft.com/office/powerpoint/2010/main" val="206667267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40"/>
        <p:cNvGrpSpPr/>
        <p:nvPr/>
      </p:nvGrpSpPr>
      <p:grpSpPr>
        <a:xfrm>
          <a:off x="0" y="0"/>
          <a:ext cx="0" cy="0"/>
          <a:chOff x="0" y="0"/>
          <a:chExt cx="0" cy="0"/>
        </a:xfrm>
      </p:grpSpPr>
      <p:sp>
        <p:nvSpPr>
          <p:cNvPr id="41" name="Google Shape;41;p13"/>
          <p:cNvSpPr txBox="1">
            <a:spLocks noGrp="1"/>
          </p:cNvSpPr>
          <p:nvPr>
            <p:ph type="body" idx="1"/>
          </p:nvPr>
        </p:nvSpPr>
        <p:spPr>
          <a:xfrm>
            <a:off x="685800" y="1117600"/>
            <a:ext cx="3810000" cy="2936240"/>
          </a:xfrm>
          <a:prstGeom prst="rect">
            <a:avLst/>
          </a:prstGeom>
          <a:noFill/>
          <a:ln>
            <a:noFill/>
          </a:ln>
        </p:spPr>
        <p:txBody>
          <a:bodyPr spcFirstLastPara="1" wrap="square" lIns="91425" tIns="45700" rIns="91425" bIns="45700" anchor="t" anchorCtr="0">
            <a:noAutofit/>
          </a:bodyPr>
          <a:lstStyle>
            <a:lvl1pPr marL="457200" lvl="0" indent="-406400" algn="l">
              <a:spcBef>
                <a:spcPts val="560"/>
              </a:spcBef>
              <a:spcAft>
                <a:spcPts val="0"/>
              </a:spcAft>
              <a:buClr>
                <a:schemeClr val="dk1"/>
              </a:buClr>
              <a:buSzPts val="2800"/>
              <a:buFont typeface="Arial"/>
              <a:buChar char="•"/>
              <a:defRPr sz="2800"/>
            </a:lvl1pPr>
            <a:lvl2pPr marL="914400" lvl="1" indent="-381000" algn="l">
              <a:spcBef>
                <a:spcPts val="480"/>
              </a:spcBef>
              <a:spcAft>
                <a:spcPts val="0"/>
              </a:spcAft>
              <a:buClr>
                <a:schemeClr val="dk1"/>
              </a:buClr>
              <a:buSzPts val="2400"/>
              <a:buFont typeface="Arial"/>
              <a:buChar char="–"/>
              <a:defRPr sz="2400"/>
            </a:lvl2pPr>
            <a:lvl3pPr marL="1371600" lvl="2" indent="-355600" algn="l">
              <a:spcBef>
                <a:spcPts val="400"/>
              </a:spcBef>
              <a:spcAft>
                <a:spcPts val="0"/>
              </a:spcAft>
              <a:buClr>
                <a:schemeClr val="dk1"/>
              </a:buClr>
              <a:buSzPts val="2000"/>
              <a:buFont typeface="Arial"/>
              <a:buChar char="•"/>
              <a:defRPr sz="2000"/>
            </a:lvl3pPr>
            <a:lvl4pPr marL="1828800" lvl="3" indent="-228600" algn="l">
              <a:spcBef>
                <a:spcPts val="360"/>
              </a:spcBef>
              <a:spcAft>
                <a:spcPts val="0"/>
              </a:spcAft>
              <a:buSzPts val="1400"/>
              <a:buNone/>
              <a:defRPr sz="1800"/>
            </a:lvl4pPr>
            <a:lvl5pPr marL="2286000" lvl="4" indent="-342900" algn="l">
              <a:spcBef>
                <a:spcPts val="360"/>
              </a:spcBef>
              <a:spcAft>
                <a:spcPts val="0"/>
              </a:spcAft>
              <a:buClr>
                <a:schemeClr val="dk1"/>
              </a:buClr>
              <a:buSzPts val="1800"/>
              <a:buFont typeface="Arial"/>
              <a:buChar char="»"/>
              <a:defRPr sz="1800"/>
            </a:lvl5pPr>
            <a:lvl6pPr marL="2743200" lvl="5" indent="-342900" algn="l">
              <a:spcBef>
                <a:spcPts val="360"/>
              </a:spcBef>
              <a:spcAft>
                <a:spcPts val="0"/>
              </a:spcAft>
              <a:buClr>
                <a:schemeClr val="dk1"/>
              </a:buClr>
              <a:buSzPts val="1800"/>
              <a:buFont typeface="Arial"/>
              <a:buChar char="»"/>
              <a:defRPr sz="1800"/>
            </a:lvl6pPr>
            <a:lvl7pPr marL="3200400" lvl="6" indent="-342900" algn="l">
              <a:spcBef>
                <a:spcPts val="360"/>
              </a:spcBef>
              <a:spcAft>
                <a:spcPts val="0"/>
              </a:spcAft>
              <a:buClr>
                <a:schemeClr val="dk1"/>
              </a:buClr>
              <a:buSzPts val="1800"/>
              <a:buFont typeface="Arial"/>
              <a:buChar char="»"/>
              <a:defRPr sz="1800"/>
            </a:lvl7pPr>
            <a:lvl8pPr marL="3657600" lvl="7" indent="-342900" algn="l">
              <a:spcBef>
                <a:spcPts val="360"/>
              </a:spcBef>
              <a:spcAft>
                <a:spcPts val="0"/>
              </a:spcAft>
              <a:buClr>
                <a:schemeClr val="dk1"/>
              </a:buClr>
              <a:buSzPts val="1800"/>
              <a:buFont typeface="Arial"/>
              <a:buChar char="»"/>
              <a:defRPr sz="1800"/>
            </a:lvl8pPr>
            <a:lvl9pPr marL="4114800" lvl="8" indent="-342900" algn="l">
              <a:spcBef>
                <a:spcPts val="360"/>
              </a:spcBef>
              <a:spcAft>
                <a:spcPts val="0"/>
              </a:spcAft>
              <a:buClr>
                <a:schemeClr val="dk1"/>
              </a:buClr>
              <a:buSzPts val="1800"/>
              <a:buFont typeface="Arial"/>
              <a:buChar char="»"/>
              <a:defRPr sz="1800"/>
            </a:lvl9pPr>
          </a:lstStyle>
          <a:p>
            <a:endParaRPr/>
          </a:p>
        </p:txBody>
      </p:sp>
      <p:sp>
        <p:nvSpPr>
          <p:cNvPr id="42" name="Google Shape;42;p13"/>
          <p:cNvSpPr txBox="1">
            <a:spLocks noGrp="1"/>
          </p:cNvSpPr>
          <p:nvPr>
            <p:ph type="body" idx="2"/>
          </p:nvPr>
        </p:nvSpPr>
        <p:spPr>
          <a:xfrm>
            <a:off x="4648200" y="1117600"/>
            <a:ext cx="3810000" cy="2936240"/>
          </a:xfrm>
          <a:prstGeom prst="rect">
            <a:avLst/>
          </a:prstGeom>
          <a:noFill/>
          <a:ln>
            <a:noFill/>
          </a:ln>
        </p:spPr>
        <p:txBody>
          <a:bodyPr spcFirstLastPara="1" wrap="square" lIns="91425" tIns="45700" rIns="91425" bIns="45700" anchor="t" anchorCtr="0">
            <a:noAutofit/>
          </a:bodyPr>
          <a:lstStyle>
            <a:lvl1pPr marL="457200" lvl="0" indent="-406400" algn="l">
              <a:spcBef>
                <a:spcPts val="560"/>
              </a:spcBef>
              <a:spcAft>
                <a:spcPts val="0"/>
              </a:spcAft>
              <a:buClr>
                <a:schemeClr val="dk1"/>
              </a:buClr>
              <a:buSzPts val="2800"/>
              <a:buFont typeface="Arial"/>
              <a:buChar char="•"/>
              <a:defRPr sz="2800"/>
            </a:lvl1pPr>
            <a:lvl2pPr marL="914400" lvl="1" indent="-381000" algn="l">
              <a:spcBef>
                <a:spcPts val="480"/>
              </a:spcBef>
              <a:spcAft>
                <a:spcPts val="0"/>
              </a:spcAft>
              <a:buClr>
                <a:schemeClr val="dk1"/>
              </a:buClr>
              <a:buSzPts val="2400"/>
              <a:buFont typeface="Arial"/>
              <a:buChar char="–"/>
              <a:defRPr sz="2400"/>
            </a:lvl2pPr>
            <a:lvl3pPr marL="1371600" lvl="2" indent="-355600" algn="l">
              <a:spcBef>
                <a:spcPts val="400"/>
              </a:spcBef>
              <a:spcAft>
                <a:spcPts val="0"/>
              </a:spcAft>
              <a:buClr>
                <a:schemeClr val="dk1"/>
              </a:buClr>
              <a:buSzPts val="2000"/>
              <a:buFont typeface="Arial"/>
              <a:buChar char="•"/>
              <a:defRPr sz="2000"/>
            </a:lvl3pPr>
            <a:lvl4pPr marL="1828800" lvl="3" indent="-228600" algn="l">
              <a:spcBef>
                <a:spcPts val="360"/>
              </a:spcBef>
              <a:spcAft>
                <a:spcPts val="0"/>
              </a:spcAft>
              <a:buSzPts val="1400"/>
              <a:buNone/>
              <a:defRPr sz="1800"/>
            </a:lvl4pPr>
            <a:lvl5pPr marL="2286000" lvl="4" indent="-342900" algn="l">
              <a:spcBef>
                <a:spcPts val="360"/>
              </a:spcBef>
              <a:spcAft>
                <a:spcPts val="0"/>
              </a:spcAft>
              <a:buClr>
                <a:schemeClr val="dk1"/>
              </a:buClr>
              <a:buSzPts val="1800"/>
              <a:buFont typeface="Arial"/>
              <a:buChar char="»"/>
              <a:defRPr sz="1800"/>
            </a:lvl5pPr>
            <a:lvl6pPr marL="2743200" lvl="5" indent="-342900" algn="l">
              <a:spcBef>
                <a:spcPts val="360"/>
              </a:spcBef>
              <a:spcAft>
                <a:spcPts val="0"/>
              </a:spcAft>
              <a:buClr>
                <a:schemeClr val="dk1"/>
              </a:buClr>
              <a:buSzPts val="1800"/>
              <a:buFont typeface="Arial"/>
              <a:buChar char="»"/>
              <a:defRPr sz="1800"/>
            </a:lvl6pPr>
            <a:lvl7pPr marL="3200400" lvl="6" indent="-342900" algn="l">
              <a:spcBef>
                <a:spcPts val="360"/>
              </a:spcBef>
              <a:spcAft>
                <a:spcPts val="0"/>
              </a:spcAft>
              <a:buClr>
                <a:schemeClr val="dk1"/>
              </a:buClr>
              <a:buSzPts val="1800"/>
              <a:buFont typeface="Arial"/>
              <a:buChar char="»"/>
              <a:defRPr sz="1800"/>
            </a:lvl7pPr>
            <a:lvl8pPr marL="3657600" lvl="7" indent="-342900" algn="l">
              <a:spcBef>
                <a:spcPts val="360"/>
              </a:spcBef>
              <a:spcAft>
                <a:spcPts val="0"/>
              </a:spcAft>
              <a:buClr>
                <a:schemeClr val="dk1"/>
              </a:buClr>
              <a:buSzPts val="1800"/>
              <a:buFont typeface="Arial"/>
              <a:buChar char="»"/>
              <a:defRPr sz="1800"/>
            </a:lvl8pPr>
            <a:lvl9pPr marL="4114800" lvl="8" indent="-342900" algn="l">
              <a:spcBef>
                <a:spcPts val="360"/>
              </a:spcBef>
              <a:spcAft>
                <a:spcPts val="0"/>
              </a:spcAft>
              <a:buClr>
                <a:schemeClr val="dk1"/>
              </a:buClr>
              <a:buSzPts val="1800"/>
              <a:buFont typeface="Arial"/>
              <a:buChar char="»"/>
              <a:defRPr sz="1800"/>
            </a:lvl9pPr>
          </a:lstStyle>
          <a:p>
            <a:endParaRPr/>
          </a:p>
        </p:txBody>
      </p:sp>
      <p:sp>
        <p:nvSpPr>
          <p:cNvPr id="43" name="Google Shape;43;p13"/>
          <p:cNvSpPr txBox="1">
            <a:spLocks noGrp="1"/>
          </p:cNvSpPr>
          <p:nvPr>
            <p:ph type="ftr" idx="11"/>
          </p:nvPr>
        </p:nvSpPr>
        <p:spPr>
          <a:xfrm>
            <a:off x="5076056" y="4628260"/>
            <a:ext cx="3903712" cy="41751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a:solidFill>
                  <a:srgbClr val="800000"/>
                </a:solidFill>
                <a:latin typeface="Arial"/>
                <a:ea typeface="Arial"/>
                <a:cs typeface="Arial"/>
                <a:sym typeface="Arial"/>
              </a:defRPr>
            </a:lvl1pPr>
            <a:lvl2pPr marR="0" lvl="1" algn="l" rtl="0">
              <a:spcBef>
                <a:spcPts val="0"/>
              </a:spcBef>
              <a:spcAft>
                <a:spcPts val="0"/>
              </a:spcAft>
              <a:buSzPts val="1400"/>
              <a:buNone/>
              <a:defRPr sz="24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4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4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4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4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4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4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400" b="0" i="0" u="none" strike="noStrike" cap="none">
                <a:solidFill>
                  <a:schemeClr val="dk1"/>
                </a:solidFill>
                <a:latin typeface="Arial"/>
                <a:ea typeface="Arial"/>
                <a:cs typeface="Arial"/>
                <a:sym typeface="Arial"/>
              </a:defRPr>
            </a:lvl9pPr>
          </a:lstStyle>
          <a:p>
            <a:endParaRPr/>
          </a:p>
        </p:txBody>
      </p:sp>
      <p:sp>
        <p:nvSpPr>
          <p:cNvPr id="44" name="Google Shape;44;p13"/>
          <p:cNvSpPr txBox="1">
            <a:spLocks noGrp="1"/>
          </p:cNvSpPr>
          <p:nvPr>
            <p:ph type="title"/>
          </p:nvPr>
        </p:nvSpPr>
        <p:spPr>
          <a:xfrm>
            <a:off x="0" y="127465"/>
            <a:ext cx="9144000" cy="695496"/>
          </a:xfrm>
          <a:prstGeom prst="rect">
            <a:avLst/>
          </a:prstGeom>
          <a:noFill/>
          <a:ln>
            <a:noFill/>
          </a:ln>
        </p:spPr>
        <p:txBody>
          <a:bodyPr spcFirstLastPara="1" wrap="square" lIns="91425" tIns="45700" rIns="91425" bIns="45700" anchor="t" anchorCtr="0">
            <a:noAutofit/>
          </a:bodyPr>
          <a:lstStyle>
            <a:lvl1pPr marR="0" lvl="0" algn="ctr" rtl="0">
              <a:spcBef>
                <a:spcPts val="0"/>
              </a:spcBef>
              <a:spcAft>
                <a:spcPts val="0"/>
              </a:spcAft>
              <a:buSzPts val="1400"/>
              <a:buNone/>
              <a:defRPr sz="3600" b="0" i="0" u="none" strike="noStrike" cap="none">
                <a:solidFill>
                  <a:srgbClr val="003465"/>
                </a:solidFill>
                <a:latin typeface="Arial"/>
                <a:ea typeface="Arial"/>
                <a:cs typeface="Arial"/>
                <a:sym typeface="Arial"/>
              </a:defRPr>
            </a:lvl1pPr>
            <a:lvl2pPr marR="0" lvl="1"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2pPr>
            <a:lvl3pPr marR="0" lvl="2"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3pPr>
            <a:lvl4pPr marR="0" lvl="3"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4pPr>
            <a:lvl5pPr marR="0" lvl="4"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5pPr>
            <a:lvl6pPr marR="0" lvl="5"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6pPr>
            <a:lvl7pPr marR="0" lvl="6"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7pPr>
            <a:lvl8pPr marR="0" lvl="7"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8pPr>
            <a:lvl9pPr marR="0" lvl="8"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9pPr>
          </a:lstStyle>
          <a:p>
            <a:endParaRPr/>
          </a:p>
        </p:txBody>
      </p:sp>
    </p:spTree>
    <p:extLst>
      <p:ext uri="{BB962C8B-B14F-4D97-AF65-F5344CB8AC3E}">
        <p14:creationId xmlns:p14="http://schemas.microsoft.com/office/powerpoint/2010/main" val="33616717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5"/>
        <p:cNvGrpSpPr/>
        <p:nvPr/>
      </p:nvGrpSpPr>
      <p:grpSpPr>
        <a:xfrm>
          <a:off x="0" y="0"/>
          <a:ext cx="0" cy="0"/>
          <a:chOff x="0" y="0"/>
          <a:chExt cx="0" cy="0"/>
        </a:xfrm>
      </p:grpSpPr>
    </p:spTree>
    <p:extLst>
      <p:ext uri="{BB962C8B-B14F-4D97-AF65-F5344CB8AC3E}">
        <p14:creationId xmlns:p14="http://schemas.microsoft.com/office/powerpoint/2010/main" val="377789820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6"/>
        <p:cNvGrpSpPr/>
        <p:nvPr/>
      </p:nvGrpSpPr>
      <p:grpSpPr>
        <a:xfrm>
          <a:off x="0" y="0"/>
          <a:ext cx="0" cy="0"/>
          <a:chOff x="0" y="0"/>
          <a:chExt cx="0" cy="0"/>
        </a:xfrm>
      </p:grpSpPr>
      <p:sp>
        <p:nvSpPr>
          <p:cNvPr id="47" name="Google Shape;47;p17"/>
          <p:cNvSpPr txBox="1">
            <a:spLocks noGrp="1"/>
          </p:cNvSpPr>
          <p:nvPr>
            <p:ph type="body" idx="1"/>
          </p:nvPr>
        </p:nvSpPr>
        <p:spPr>
          <a:xfrm>
            <a:off x="685800" y="844550"/>
            <a:ext cx="7772400" cy="3147278"/>
          </a:xfrm>
          <a:prstGeom prst="rect">
            <a:avLst/>
          </a:prstGeom>
          <a:noFill/>
          <a:ln>
            <a:noFill/>
          </a:ln>
        </p:spPr>
        <p:txBody>
          <a:bodyPr spcFirstLastPara="1" wrap="square" lIns="91425" tIns="45700" rIns="91425" bIns="45700" anchor="t" anchorCtr="0">
            <a:no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228600" algn="l">
              <a:spcBef>
                <a:spcPts val="360"/>
              </a:spcBef>
              <a:spcAft>
                <a:spcPts val="0"/>
              </a:spcAft>
              <a:buSzPts val="1400"/>
              <a:buNone/>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48" name="Google Shape;48;p17"/>
          <p:cNvSpPr txBox="1">
            <a:spLocks noGrp="1"/>
          </p:cNvSpPr>
          <p:nvPr>
            <p:ph type="ftr" idx="11"/>
          </p:nvPr>
        </p:nvSpPr>
        <p:spPr>
          <a:xfrm>
            <a:off x="5076056" y="4628260"/>
            <a:ext cx="3903712" cy="41751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a:solidFill>
                  <a:srgbClr val="800000"/>
                </a:solidFill>
                <a:latin typeface="Arial"/>
                <a:ea typeface="Arial"/>
                <a:cs typeface="Arial"/>
                <a:sym typeface="Arial"/>
              </a:defRPr>
            </a:lvl1pPr>
            <a:lvl2pPr marR="0" lvl="1" algn="l" rtl="0">
              <a:spcBef>
                <a:spcPts val="0"/>
              </a:spcBef>
              <a:spcAft>
                <a:spcPts val="0"/>
              </a:spcAft>
              <a:buSzPts val="1400"/>
              <a:buNone/>
              <a:defRPr sz="24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4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4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4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4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4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4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4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36496810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49"/>
        <p:cNvGrpSpPr/>
        <p:nvPr/>
      </p:nvGrpSpPr>
      <p:grpSpPr>
        <a:xfrm>
          <a:off x="0" y="0"/>
          <a:ext cx="0" cy="0"/>
          <a:chOff x="0" y="0"/>
          <a:chExt cx="0" cy="0"/>
        </a:xfrm>
      </p:grpSpPr>
      <p:sp>
        <p:nvSpPr>
          <p:cNvPr id="50" name="Google Shape;50;p18"/>
          <p:cNvSpPr txBox="1">
            <a:spLocks noGrp="1"/>
          </p:cNvSpPr>
          <p:nvPr>
            <p:ph type="title"/>
          </p:nvPr>
        </p:nvSpPr>
        <p:spPr>
          <a:xfrm>
            <a:off x="0" y="127464"/>
            <a:ext cx="9144000" cy="1006507"/>
          </a:xfrm>
          <a:prstGeom prst="rect">
            <a:avLst/>
          </a:prstGeom>
          <a:noFill/>
          <a:ln>
            <a:noFill/>
          </a:ln>
        </p:spPr>
        <p:txBody>
          <a:bodyPr spcFirstLastPara="1" wrap="square" lIns="91425" tIns="45700" rIns="91425" bIns="45700" anchor="t" anchorCtr="0">
            <a:noAutofit/>
          </a:bodyPr>
          <a:lstStyle>
            <a:lvl1pPr marR="0" lvl="0" algn="ctr" rtl="0">
              <a:spcBef>
                <a:spcPts val="0"/>
              </a:spcBef>
              <a:spcAft>
                <a:spcPts val="0"/>
              </a:spcAft>
              <a:buSzPts val="1400"/>
              <a:buNone/>
              <a:defRPr sz="3600" b="0" i="0" u="none" strike="noStrike" cap="none">
                <a:solidFill>
                  <a:srgbClr val="002450"/>
                </a:solidFill>
                <a:latin typeface="Arial"/>
                <a:ea typeface="Arial"/>
                <a:cs typeface="Arial"/>
                <a:sym typeface="Arial"/>
              </a:defRPr>
            </a:lvl1pPr>
            <a:lvl2pPr marR="0" lvl="1"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2pPr>
            <a:lvl3pPr marR="0" lvl="2"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3pPr>
            <a:lvl4pPr marR="0" lvl="3"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4pPr>
            <a:lvl5pPr marR="0" lvl="4"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5pPr>
            <a:lvl6pPr marR="0" lvl="5"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6pPr>
            <a:lvl7pPr marR="0" lvl="6"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7pPr>
            <a:lvl8pPr marR="0" lvl="7"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8pPr>
            <a:lvl9pPr marR="0" lvl="8"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9pPr>
          </a:lstStyle>
          <a:p>
            <a:endParaRPr/>
          </a:p>
        </p:txBody>
      </p:sp>
      <p:sp>
        <p:nvSpPr>
          <p:cNvPr id="51" name="Google Shape;51;p18"/>
          <p:cNvSpPr txBox="1">
            <a:spLocks noGrp="1"/>
          </p:cNvSpPr>
          <p:nvPr>
            <p:ph type="ftr" idx="11"/>
          </p:nvPr>
        </p:nvSpPr>
        <p:spPr>
          <a:xfrm>
            <a:off x="5076056" y="4628260"/>
            <a:ext cx="3903712" cy="41751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a:solidFill>
                  <a:srgbClr val="800000"/>
                </a:solidFill>
                <a:latin typeface="Arial"/>
                <a:ea typeface="Arial"/>
                <a:cs typeface="Arial"/>
                <a:sym typeface="Arial"/>
              </a:defRPr>
            </a:lvl1pPr>
            <a:lvl2pPr marR="0" lvl="1" algn="l" rtl="0">
              <a:spcBef>
                <a:spcPts val="0"/>
              </a:spcBef>
              <a:spcAft>
                <a:spcPts val="0"/>
              </a:spcAft>
              <a:buSzPts val="1400"/>
              <a:buNone/>
              <a:defRPr sz="24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4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4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4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4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4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4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4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95749582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52"/>
        <p:cNvGrpSpPr/>
        <p:nvPr/>
      </p:nvGrpSpPr>
      <p:grpSpPr>
        <a:xfrm>
          <a:off x="0" y="0"/>
          <a:ext cx="0" cy="0"/>
          <a:chOff x="0" y="0"/>
          <a:chExt cx="0" cy="0"/>
        </a:xfrm>
      </p:grpSpPr>
      <p:sp>
        <p:nvSpPr>
          <p:cNvPr id="53" name="Google Shape;53;p19"/>
          <p:cNvSpPr txBox="1">
            <a:spLocks noGrp="1"/>
          </p:cNvSpPr>
          <p:nvPr>
            <p:ph type="title"/>
          </p:nvPr>
        </p:nvSpPr>
        <p:spPr>
          <a:xfrm>
            <a:off x="1792288" y="3603784"/>
            <a:ext cx="5486400" cy="42544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2000" b="0" i="1" u="none" strike="noStrike" cap="none">
                <a:solidFill>
                  <a:schemeClr val="lt1"/>
                </a:solidFill>
                <a:latin typeface="Arial"/>
                <a:ea typeface="Arial"/>
                <a:cs typeface="Arial"/>
                <a:sym typeface="Arial"/>
              </a:defRPr>
            </a:lvl1pPr>
            <a:lvl2pPr marR="0" lvl="1"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2pPr>
            <a:lvl3pPr marR="0" lvl="2"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3pPr>
            <a:lvl4pPr marR="0" lvl="3"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4pPr>
            <a:lvl5pPr marR="0" lvl="4"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5pPr>
            <a:lvl6pPr marR="0" lvl="5"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6pPr>
            <a:lvl7pPr marR="0" lvl="6"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7pPr>
            <a:lvl8pPr marR="0" lvl="7"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8pPr>
            <a:lvl9pPr marR="0" lvl="8"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9pPr>
          </a:lstStyle>
          <a:p>
            <a:endParaRPr/>
          </a:p>
        </p:txBody>
      </p:sp>
      <p:sp>
        <p:nvSpPr>
          <p:cNvPr id="54" name="Google Shape;54;p19"/>
          <p:cNvSpPr>
            <a:spLocks noGrp="1"/>
          </p:cNvSpPr>
          <p:nvPr>
            <p:ph type="pic" idx="2"/>
          </p:nvPr>
        </p:nvSpPr>
        <p:spPr>
          <a:xfrm>
            <a:off x="1792288" y="460007"/>
            <a:ext cx="5486400" cy="3088958"/>
          </a:xfrm>
          <a:prstGeom prst="rect">
            <a:avLst/>
          </a:prstGeom>
          <a:noFill/>
          <a:ln>
            <a:noFill/>
          </a:ln>
        </p:spPr>
      </p:sp>
      <p:sp>
        <p:nvSpPr>
          <p:cNvPr id="55" name="Google Shape;55;p19"/>
          <p:cNvSpPr txBox="1">
            <a:spLocks noGrp="1"/>
          </p:cNvSpPr>
          <p:nvPr>
            <p:ph type="body" idx="1"/>
          </p:nvPr>
        </p:nvSpPr>
        <p:spPr>
          <a:xfrm>
            <a:off x="1792288" y="4029231"/>
            <a:ext cx="5486400" cy="544973"/>
          </a:xfrm>
          <a:prstGeom prst="rect">
            <a:avLst/>
          </a:prstGeom>
          <a:noFill/>
          <a:ln>
            <a:noFill/>
          </a:ln>
        </p:spPr>
        <p:txBody>
          <a:bodyPr spcFirstLastPara="1" wrap="square" lIns="91425" tIns="45700" rIns="91425" bIns="45700" anchor="t" anchorCtr="0">
            <a:noAutofit/>
          </a:bodyPr>
          <a:lstStyle>
            <a:lvl1pPr marL="457200" lvl="0" indent="-228600" algn="l">
              <a:spcBef>
                <a:spcPts val="280"/>
              </a:spcBef>
              <a:spcAft>
                <a:spcPts val="0"/>
              </a:spcAft>
              <a:buClr>
                <a:schemeClr val="dk1"/>
              </a:buClr>
              <a:buSzPts val="1400"/>
              <a:buFont typeface="Arial"/>
              <a:buNone/>
              <a:defRPr sz="1400"/>
            </a:lvl1pPr>
            <a:lvl2pPr marL="914400" lvl="1" indent="-228600" algn="l">
              <a:spcBef>
                <a:spcPts val="240"/>
              </a:spcBef>
              <a:spcAft>
                <a:spcPts val="0"/>
              </a:spcAft>
              <a:buClr>
                <a:schemeClr val="dk1"/>
              </a:buClr>
              <a:buSzPts val="1200"/>
              <a:buFont typeface="Arial"/>
              <a:buNone/>
              <a:defRPr sz="1200"/>
            </a:lvl2pPr>
            <a:lvl3pPr marL="1371600" lvl="2" indent="-228600" algn="l">
              <a:spcBef>
                <a:spcPts val="200"/>
              </a:spcBef>
              <a:spcAft>
                <a:spcPts val="0"/>
              </a:spcAft>
              <a:buClr>
                <a:schemeClr val="dk1"/>
              </a:buClr>
              <a:buSzPts val="1000"/>
              <a:buFont typeface="Arial"/>
              <a:buNone/>
              <a:defRPr sz="1000"/>
            </a:lvl3pPr>
            <a:lvl4pPr marL="1828800" lvl="3" indent="-228600" algn="l">
              <a:spcBef>
                <a:spcPts val="180"/>
              </a:spcBef>
              <a:spcAft>
                <a:spcPts val="0"/>
              </a:spcAft>
              <a:buClr>
                <a:schemeClr val="dk1"/>
              </a:buClr>
              <a:buSzPts val="900"/>
              <a:buFont typeface="Arial"/>
              <a:buNone/>
              <a:defRPr sz="900"/>
            </a:lvl4pPr>
            <a:lvl5pPr marL="2286000" lvl="4" indent="-228600" algn="l">
              <a:spcBef>
                <a:spcPts val="180"/>
              </a:spcBef>
              <a:spcAft>
                <a:spcPts val="0"/>
              </a:spcAft>
              <a:buClr>
                <a:schemeClr val="dk1"/>
              </a:buClr>
              <a:buSzPts val="900"/>
              <a:buFont typeface="Arial"/>
              <a:buNone/>
              <a:defRPr sz="900"/>
            </a:lvl5pPr>
            <a:lvl6pPr marL="2743200" lvl="5" indent="-228600" algn="l">
              <a:spcBef>
                <a:spcPts val="180"/>
              </a:spcBef>
              <a:spcAft>
                <a:spcPts val="0"/>
              </a:spcAft>
              <a:buClr>
                <a:schemeClr val="dk1"/>
              </a:buClr>
              <a:buSzPts val="900"/>
              <a:buFont typeface="Arial"/>
              <a:buNone/>
              <a:defRPr sz="900"/>
            </a:lvl6pPr>
            <a:lvl7pPr marL="3200400" lvl="6" indent="-228600" algn="l">
              <a:spcBef>
                <a:spcPts val="180"/>
              </a:spcBef>
              <a:spcAft>
                <a:spcPts val="0"/>
              </a:spcAft>
              <a:buClr>
                <a:schemeClr val="dk1"/>
              </a:buClr>
              <a:buSzPts val="900"/>
              <a:buFont typeface="Arial"/>
              <a:buNone/>
              <a:defRPr sz="900"/>
            </a:lvl7pPr>
            <a:lvl8pPr marL="3657600" lvl="7" indent="-228600" algn="l">
              <a:spcBef>
                <a:spcPts val="180"/>
              </a:spcBef>
              <a:spcAft>
                <a:spcPts val="0"/>
              </a:spcAft>
              <a:buClr>
                <a:schemeClr val="dk1"/>
              </a:buClr>
              <a:buSzPts val="900"/>
              <a:buFont typeface="Arial"/>
              <a:buNone/>
              <a:defRPr sz="900"/>
            </a:lvl8pPr>
            <a:lvl9pPr marL="4114800" lvl="8" indent="-228600" algn="l">
              <a:spcBef>
                <a:spcPts val="180"/>
              </a:spcBef>
              <a:spcAft>
                <a:spcPts val="0"/>
              </a:spcAft>
              <a:buClr>
                <a:schemeClr val="dk1"/>
              </a:buClr>
              <a:buSzPts val="900"/>
              <a:buFont typeface="Arial"/>
              <a:buNone/>
              <a:defRPr sz="900"/>
            </a:lvl9pPr>
          </a:lstStyle>
          <a:p>
            <a:endParaRPr/>
          </a:p>
        </p:txBody>
      </p:sp>
      <p:sp>
        <p:nvSpPr>
          <p:cNvPr id="56" name="Google Shape;56;p19"/>
          <p:cNvSpPr txBox="1">
            <a:spLocks noGrp="1"/>
          </p:cNvSpPr>
          <p:nvPr>
            <p:ph type="ftr" idx="11"/>
          </p:nvPr>
        </p:nvSpPr>
        <p:spPr>
          <a:xfrm>
            <a:off x="5076056" y="4628260"/>
            <a:ext cx="3903712" cy="41751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a:solidFill>
                  <a:srgbClr val="800000"/>
                </a:solidFill>
                <a:latin typeface="Arial"/>
                <a:ea typeface="Arial"/>
                <a:cs typeface="Arial"/>
                <a:sym typeface="Arial"/>
              </a:defRPr>
            </a:lvl1pPr>
            <a:lvl2pPr marR="0" lvl="1" algn="l" rtl="0">
              <a:spcBef>
                <a:spcPts val="0"/>
              </a:spcBef>
              <a:spcAft>
                <a:spcPts val="0"/>
              </a:spcAft>
              <a:buSzPts val="1400"/>
              <a:buNone/>
              <a:defRPr sz="24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4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4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4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4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4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4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4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92454772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57"/>
        <p:cNvGrpSpPr/>
        <p:nvPr/>
      </p:nvGrpSpPr>
      <p:grpSpPr>
        <a:xfrm>
          <a:off x="0" y="0"/>
          <a:ext cx="0" cy="0"/>
          <a:chOff x="0" y="0"/>
          <a:chExt cx="0" cy="0"/>
        </a:xfrm>
      </p:grpSpPr>
      <p:sp>
        <p:nvSpPr>
          <p:cNvPr id="58" name="Google Shape;58;p20"/>
          <p:cNvSpPr txBox="1">
            <a:spLocks noGrp="1"/>
          </p:cNvSpPr>
          <p:nvPr>
            <p:ph type="title"/>
          </p:nvPr>
        </p:nvSpPr>
        <p:spPr>
          <a:xfrm>
            <a:off x="0" y="0"/>
            <a:ext cx="9144000" cy="1006507"/>
          </a:xfrm>
          <a:prstGeom prst="rect">
            <a:avLst/>
          </a:prstGeom>
          <a:noFill/>
          <a:ln>
            <a:noFill/>
          </a:ln>
        </p:spPr>
        <p:txBody>
          <a:bodyPr spcFirstLastPara="1" wrap="square" lIns="91425" tIns="45700" rIns="91425" bIns="45700" anchor="t" anchorCtr="0">
            <a:noAutofit/>
          </a:bodyPr>
          <a:lstStyle>
            <a:lvl1pPr marR="0" lvl="0" algn="ctr" rtl="0">
              <a:spcBef>
                <a:spcPts val="0"/>
              </a:spcBef>
              <a:spcAft>
                <a:spcPts val="0"/>
              </a:spcAft>
              <a:buSzPts val="1400"/>
              <a:buNone/>
              <a:defRPr sz="3600" b="0" i="0" u="none" strike="noStrike" cap="none">
                <a:solidFill>
                  <a:schemeClr val="lt1"/>
                </a:solidFill>
                <a:latin typeface="Arial"/>
                <a:ea typeface="Arial"/>
                <a:cs typeface="Arial"/>
                <a:sym typeface="Arial"/>
              </a:defRPr>
            </a:lvl1pPr>
            <a:lvl2pPr marR="0" lvl="1"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2pPr>
            <a:lvl3pPr marR="0" lvl="2"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3pPr>
            <a:lvl4pPr marR="0" lvl="3"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4pPr>
            <a:lvl5pPr marR="0" lvl="4"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5pPr>
            <a:lvl6pPr marR="0" lvl="5"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6pPr>
            <a:lvl7pPr marR="0" lvl="6"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7pPr>
            <a:lvl8pPr marR="0" lvl="7"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8pPr>
            <a:lvl9pPr marR="0" lvl="8"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9pPr>
          </a:lstStyle>
          <a:p>
            <a:endParaRPr/>
          </a:p>
        </p:txBody>
      </p:sp>
      <p:sp>
        <p:nvSpPr>
          <p:cNvPr id="59" name="Google Shape;59;p20"/>
          <p:cNvSpPr txBox="1">
            <a:spLocks noGrp="1"/>
          </p:cNvSpPr>
          <p:nvPr>
            <p:ph type="body" idx="1"/>
          </p:nvPr>
        </p:nvSpPr>
        <p:spPr>
          <a:xfrm rot="5400000">
            <a:off x="3200806" y="-1142136"/>
            <a:ext cx="2742388" cy="7772400"/>
          </a:xfrm>
          <a:prstGeom prst="rect">
            <a:avLst/>
          </a:prstGeom>
          <a:noFill/>
          <a:ln>
            <a:noFill/>
          </a:ln>
        </p:spPr>
        <p:txBody>
          <a:bodyPr spcFirstLastPara="1" wrap="square" lIns="91425" tIns="45700" rIns="91425" bIns="45700" anchor="t" anchorCtr="0">
            <a:no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228600" algn="l">
              <a:spcBef>
                <a:spcPts val="360"/>
              </a:spcBef>
              <a:spcAft>
                <a:spcPts val="0"/>
              </a:spcAft>
              <a:buSzPts val="1400"/>
              <a:buNone/>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60" name="Google Shape;60;p20"/>
          <p:cNvSpPr txBox="1">
            <a:spLocks noGrp="1"/>
          </p:cNvSpPr>
          <p:nvPr>
            <p:ph type="ftr" idx="11"/>
          </p:nvPr>
        </p:nvSpPr>
        <p:spPr>
          <a:xfrm>
            <a:off x="5076056" y="4628260"/>
            <a:ext cx="3903712" cy="41751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a:solidFill>
                  <a:srgbClr val="800000"/>
                </a:solidFill>
                <a:latin typeface="Arial"/>
                <a:ea typeface="Arial"/>
                <a:cs typeface="Arial"/>
                <a:sym typeface="Arial"/>
              </a:defRPr>
            </a:lvl1pPr>
            <a:lvl2pPr marR="0" lvl="1" algn="l" rtl="0">
              <a:spcBef>
                <a:spcPts val="0"/>
              </a:spcBef>
              <a:spcAft>
                <a:spcPts val="0"/>
              </a:spcAft>
              <a:buSzPts val="1400"/>
              <a:buNone/>
              <a:defRPr sz="24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4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4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4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4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4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4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4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96263202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61"/>
        <p:cNvGrpSpPr/>
        <p:nvPr/>
      </p:nvGrpSpPr>
      <p:grpSpPr>
        <a:xfrm>
          <a:off x="0" y="0"/>
          <a:ext cx="0" cy="0"/>
          <a:chOff x="0" y="0"/>
          <a:chExt cx="0" cy="0"/>
        </a:xfrm>
      </p:grpSpPr>
      <p:sp>
        <p:nvSpPr>
          <p:cNvPr id="62" name="Google Shape;62;p21"/>
          <p:cNvSpPr txBox="1">
            <a:spLocks noGrp="1"/>
          </p:cNvSpPr>
          <p:nvPr>
            <p:ph type="title"/>
          </p:nvPr>
        </p:nvSpPr>
        <p:spPr>
          <a:xfrm>
            <a:off x="628650" y="274638"/>
            <a:ext cx="7886700" cy="993775"/>
          </a:xfrm>
          <a:prstGeom prst="rect">
            <a:avLst/>
          </a:prstGeom>
          <a:noFill/>
          <a:ln>
            <a:noFill/>
          </a:ln>
        </p:spPr>
        <p:txBody>
          <a:bodyPr spcFirstLastPara="1" wrap="square" lIns="91425" tIns="45700" rIns="91425" bIns="45700" anchor="t" anchorCtr="0">
            <a:noAutofit/>
          </a:bodyPr>
          <a:lstStyle>
            <a:lvl1pPr marR="0" lvl="0" algn="ctr" rtl="0">
              <a:spcBef>
                <a:spcPts val="0"/>
              </a:spcBef>
              <a:spcAft>
                <a:spcPts val="0"/>
              </a:spcAft>
              <a:buSzPts val="1400"/>
              <a:buNone/>
              <a:defRPr sz="3600" b="0" i="0" u="none" strike="noStrike" cap="none">
                <a:solidFill>
                  <a:schemeClr val="lt1"/>
                </a:solidFill>
                <a:latin typeface="Arial"/>
                <a:ea typeface="Arial"/>
                <a:cs typeface="Arial"/>
                <a:sym typeface="Arial"/>
              </a:defRPr>
            </a:lvl1pPr>
            <a:lvl2pPr marR="0" lvl="1"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2pPr>
            <a:lvl3pPr marR="0" lvl="2"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3pPr>
            <a:lvl4pPr marR="0" lvl="3"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4pPr>
            <a:lvl5pPr marR="0" lvl="4"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5pPr>
            <a:lvl6pPr marR="0" lvl="5"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6pPr>
            <a:lvl7pPr marR="0" lvl="6"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7pPr>
            <a:lvl8pPr marR="0" lvl="7"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8pPr>
            <a:lvl9pPr marR="0" lvl="8" algn="l" rtl="0">
              <a:spcBef>
                <a:spcPts val="0"/>
              </a:spcBef>
              <a:spcAft>
                <a:spcPts val="0"/>
              </a:spcAft>
              <a:buSzPts val="1400"/>
              <a:buNone/>
              <a:defRPr sz="3200" b="0" i="0" u="none" strike="noStrike" cap="none">
                <a:solidFill>
                  <a:schemeClr val="dk2"/>
                </a:solidFill>
                <a:latin typeface="Georgia"/>
                <a:ea typeface="Georgia"/>
                <a:cs typeface="Georgia"/>
                <a:sym typeface="Georgia"/>
              </a:defRPr>
            </a:lvl9pPr>
          </a:lstStyle>
          <a:p>
            <a:endParaRPr/>
          </a:p>
        </p:txBody>
      </p:sp>
      <p:sp>
        <p:nvSpPr>
          <p:cNvPr id="63" name="Google Shape;63;p21"/>
          <p:cNvSpPr txBox="1">
            <a:spLocks noGrp="1"/>
          </p:cNvSpPr>
          <p:nvPr>
            <p:ph type="ftr" idx="11"/>
          </p:nvPr>
        </p:nvSpPr>
        <p:spPr>
          <a:xfrm>
            <a:off x="2897632" y="4593882"/>
            <a:ext cx="3903712" cy="41751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2400">
                <a:solidFill>
                  <a:schemeClr val="dk1"/>
                </a:solidFill>
                <a:latin typeface="Arial"/>
                <a:ea typeface="Arial"/>
                <a:cs typeface="Arial"/>
                <a:sym typeface="Arial"/>
              </a:defRPr>
            </a:lvl1pPr>
            <a:lvl2pPr marR="0" lvl="1" algn="l" rtl="0">
              <a:spcBef>
                <a:spcPts val="0"/>
              </a:spcBef>
              <a:spcAft>
                <a:spcPts val="0"/>
              </a:spcAft>
              <a:buSzPts val="1400"/>
              <a:buNone/>
              <a:defRPr sz="24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4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4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4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4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4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4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4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6292163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A4DA1F-3B7C-4E2B-8EC9-BC80E8097B50}"/>
              </a:ext>
            </a:extLst>
          </p:cNvPr>
          <p:cNvSpPr>
            <a:spLocks noGrp="1"/>
          </p:cNvSpPr>
          <p:nvPr>
            <p:ph type="title"/>
          </p:nvPr>
        </p:nvSpPr>
        <p:spPr>
          <a:xfrm>
            <a:off x="630238" y="342900"/>
            <a:ext cx="2949575" cy="1201738"/>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0126217-8714-427E-B85D-633A065EA701}"/>
              </a:ext>
            </a:extLst>
          </p:cNvPr>
          <p:cNvSpPr>
            <a:spLocks noGrp="1"/>
          </p:cNvSpPr>
          <p:nvPr>
            <p:ph idx="1"/>
          </p:nvPr>
        </p:nvSpPr>
        <p:spPr>
          <a:xfrm>
            <a:off x="3887788" y="741363"/>
            <a:ext cx="4629150" cy="365918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076E9F2-8CEF-4805-8C12-C2F958B52C20}"/>
              </a:ext>
            </a:extLst>
          </p:cNvPr>
          <p:cNvSpPr>
            <a:spLocks noGrp="1"/>
          </p:cNvSpPr>
          <p:nvPr>
            <p:ph type="body" sz="half" idx="2"/>
          </p:nvPr>
        </p:nvSpPr>
        <p:spPr>
          <a:xfrm>
            <a:off x="630238" y="1544638"/>
            <a:ext cx="2949575" cy="28606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D9C7B35-3278-4931-8C41-2AC868ED02A5}"/>
              </a:ext>
            </a:extLst>
          </p:cNvPr>
          <p:cNvSpPr>
            <a:spLocks noGrp="1"/>
          </p:cNvSpPr>
          <p:nvPr>
            <p:ph type="dt" sz="half" idx="10"/>
          </p:nvPr>
        </p:nvSpPr>
        <p:spPr/>
        <p:txBody>
          <a:bodyPr/>
          <a:lstStyle/>
          <a:p>
            <a:fld id="{AF14DFFF-BE29-4D39-830D-DDE47C3C97AE}" type="datetimeFigureOut">
              <a:rPr lang="en-US" smtClean="0"/>
              <a:t>5/10/2024</a:t>
            </a:fld>
            <a:endParaRPr lang="en-US"/>
          </a:p>
        </p:txBody>
      </p:sp>
      <p:sp>
        <p:nvSpPr>
          <p:cNvPr id="6" name="Footer Placeholder 5">
            <a:extLst>
              <a:ext uri="{FF2B5EF4-FFF2-40B4-BE49-F238E27FC236}">
                <a16:creationId xmlns:a16="http://schemas.microsoft.com/office/drawing/2014/main" id="{DC140D36-F7DC-4D68-8298-FEC9299C4A2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4F0D363-CEFD-45EC-9E7C-DD9AA06C41E4}"/>
              </a:ext>
            </a:extLst>
          </p:cNvPr>
          <p:cNvSpPr>
            <a:spLocks noGrp="1"/>
          </p:cNvSpPr>
          <p:nvPr>
            <p:ph type="sldNum" sz="quarter" idx="12"/>
          </p:nvPr>
        </p:nvSpPr>
        <p:spPr/>
        <p:txBody>
          <a:bodyPr/>
          <a:lstStyle/>
          <a:p>
            <a:fld id="{2D994E03-0F88-49B3-B680-88EAF0B5195C}" type="slidenum">
              <a:rPr lang="en-US" smtClean="0"/>
              <a:t>‹#›</a:t>
            </a:fld>
            <a:endParaRPr lang="en-US"/>
          </a:p>
        </p:txBody>
      </p:sp>
    </p:spTree>
    <p:extLst>
      <p:ext uri="{BB962C8B-B14F-4D97-AF65-F5344CB8AC3E}">
        <p14:creationId xmlns:p14="http://schemas.microsoft.com/office/powerpoint/2010/main" val="153471497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602CB7-A636-426D-D11C-8BC74761B63A}"/>
              </a:ext>
            </a:extLst>
          </p:cNvPr>
          <p:cNvSpPr>
            <a:spLocks noGrp="1"/>
          </p:cNvSpPr>
          <p:nvPr>
            <p:ph type="ctrTitle"/>
          </p:nvPr>
        </p:nvSpPr>
        <p:spPr>
          <a:xfrm>
            <a:off x="1143000" y="842552"/>
            <a:ext cx="6858000" cy="1792358"/>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8CE3FF81-F38D-A676-EAA8-B24F54F19777}"/>
              </a:ext>
            </a:extLst>
          </p:cNvPr>
          <p:cNvSpPr>
            <a:spLocks noGrp="1"/>
          </p:cNvSpPr>
          <p:nvPr>
            <p:ph type="subTitle" idx="1"/>
          </p:nvPr>
        </p:nvSpPr>
        <p:spPr>
          <a:xfrm>
            <a:off x="1143000" y="2704030"/>
            <a:ext cx="6858000" cy="1242971"/>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911BD5FF-9021-6395-8A0B-2E88D5F8AB95}"/>
              </a:ext>
            </a:extLst>
          </p:cNvPr>
          <p:cNvSpPr>
            <a:spLocks noGrp="1"/>
          </p:cNvSpPr>
          <p:nvPr>
            <p:ph type="dt" sz="half" idx="10"/>
          </p:nvPr>
        </p:nvSpPr>
        <p:spPr/>
        <p:txBody>
          <a:bodyPr/>
          <a:lstStyle/>
          <a:p>
            <a:fld id="{55F69CC8-F36E-4C26-8022-D34C01625C07}" type="datetimeFigureOut">
              <a:rPr lang="en-US" smtClean="0"/>
              <a:t>5/10/2024</a:t>
            </a:fld>
            <a:endParaRPr lang="en-US"/>
          </a:p>
        </p:txBody>
      </p:sp>
      <p:sp>
        <p:nvSpPr>
          <p:cNvPr id="5" name="Footer Placeholder 4">
            <a:extLst>
              <a:ext uri="{FF2B5EF4-FFF2-40B4-BE49-F238E27FC236}">
                <a16:creationId xmlns:a16="http://schemas.microsoft.com/office/drawing/2014/main" id="{55873A85-1575-E383-4FB5-1C81368894D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62B0B9D-3A8D-9C59-2FC3-50F73597B486}"/>
              </a:ext>
            </a:extLst>
          </p:cNvPr>
          <p:cNvSpPr>
            <a:spLocks noGrp="1"/>
          </p:cNvSpPr>
          <p:nvPr>
            <p:ph type="sldNum" sz="quarter" idx="12"/>
          </p:nvPr>
        </p:nvSpPr>
        <p:spPr/>
        <p:txBody>
          <a:bodyPr/>
          <a:lstStyle/>
          <a:p>
            <a:fld id="{A5F8C0CE-96AB-4481-8909-2C97475F2BDA}" type="slidenum">
              <a:rPr lang="en-US" smtClean="0"/>
              <a:t>‹#›</a:t>
            </a:fld>
            <a:endParaRPr lang="en-US"/>
          </a:p>
        </p:txBody>
      </p:sp>
    </p:spTree>
    <p:extLst>
      <p:ext uri="{BB962C8B-B14F-4D97-AF65-F5344CB8AC3E}">
        <p14:creationId xmlns:p14="http://schemas.microsoft.com/office/powerpoint/2010/main" val="327728829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DCC98-1654-B543-643C-ADB0234475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F4463E-D552-7CD7-7A99-3112F970F54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C60398-1023-4AB4-C02A-94B92169E12C}"/>
              </a:ext>
            </a:extLst>
          </p:cNvPr>
          <p:cNvSpPr>
            <a:spLocks noGrp="1"/>
          </p:cNvSpPr>
          <p:nvPr>
            <p:ph type="dt" sz="half" idx="10"/>
          </p:nvPr>
        </p:nvSpPr>
        <p:spPr/>
        <p:txBody>
          <a:bodyPr/>
          <a:lstStyle/>
          <a:p>
            <a:fld id="{55F69CC8-F36E-4C26-8022-D34C01625C07}" type="datetimeFigureOut">
              <a:rPr lang="en-US" smtClean="0"/>
              <a:t>5/10/2024</a:t>
            </a:fld>
            <a:endParaRPr lang="en-US"/>
          </a:p>
        </p:txBody>
      </p:sp>
      <p:sp>
        <p:nvSpPr>
          <p:cNvPr id="5" name="Footer Placeholder 4">
            <a:extLst>
              <a:ext uri="{FF2B5EF4-FFF2-40B4-BE49-F238E27FC236}">
                <a16:creationId xmlns:a16="http://schemas.microsoft.com/office/drawing/2014/main" id="{187E8C51-61DA-D1C7-7510-FF7E96AE522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3D7DEA-7585-ECD3-5CEB-030156880F5A}"/>
              </a:ext>
            </a:extLst>
          </p:cNvPr>
          <p:cNvSpPr>
            <a:spLocks noGrp="1"/>
          </p:cNvSpPr>
          <p:nvPr>
            <p:ph type="sldNum" sz="quarter" idx="12"/>
          </p:nvPr>
        </p:nvSpPr>
        <p:spPr/>
        <p:txBody>
          <a:bodyPr/>
          <a:lstStyle/>
          <a:p>
            <a:fld id="{A5F8C0CE-96AB-4481-8909-2C97475F2BDA}" type="slidenum">
              <a:rPr lang="en-US" smtClean="0"/>
              <a:t>‹#›</a:t>
            </a:fld>
            <a:endParaRPr lang="en-US"/>
          </a:p>
        </p:txBody>
      </p:sp>
    </p:spTree>
    <p:extLst>
      <p:ext uri="{BB962C8B-B14F-4D97-AF65-F5344CB8AC3E}">
        <p14:creationId xmlns:p14="http://schemas.microsoft.com/office/powerpoint/2010/main" val="285765497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F74509-C270-BC8A-9D48-DA4B004531A4}"/>
              </a:ext>
            </a:extLst>
          </p:cNvPr>
          <p:cNvSpPr>
            <a:spLocks noGrp="1"/>
          </p:cNvSpPr>
          <p:nvPr>
            <p:ph type="title"/>
          </p:nvPr>
        </p:nvSpPr>
        <p:spPr>
          <a:xfrm>
            <a:off x="623888" y="1283491"/>
            <a:ext cx="7886700" cy="2141534"/>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35C01641-4069-21E2-5401-5506E9E0E6B6}"/>
              </a:ext>
            </a:extLst>
          </p:cNvPr>
          <p:cNvSpPr>
            <a:spLocks noGrp="1"/>
          </p:cNvSpPr>
          <p:nvPr>
            <p:ph type="body" idx="1"/>
          </p:nvPr>
        </p:nvSpPr>
        <p:spPr>
          <a:xfrm>
            <a:off x="623888" y="3445285"/>
            <a:ext cx="7886700" cy="1126182"/>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217B56E-2973-A369-7DCA-8D9B132A3F9C}"/>
              </a:ext>
            </a:extLst>
          </p:cNvPr>
          <p:cNvSpPr>
            <a:spLocks noGrp="1"/>
          </p:cNvSpPr>
          <p:nvPr>
            <p:ph type="dt" sz="half" idx="10"/>
          </p:nvPr>
        </p:nvSpPr>
        <p:spPr/>
        <p:txBody>
          <a:bodyPr/>
          <a:lstStyle/>
          <a:p>
            <a:fld id="{55F69CC8-F36E-4C26-8022-D34C01625C07}" type="datetimeFigureOut">
              <a:rPr lang="en-US" smtClean="0"/>
              <a:t>5/10/2024</a:t>
            </a:fld>
            <a:endParaRPr lang="en-US"/>
          </a:p>
        </p:txBody>
      </p:sp>
      <p:sp>
        <p:nvSpPr>
          <p:cNvPr id="5" name="Footer Placeholder 4">
            <a:extLst>
              <a:ext uri="{FF2B5EF4-FFF2-40B4-BE49-F238E27FC236}">
                <a16:creationId xmlns:a16="http://schemas.microsoft.com/office/drawing/2014/main" id="{910D372F-CBD1-BD68-D8E2-9FEFBE95F1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9506EC9-AFA5-1601-6FBD-DACF255EA3C4}"/>
              </a:ext>
            </a:extLst>
          </p:cNvPr>
          <p:cNvSpPr>
            <a:spLocks noGrp="1"/>
          </p:cNvSpPr>
          <p:nvPr>
            <p:ph type="sldNum" sz="quarter" idx="12"/>
          </p:nvPr>
        </p:nvSpPr>
        <p:spPr/>
        <p:txBody>
          <a:bodyPr/>
          <a:lstStyle/>
          <a:p>
            <a:fld id="{A5F8C0CE-96AB-4481-8909-2C97475F2BDA}" type="slidenum">
              <a:rPr lang="en-US" smtClean="0"/>
              <a:t>‹#›</a:t>
            </a:fld>
            <a:endParaRPr lang="en-US"/>
          </a:p>
        </p:txBody>
      </p:sp>
    </p:spTree>
    <p:extLst>
      <p:ext uri="{BB962C8B-B14F-4D97-AF65-F5344CB8AC3E}">
        <p14:creationId xmlns:p14="http://schemas.microsoft.com/office/powerpoint/2010/main" val="410100776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6453E-D3C3-0480-4321-E5709049068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36FE2E-9096-88B6-DC3D-036E695DE213}"/>
              </a:ext>
            </a:extLst>
          </p:cNvPr>
          <p:cNvSpPr>
            <a:spLocks noGrp="1"/>
          </p:cNvSpPr>
          <p:nvPr>
            <p:ph sz="half" idx="1"/>
          </p:nvPr>
        </p:nvSpPr>
        <p:spPr>
          <a:xfrm>
            <a:off x="628650" y="1370486"/>
            <a:ext cx="3886200" cy="32665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F15DF40-4A9D-088C-EDA7-39BC39CC3DA4}"/>
              </a:ext>
            </a:extLst>
          </p:cNvPr>
          <p:cNvSpPr>
            <a:spLocks noGrp="1"/>
          </p:cNvSpPr>
          <p:nvPr>
            <p:ph sz="half" idx="2"/>
          </p:nvPr>
        </p:nvSpPr>
        <p:spPr>
          <a:xfrm>
            <a:off x="4629150" y="1370486"/>
            <a:ext cx="3886200" cy="32665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2AECBE5-9783-44C8-993E-056375796BD4}"/>
              </a:ext>
            </a:extLst>
          </p:cNvPr>
          <p:cNvSpPr>
            <a:spLocks noGrp="1"/>
          </p:cNvSpPr>
          <p:nvPr>
            <p:ph type="dt" sz="half" idx="10"/>
          </p:nvPr>
        </p:nvSpPr>
        <p:spPr/>
        <p:txBody>
          <a:bodyPr/>
          <a:lstStyle/>
          <a:p>
            <a:fld id="{55F69CC8-F36E-4C26-8022-D34C01625C07}" type="datetimeFigureOut">
              <a:rPr lang="en-US" smtClean="0"/>
              <a:t>5/10/2024</a:t>
            </a:fld>
            <a:endParaRPr lang="en-US"/>
          </a:p>
        </p:txBody>
      </p:sp>
      <p:sp>
        <p:nvSpPr>
          <p:cNvPr id="6" name="Footer Placeholder 5">
            <a:extLst>
              <a:ext uri="{FF2B5EF4-FFF2-40B4-BE49-F238E27FC236}">
                <a16:creationId xmlns:a16="http://schemas.microsoft.com/office/drawing/2014/main" id="{7A84F158-5E64-D2E7-5EFF-D491CDE1F4C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5CB0FA0-202F-0046-5793-91935C9EACF1}"/>
              </a:ext>
            </a:extLst>
          </p:cNvPr>
          <p:cNvSpPr>
            <a:spLocks noGrp="1"/>
          </p:cNvSpPr>
          <p:nvPr>
            <p:ph type="sldNum" sz="quarter" idx="12"/>
          </p:nvPr>
        </p:nvSpPr>
        <p:spPr/>
        <p:txBody>
          <a:bodyPr/>
          <a:lstStyle/>
          <a:p>
            <a:fld id="{A5F8C0CE-96AB-4481-8909-2C97475F2BDA}" type="slidenum">
              <a:rPr lang="en-US" smtClean="0"/>
              <a:t>‹#›</a:t>
            </a:fld>
            <a:endParaRPr lang="en-US"/>
          </a:p>
        </p:txBody>
      </p:sp>
    </p:spTree>
    <p:extLst>
      <p:ext uri="{BB962C8B-B14F-4D97-AF65-F5344CB8AC3E}">
        <p14:creationId xmlns:p14="http://schemas.microsoft.com/office/powerpoint/2010/main" val="73017239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F467D-E881-DF2F-5989-4BE934850BDE}"/>
              </a:ext>
            </a:extLst>
          </p:cNvPr>
          <p:cNvSpPr>
            <a:spLocks noGrp="1"/>
          </p:cNvSpPr>
          <p:nvPr>
            <p:ph type="title"/>
          </p:nvPr>
        </p:nvSpPr>
        <p:spPr>
          <a:xfrm>
            <a:off x="629841" y="274098"/>
            <a:ext cx="7886700" cy="99509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7252512-4D7E-0AD4-8243-8F1399273E94}"/>
              </a:ext>
            </a:extLst>
          </p:cNvPr>
          <p:cNvSpPr>
            <a:spLocks noGrp="1"/>
          </p:cNvSpPr>
          <p:nvPr>
            <p:ph type="body" idx="1"/>
          </p:nvPr>
        </p:nvSpPr>
        <p:spPr>
          <a:xfrm>
            <a:off x="629842" y="1262040"/>
            <a:ext cx="3868340" cy="618506"/>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E0D533B7-DC7F-53C8-518A-F99DCFF3753D}"/>
              </a:ext>
            </a:extLst>
          </p:cNvPr>
          <p:cNvSpPr>
            <a:spLocks noGrp="1"/>
          </p:cNvSpPr>
          <p:nvPr>
            <p:ph sz="half" idx="2"/>
          </p:nvPr>
        </p:nvSpPr>
        <p:spPr>
          <a:xfrm>
            <a:off x="629842" y="1880546"/>
            <a:ext cx="3868340" cy="276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99EA850-0A6F-41ED-4E0B-F54E3B81E61A}"/>
              </a:ext>
            </a:extLst>
          </p:cNvPr>
          <p:cNvSpPr>
            <a:spLocks noGrp="1"/>
          </p:cNvSpPr>
          <p:nvPr>
            <p:ph type="body" sz="quarter" idx="3"/>
          </p:nvPr>
        </p:nvSpPr>
        <p:spPr>
          <a:xfrm>
            <a:off x="4629150" y="1262040"/>
            <a:ext cx="3887391" cy="618506"/>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2F5AB4BF-49E7-C6A7-B047-2E13FF1220D0}"/>
              </a:ext>
            </a:extLst>
          </p:cNvPr>
          <p:cNvSpPr>
            <a:spLocks noGrp="1"/>
          </p:cNvSpPr>
          <p:nvPr>
            <p:ph sz="quarter" idx="4"/>
          </p:nvPr>
        </p:nvSpPr>
        <p:spPr>
          <a:xfrm>
            <a:off x="4629150" y="1880546"/>
            <a:ext cx="3887391" cy="276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EF9CB2D-1411-B570-8551-0040F08D806B}"/>
              </a:ext>
            </a:extLst>
          </p:cNvPr>
          <p:cNvSpPr>
            <a:spLocks noGrp="1"/>
          </p:cNvSpPr>
          <p:nvPr>
            <p:ph type="dt" sz="half" idx="10"/>
          </p:nvPr>
        </p:nvSpPr>
        <p:spPr/>
        <p:txBody>
          <a:bodyPr/>
          <a:lstStyle/>
          <a:p>
            <a:fld id="{55F69CC8-F36E-4C26-8022-D34C01625C07}" type="datetimeFigureOut">
              <a:rPr lang="en-US" smtClean="0"/>
              <a:t>5/10/2024</a:t>
            </a:fld>
            <a:endParaRPr lang="en-US"/>
          </a:p>
        </p:txBody>
      </p:sp>
      <p:sp>
        <p:nvSpPr>
          <p:cNvPr id="8" name="Footer Placeholder 7">
            <a:extLst>
              <a:ext uri="{FF2B5EF4-FFF2-40B4-BE49-F238E27FC236}">
                <a16:creationId xmlns:a16="http://schemas.microsoft.com/office/drawing/2014/main" id="{85C38DD3-789D-D181-3439-0E76FF2ED49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6B4BFFF-F515-AAAA-FF76-DEA5EF807CDE}"/>
              </a:ext>
            </a:extLst>
          </p:cNvPr>
          <p:cNvSpPr>
            <a:spLocks noGrp="1"/>
          </p:cNvSpPr>
          <p:nvPr>
            <p:ph type="sldNum" sz="quarter" idx="12"/>
          </p:nvPr>
        </p:nvSpPr>
        <p:spPr/>
        <p:txBody>
          <a:bodyPr/>
          <a:lstStyle/>
          <a:p>
            <a:fld id="{A5F8C0CE-96AB-4481-8909-2C97475F2BDA}" type="slidenum">
              <a:rPr lang="en-US" smtClean="0"/>
              <a:t>‹#›</a:t>
            </a:fld>
            <a:endParaRPr lang="en-US"/>
          </a:p>
        </p:txBody>
      </p:sp>
    </p:spTree>
    <p:extLst>
      <p:ext uri="{BB962C8B-B14F-4D97-AF65-F5344CB8AC3E}">
        <p14:creationId xmlns:p14="http://schemas.microsoft.com/office/powerpoint/2010/main" val="382986085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43003-F3EF-2AF4-CBD6-D9730675B33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A1F0EE4-2445-7E0C-C31D-3E28D7F4D2EE}"/>
              </a:ext>
            </a:extLst>
          </p:cNvPr>
          <p:cNvSpPr>
            <a:spLocks noGrp="1"/>
          </p:cNvSpPr>
          <p:nvPr>
            <p:ph type="dt" sz="half" idx="10"/>
          </p:nvPr>
        </p:nvSpPr>
        <p:spPr/>
        <p:txBody>
          <a:bodyPr/>
          <a:lstStyle/>
          <a:p>
            <a:fld id="{55F69CC8-F36E-4C26-8022-D34C01625C07}" type="datetimeFigureOut">
              <a:rPr lang="en-US" smtClean="0"/>
              <a:t>5/10/2024</a:t>
            </a:fld>
            <a:endParaRPr lang="en-US"/>
          </a:p>
        </p:txBody>
      </p:sp>
      <p:sp>
        <p:nvSpPr>
          <p:cNvPr id="4" name="Footer Placeholder 3">
            <a:extLst>
              <a:ext uri="{FF2B5EF4-FFF2-40B4-BE49-F238E27FC236}">
                <a16:creationId xmlns:a16="http://schemas.microsoft.com/office/drawing/2014/main" id="{D0633B6C-63C9-58A7-E6C0-CA485F77EE2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E707AB8-EA0D-2600-DA05-671CD415B691}"/>
              </a:ext>
            </a:extLst>
          </p:cNvPr>
          <p:cNvSpPr>
            <a:spLocks noGrp="1"/>
          </p:cNvSpPr>
          <p:nvPr>
            <p:ph type="sldNum" sz="quarter" idx="12"/>
          </p:nvPr>
        </p:nvSpPr>
        <p:spPr/>
        <p:txBody>
          <a:bodyPr/>
          <a:lstStyle/>
          <a:p>
            <a:fld id="{A5F8C0CE-96AB-4481-8909-2C97475F2BDA}" type="slidenum">
              <a:rPr lang="en-US" smtClean="0"/>
              <a:t>‹#›</a:t>
            </a:fld>
            <a:endParaRPr lang="en-US"/>
          </a:p>
        </p:txBody>
      </p:sp>
    </p:spTree>
    <p:extLst>
      <p:ext uri="{BB962C8B-B14F-4D97-AF65-F5344CB8AC3E}">
        <p14:creationId xmlns:p14="http://schemas.microsoft.com/office/powerpoint/2010/main" val="111864089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8EEE52A-C47E-2DD4-DE82-D7EE08F1EC59}"/>
              </a:ext>
            </a:extLst>
          </p:cNvPr>
          <p:cNvSpPr>
            <a:spLocks noGrp="1"/>
          </p:cNvSpPr>
          <p:nvPr>
            <p:ph type="dt" sz="half" idx="10"/>
          </p:nvPr>
        </p:nvSpPr>
        <p:spPr/>
        <p:txBody>
          <a:bodyPr/>
          <a:lstStyle/>
          <a:p>
            <a:fld id="{55F69CC8-F36E-4C26-8022-D34C01625C07}" type="datetimeFigureOut">
              <a:rPr lang="en-US" smtClean="0"/>
              <a:t>5/10/2024</a:t>
            </a:fld>
            <a:endParaRPr lang="en-US"/>
          </a:p>
        </p:txBody>
      </p:sp>
      <p:sp>
        <p:nvSpPr>
          <p:cNvPr id="3" name="Footer Placeholder 2">
            <a:extLst>
              <a:ext uri="{FF2B5EF4-FFF2-40B4-BE49-F238E27FC236}">
                <a16:creationId xmlns:a16="http://schemas.microsoft.com/office/drawing/2014/main" id="{9B1DC77F-34BC-CC92-2AE0-029BC7D7B8E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610FEF4-7AC4-BD15-B7C7-DEE0DD3A2EEA}"/>
              </a:ext>
            </a:extLst>
          </p:cNvPr>
          <p:cNvSpPr>
            <a:spLocks noGrp="1"/>
          </p:cNvSpPr>
          <p:nvPr>
            <p:ph type="sldNum" sz="quarter" idx="12"/>
          </p:nvPr>
        </p:nvSpPr>
        <p:spPr/>
        <p:txBody>
          <a:bodyPr/>
          <a:lstStyle/>
          <a:p>
            <a:fld id="{A5F8C0CE-96AB-4481-8909-2C97475F2BDA}" type="slidenum">
              <a:rPr lang="en-US" smtClean="0"/>
              <a:t>‹#›</a:t>
            </a:fld>
            <a:endParaRPr lang="en-US"/>
          </a:p>
        </p:txBody>
      </p:sp>
    </p:spTree>
    <p:extLst>
      <p:ext uri="{BB962C8B-B14F-4D97-AF65-F5344CB8AC3E}">
        <p14:creationId xmlns:p14="http://schemas.microsoft.com/office/powerpoint/2010/main" val="307519999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8652B0-4F74-6BC7-A60D-4299D86183D3}"/>
              </a:ext>
            </a:extLst>
          </p:cNvPr>
          <p:cNvSpPr>
            <a:spLocks noGrp="1"/>
          </p:cNvSpPr>
          <p:nvPr>
            <p:ph type="title"/>
          </p:nvPr>
        </p:nvSpPr>
        <p:spPr>
          <a:xfrm>
            <a:off x="629841" y="343218"/>
            <a:ext cx="2949178" cy="1201261"/>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7236AC81-043A-8CD4-71CC-3A9554FA4D4A}"/>
              </a:ext>
            </a:extLst>
          </p:cNvPr>
          <p:cNvSpPr>
            <a:spLocks noGrp="1"/>
          </p:cNvSpPr>
          <p:nvPr>
            <p:ph idx="1"/>
          </p:nvPr>
        </p:nvSpPr>
        <p:spPr>
          <a:xfrm>
            <a:off x="3887391" y="741255"/>
            <a:ext cx="4629150" cy="3658604"/>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61AD319-F006-F207-89F6-86E99847C975}"/>
              </a:ext>
            </a:extLst>
          </p:cNvPr>
          <p:cNvSpPr>
            <a:spLocks noGrp="1"/>
          </p:cNvSpPr>
          <p:nvPr>
            <p:ph type="body" sz="half" idx="2"/>
          </p:nvPr>
        </p:nvSpPr>
        <p:spPr>
          <a:xfrm>
            <a:off x="629841" y="1544479"/>
            <a:ext cx="2949178" cy="286133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F77B9148-4A60-8808-B21C-528D76ABEFA4}"/>
              </a:ext>
            </a:extLst>
          </p:cNvPr>
          <p:cNvSpPr>
            <a:spLocks noGrp="1"/>
          </p:cNvSpPr>
          <p:nvPr>
            <p:ph type="dt" sz="half" idx="10"/>
          </p:nvPr>
        </p:nvSpPr>
        <p:spPr/>
        <p:txBody>
          <a:bodyPr/>
          <a:lstStyle/>
          <a:p>
            <a:fld id="{55F69CC8-F36E-4C26-8022-D34C01625C07}" type="datetimeFigureOut">
              <a:rPr lang="en-US" smtClean="0"/>
              <a:t>5/10/2024</a:t>
            </a:fld>
            <a:endParaRPr lang="en-US"/>
          </a:p>
        </p:txBody>
      </p:sp>
      <p:sp>
        <p:nvSpPr>
          <p:cNvPr id="6" name="Footer Placeholder 5">
            <a:extLst>
              <a:ext uri="{FF2B5EF4-FFF2-40B4-BE49-F238E27FC236}">
                <a16:creationId xmlns:a16="http://schemas.microsoft.com/office/drawing/2014/main" id="{7A752573-133F-7D2C-CB56-36D2D2055D5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6D44925-8DC8-2E86-9CC2-9FF0D463DE87}"/>
              </a:ext>
            </a:extLst>
          </p:cNvPr>
          <p:cNvSpPr>
            <a:spLocks noGrp="1"/>
          </p:cNvSpPr>
          <p:nvPr>
            <p:ph type="sldNum" sz="quarter" idx="12"/>
          </p:nvPr>
        </p:nvSpPr>
        <p:spPr/>
        <p:txBody>
          <a:bodyPr/>
          <a:lstStyle/>
          <a:p>
            <a:fld id="{A5F8C0CE-96AB-4481-8909-2C97475F2BDA}" type="slidenum">
              <a:rPr lang="en-US" smtClean="0"/>
              <a:t>‹#›</a:t>
            </a:fld>
            <a:endParaRPr lang="en-US"/>
          </a:p>
        </p:txBody>
      </p:sp>
    </p:spTree>
    <p:extLst>
      <p:ext uri="{BB962C8B-B14F-4D97-AF65-F5344CB8AC3E}">
        <p14:creationId xmlns:p14="http://schemas.microsoft.com/office/powerpoint/2010/main" val="228755447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151787-9782-3AA0-7DD5-89F7A9EB94C3}"/>
              </a:ext>
            </a:extLst>
          </p:cNvPr>
          <p:cNvSpPr>
            <a:spLocks noGrp="1"/>
          </p:cNvSpPr>
          <p:nvPr>
            <p:ph type="title"/>
          </p:nvPr>
        </p:nvSpPr>
        <p:spPr>
          <a:xfrm>
            <a:off x="629841" y="343218"/>
            <a:ext cx="2949178" cy="1201261"/>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D963BA0C-DA2D-9D38-300B-EF52A44BD1BB}"/>
              </a:ext>
            </a:extLst>
          </p:cNvPr>
          <p:cNvSpPr>
            <a:spLocks noGrp="1"/>
          </p:cNvSpPr>
          <p:nvPr>
            <p:ph type="pic" idx="1"/>
          </p:nvPr>
        </p:nvSpPr>
        <p:spPr>
          <a:xfrm>
            <a:off x="3887391" y="741255"/>
            <a:ext cx="4629150" cy="3658604"/>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913DDC11-8489-5167-FAB9-95FC3EC985C9}"/>
              </a:ext>
            </a:extLst>
          </p:cNvPr>
          <p:cNvSpPr>
            <a:spLocks noGrp="1"/>
          </p:cNvSpPr>
          <p:nvPr>
            <p:ph type="body" sz="half" idx="2"/>
          </p:nvPr>
        </p:nvSpPr>
        <p:spPr>
          <a:xfrm>
            <a:off x="629841" y="1544479"/>
            <a:ext cx="2949178" cy="286133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A56AE8AC-8512-F2A9-3A8D-B405218A9EE1}"/>
              </a:ext>
            </a:extLst>
          </p:cNvPr>
          <p:cNvSpPr>
            <a:spLocks noGrp="1"/>
          </p:cNvSpPr>
          <p:nvPr>
            <p:ph type="dt" sz="half" idx="10"/>
          </p:nvPr>
        </p:nvSpPr>
        <p:spPr/>
        <p:txBody>
          <a:bodyPr/>
          <a:lstStyle/>
          <a:p>
            <a:fld id="{55F69CC8-F36E-4C26-8022-D34C01625C07}" type="datetimeFigureOut">
              <a:rPr lang="en-US" smtClean="0"/>
              <a:t>5/10/2024</a:t>
            </a:fld>
            <a:endParaRPr lang="en-US"/>
          </a:p>
        </p:txBody>
      </p:sp>
      <p:sp>
        <p:nvSpPr>
          <p:cNvPr id="6" name="Footer Placeholder 5">
            <a:extLst>
              <a:ext uri="{FF2B5EF4-FFF2-40B4-BE49-F238E27FC236}">
                <a16:creationId xmlns:a16="http://schemas.microsoft.com/office/drawing/2014/main" id="{6DBD3C96-F3D8-DFE8-6836-810FCBC022D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FBB26AE-14AE-F7AE-3509-E838E6BB3551}"/>
              </a:ext>
            </a:extLst>
          </p:cNvPr>
          <p:cNvSpPr>
            <a:spLocks noGrp="1"/>
          </p:cNvSpPr>
          <p:nvPr>
            <p:ph type="sldNum" sz="quarter" idx="12"/>
          </p:nvPr>
        </p:nvSpPr>
        <p:spPr/>
        <p:txBody>
          <a:bodyPr/>
          <a:lstStyle/>
          <a:p>
            <a:fld id="{A5F8C0CE-96AB-4481-8909-2C97475F2BDA}" type="slidenum">
              <a:rPr lang="en-US" smtClean="0"/>
              <a:t>‹#›</a:t>
            </a:fld>
            <a:endParaRPr lang="en-US"/>
          </a:p>
        </p:txBody>
      </p:sp>
    </p:spTree>
    <p:extLst>
      <p:ext uri="{BB962C8B-B14F-4D97-AF65-F5344CB8AC3E}">
        <p14:creationId xmlns:p14="http://schemas.microsoft.com/office/powerpoint/2010/main" val="198724374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4CCAB7-C2CE-49F6-942F-AD1C8F75792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04E1AF8-923F-C7D6-890F-AA2CCF689C9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63E823-A3B5-9C9C-F15E-A9D33732B939}"/>
              </a:ext>
            </a:extLst>
          </p:cNvPr>
          <p:cNvSpPr>
            <a:spLocks noGrp="1"/>
          </p:cNvSpPr>
          <p:nvPr>
            <p:ph type="dt" sz="half" idx="10"/>
          </p:nvPr>
        </p:nvSpPr>
        <p:spPr/>
        <p:txBody>
          <a:bodyPr/>
          <a:lstStyle/>
          <a:p>
            <a:fld id="{55F69CC8-F36E-4C26-8022-D34C01625C07}" type="datetimeFigureOut">
              <a:rPr lang="en-US" smtClean="0"/>
              <a:t>5/10/2024</a:t>
            </a:fld>
            <a:endParaRPr lang="en-US"/>
          </a:p>
        </p:txBody>
      </p:sp>
      <p:sp>
        <p:nvSpPr>
          <p:cNvPr id="5" name="Footer Placeholder 4">
            <a:extLst>
              <a:ext uri="{FF2B5EF4-FFF2-40B4-BE49-F238E27FC236}">
                <a16:creationId xmlns:a16="http://schemas.microsoft.com/office/drawing/2014/main" id="{11C29BE2-0017-472E-9826-C9EBA8F6D3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F307217-1917-5A13-7C04-E28063296B67}"/>
              </a:ext>
            </a:extLst>
          </p:cNvPr>
          <p:cNvSpPr>
            <a:spLocks noGrp="1"/>
          </p:cNvSpPr>
          <p:nvPr>
            <p:ph type="sldNum" sz="quarter" idx="12"/>
          </p:nvPr>
        </p:nvSpPr>
        <p:spPr/>
        <p:txBody>
          <a:bodyPr/>
          <a:lstStyle/>
          <a:p>
            <a:fld id="{A5F8C0CE-96AB-4481-8909-2C97475F2BDA}" type="slidenum">
              <a:rPr lang="en-US" smtClean="0"/>
              <a:t>‹#›</a:t>
            </a:fld>
            <a:endParaRPr lang="en-US"/>
          </a:p>
        </p:txBody>
      </p:sp>
    </p:spTree>
    <p:extLst>
      <p:ext uri="{BB962C8B-B14F-4D97-AF65-F5344CB8AC3E}">
        <p14:creationId xmlns:p14="http://schemas.microsoft.com/office/powerpoint/2010/main" val="9384738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05CB5-43C3-4F78-B7FF-4F51C046A879}"/>
              </a:ext>
            </a:extLst>
          </p:cNvPr>
          <p:cNvSpPr>
            <a:spLocks noGrp="1"/>
          </p:cNvSpPr>
          <p:nvPr>
            <p:ph type="title"/>
          </p:nvPr>
        </p:nvSpPr>
        <p:spPr>
          <a:xfrm>
            <a:off x="630238" y="342900"/>
            <a:ext cx="2949575" cy="1201738"/>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F734898-36EE-4716-AD5F-E4D990A936E8}"/>
              </a:ext>
            </a:extLst>
          </p:cNvPr>
          <p:cNvSpPr>
            <a:spLocks noGrp="1"/>
          </p:cNvSpPr>
          <p:nvPr>
            <p:ph type="pic" idx="1"/>
          </p:nvPr>
        </p:nvSpPr>
        <p:spPr>
          <a:xfrm>
            <a:off x="3887788" y="741363"/>
            <a:ext cx="4629150" cy="365918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765EA0E-C4E3-4CE9-AF35-C8872AB4B848}"/>
              </a:ext>
            </a:extLst>
          </p:cNvPr>
          <p:cNvSpPr>
            <a:spLocks noGrp="1"/>
          </p:cNvSpPr>
          <p:nvPr>
            <p:ph type="body" sz="half" idx="2"/>
          </p:nvPr>
        </p:nvSpPr>
        <p:spPr>
          <a:xfrm>
            <a:off x="630238" y="1544638"/>
            <a:ext cx="2949575" cy="28606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F5696CB-F650-4481-8A96-BC494131A107}"/>
              </a:ext>
            </a:extLst>
          </p:cNvPr>
          <p:cNvSpPr>
            <a:spLocks noGrp="1"/>
          </p:cNvSpPr>
          <p:nvPr>
            <p:ph type="dt" sz="half" idx="10"/>
          </p:nvPr>
        </p:nvSpPr>
        <p:spPr/>
        <p:txBody>
          <a:bodyPr/>
          <a:lstStyle/>
          <a:p>
            <a:fld id="{AF14DFFF-BE29-4D39-830D-DDE47C3C97AE}" type="datetimeFigureOut">
              <a:rPr lang="en-US" smtClean="0"/>
              <a:t>5/10/2024</a:t>
            </a:fld>
            <a:endParaRPr lang="en-US"/>
          </a:p>
        </p:txBody>
      </p:sp>
      <p:sp>
        <p:nvSpPr>
          <p:cNvPr id="6" name="Footer Placeholder 5">
            <a:extLst>
              <a:ext uri="{FF2B5EF4-FFF2-40B4-BE49-F238E27FC236}">
                <a16:creationId xmlns:a16="http://schemas.microsoft.com/office/drawing/2014/main" id="{E4E9697E-4D0A-4F33-8E12-F8AF2C5F811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4836044-4949-48A0-A073-2312CFA7702D}"/>
              </a:ext>
            </a:extLst>
          </p:cNvPr>
          <p:cNvSpPr>
            <a:spLocks noGrp="1"/>
          </p:cNvSpPr>
          <p:nvPr>
            <p:ph type="sldNum" sz="quarter" idx="12"/>
          </p:nvPr>
        </p:nvSpPr>
        <p:spPr/>
        <p:txBody>
          <a:bodyPr/>
          <a:lstStyle/>
          <a:p>
            <a:fld id="{2D994E03-0F88-49B3-B680-88EAF0B5195C}" type="slidenum">
              <a:rPr lang="en-US" smtClean="0"/>
              <a:t>‹#›</a:t>
            </a:fld>
            <a:endParaRPr lang="en-US"/>
          </a:p>
        </p:txBody>
      </p:sp>
    </p:spTree>
    <p:extLst>
      <p:ext uri="{BB962C8B-B14F-4D97-AF65-F5344CB8AC3E}">
        <p14:creationId xmlns:p14="http://schemas.microsoft.com/office/powerpoint/2010/main" val="301743028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833C19A-0BEF-E107-A656-BEC686D4718E}"/>
              </a:ext>
            </a:extLst>
          </p:cNvPr>
          <p:cNvSpPr>
            <a:spLocks noGrp="1"/>
          </p:cNvSpPr>
          <p:nvPr>
            <p:ph type="title" orient="vert"/>
          </p:nvPr>
        </p:nvSpPr>
        <p:spPr>
          <a:xfrm>
            <a:off x="6543675" y="274097"/>
            <a:ext cx="1971675" cy="4362915"/>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E92F722-D24F-0A0E-AFF6-256321862B94}"/>
              </a:ext>
            </a:extLst>
          </p:cNvPr>
          <p:cNvSpPr>
            <a:spLocks noGrp="1"/>
          </p:cNvSpPr>
          <p:nvPr>
            <p:ph type="body" orient="vert" idx="1"/>
          </p:nvPr>
        </p:nvSpPr>
        <p:spPr>
          <a:xfrm>
            <a:off x="628650" y="274097"/>
            <a:ext cx="5800725" cy="436291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9E79AF-BBC9-C458-0759-11E8C7362E76}"/>
              </a:ext>
            </a:extLst>
          </p:cNvPr>
          <p:cNvSpPr>
            <a:spLocks noGrp="1"/>
          </p:cNvSpPr>
          <p:nvPr>
            <p:ph type="dt" sz="half" idx="10"/>
          </p:nvPr>
        </p:nvSpPr>
        <p:spPr/>
        <p:txBody>
          <a:bodyPr/>
          <a:lstStyle/>
          <a:p>
            <a:fld id="{55F69CC8-F36E-4C26-8022-D34C01625C07}" type="datetimeFigureOut">
              <a:rPr lang="en-US" smtClean="0"/>
              <a:t>5/10/2024</a:t>
            </a:fld>
            <a:endParaRPr lang="en-US"/>
          </a:p>
        </p:txBody>
      </p:sp>
      <p:sp>
        <p:nvSpPr>
          <p:cNvPr id="5" name="Footer Placeholder 4">
            <a:extLst>
              <a:ext uri="{FF2B5EF4-FFF2-40B4-BE49-F238E27FC236}">
                <a16:creationId xmlns:a16="http://schemas.microsoft.com/office/drawing/2014/main" id="{811EDBF3-9392-9E2A-B2DD-7ECA1AF6BCF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6AA38B-2DB2-B908-D854-C69071999BFD}"/>
              </a:ext>
            </a:extLst>
          </p:cNvPr>
          <p:cNvSpPr>
            <a:spLocks noGrp="1"/>
          </p:cNvSpPr>
          <p:nvPr>
            <p:ph type="sldNum" sz="quarter" idx="12"/>
          </p:nvPr>
        </p:nvSpPr>
        <p:spPr/>
        <p:txBody>
          <a:bodyPr/>
          <a:lstStyle/>
          <a:p>
            <a:fld id="{A5F8C0CE-96AB-4481-8909-2C97475F2BDA}" type="slidenum">
              <a:rPr lang="en-US" smtClean="0"/>
              <a:t>‹#›</a:t>
            </a:fld>
            <a:endParaRPr lang="en-US"/>
          </a:p>
        </p:txBody>
      </p:sp>
    </p:spTree>
    <p:extLst>
      <p:ext uri="{BB962C8B-B14F-4D97-AF65-F5344CB8AC3E}">
        <p14:creationId xmlns:p14="http://schemas.microsoft.com/office/powerpoint/2010/main" val="378405071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B03F247-4297-4973-90A3-0193475AC741}"/>
              </a:ext>
            </a:extLst>
          </p:cNvPr>
          <p:cNvSpPr>
            <a:spLocks noGrp="1"/>
          </p:cNvSpPr>
          <p:nvPr>
            <p:ph type="dt" sz="half" idx="10"/>
          </p:nvPr>
        </p:nvSpPr>
        <p:spPr/>
        <p:txBody>
          <a:bodyPr/>
          <a:lstStyle>
            <a:lvl1pPr>
              <a:lnSpc>
                <a:spcPct val="100000"/>
              </a:lnSpc>
              <a:defRPr/>
            </a:lvl1pPr>
          </a:lstStyle>
          <a:p>
            <a:endParaRPr lang="en-GB"/>
          </a:p>
        </p:txBody>
      </p:sp>
      <p:sp>
        <p:nvSpPr>
          <p:cNvPr id="11" name="Slide Number Placeholder 10">
            <a:extLst>
              <a:ext uri="{FF2B5EF4-FFF2-40B4-BE49-F238E27FC236}">
                <a16:creationId xmlns:a16="http://schemas.microsoft.com/office/drawing/2014/main" id="{E358DA9E-BDF5-4DC7-B478-434301DA6253}"/>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5" name="Text Placeholder 96">
            <a:extLst>
              <a:ext uri="{FF2B5EF4-FFF2-40B4-BE49-F238E27FC236}">
                <a16:creationId xmlns:a16="http://schemas.microsoft.com/office/drawing/2014/main" id="{5D317BC2-3CD5-4931-93AD-CC95F2C50D24}"/>
              </a:ext>
            </a:extLst>
          </p:cNvPr>
          <p:cNvSpPr>
            <a:spLocks noGrp="1"/>
          </p:cNvSpPr>
          <p:nvPr>
            <p:ph type="body" sz="quarter" idx="111" hasCustomPrompt="1"/>
          </p:nvPr>
        </p:nvSpPr>
        <p:spPr>
          <a:xfrm>
            <a:off x="305992" y="4654888"/>
            <a:ext cx="7297340" cy="493375"/>
          </a:xfrm>
        </p:spPr>
        <p:txBody>
          <a:bodyPr anchor="b" anchorCtr="0">
            <a:noAutofit/>
          </a:bodyPr>
          <a:lstStyle>
            <a:lvl1pPr>
              <a:lnSpc>
                <a:spcPct val="100000"/>
              </a:lnSpc>
              <a:spcAft>
                <a:spcPts val="225"/>
              </a:spcAft>
              <a:buNone/>
              <a:defRPr sz="600"/>
            </a:lvl1pPr>
          </a:lstStyle>
          <a:p>
            <a:pPr lvl="0"/>
            <a:r>
              <a:rPr lang="en-US"/>
              <a:t>Footnotes</a:t>
            </a:r>
          </a:p>
        </p:txBody>
      </p:sp>
    </p:spTree>
    <p:custDataLst>
      <p:tags r:id="rId1"/>
    </p:custDataLst>
    <p:extLst>
      <p:ext uri="{BB962C8B-B14F-4D97-AF65-F5344CB8AC3E}">
        <p14:creationId xmlns:p14="http://schemas.microsoft.com/office/powerpoint/2010/main" val="335067729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lnSpc>
                <a:spcPct val="100000"/>
              </a:lnSpc>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305991" y="1176950"/>
            <a:ext cx="8532018" cy="3459200"/>
          </a:xfrm>
        </p:spPr>
        <p:txBody>
          <a:bodyPr>
            <a:noAutofit/>
          </a:bodyPr>
          <a:lstStyle>
            <a:lvl1pPr>
              <a:lnSpc>
                <a:spcPct val="100000"/>
              </a:lnSpc>
              <a:spcBef>
                <a:spcPts val="450"/>
              </a:spcBef>
              <a:spcAft>
                <a:spcPts val="450"/>
              </a:spcAft>
              <a:defRPr/>
            </a:lvl1pPr>
            <a:lvl2pPr marL="345600" indent="-171450">
              <a:lnSpc>
                <a:spcPct val="100000"/>
              </a:lnSpc>
              <a:defRPr/>
            </a:lvl2pPr>
            <a:lvl3pPr>
              <a:lnSpc>
                <a:spcPct val="100000"/>
              </a:lnSpc>
              <a:defRPr/>
            </a:lvl3pPr>
            <a:lvl4pPr>
              <a:lnSpc>
                <a:spcPct val="100000"/>
              </a:lnSpc>
              <a:defRPr/>
            </a:lvl4pPr>
            <a:lvl5pPr>
              <a:lnSpc>
                <a:spcPct val="100000"/>
              </a:lnSpc>
              <a:defRPr/>
            </a:lvl5pPr>
          </a:lstStyle>
          <a:p>
            <a:pPr lvl="0"/>
            <a:r>
              <a:rPr lang="en-US"/>
              <a:t>Click to add text here. </a:t>
            </a:r>
            <a:br>
              <a:rPr lang="en-US"/>
            </a:br>
            <a:r>
              <a:rPr lang="en-US"/>
              <a:t>When pasting copy from other slides, be sure to right-click and choose ‘Keep text only’.</a:t>
            </a:r>
            <a:br>
              <a:rPr lang="en-US"/>
            </a:br>
            <a:r>
              <a:rPr lang="en-US"/>
              <a:t>To increase bullet level, select your text and press Tab.</a:t>
            </a:r>
            <a:br>
              <a:rPr lang="en-US"/>
            </a:br>
            <a:r>
              <a:rPr lang="en-US"/>
              <a:t>To decrease bullet level, select your bullet text and press Shift + Tab.</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lvl1pPr>
              <a:lnSpc>
                <a:spcPct val="100000"/>
              </a:lnSpc>
              <a:defRPr/>
            </a:lvl1p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lvl1pPr>
              <a:lnSpc>
                <a:spcPct val="100000"/>
              </a:lnSpc>
              <a:defRPr/>
            </a:lvl1p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305992" y="4654888"/>
            <a:ext cx="7297340" cy="493375"/>
          </a:xfrm>
        </p:spPr>
        <p:txBody>
          <a:bodyPr anchor="b" anchorCtr="0">
            <a:noAutofit/>
          </a:bodyPr>
          <a:lstStyle>
            <a:lvl1pPr>
              <a:lnSpc>
                <a:spcPct val="100000"/>
              </a:lnSpc>
              <a:spcAft>
                <a:spcPts val="225"/>
              </a:spcAft>
              <a:buNone/>
              <a:defRPr sz="600"/>
            </a:lvl1pPr>
          </a:lstStyle>
          <a:p>
            <a:pPr lvl="0"/>
            <a:r>
              <a:rPr lang="en-US"/>
              <a:t>Footnotes</a:t>
            </a:r>
          </a:p>
        </p:txBody>
      </p:sp>
    </p:spTree>
    <p:custDataLst>
      <p:tags r:id="rId1"/>
    </p:custDataLst>
    <p:extLst>
      <p:ext uri="{BB962C8B-B14F-4D97-AF65-F5344CB8AC3E}">
        <p14:creationId xmlns:p14="http://schemas.microsoft.com/office/powerpoint/2010/main" val="1236677482"/>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lnSpc>
                <a:spcPct val="100000"/>
              </a:lnSpc>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305991" y="1176949"/>
            <a:ext cx="8532018" cy="3479646"/>
          </a:xfrm>
        </p:spPr>
        <p:txBody>
          <a:bodyPr>
            <a:noAutofit/>
          </a:bodyPr>
          <a:lstStyle>
            <a:lvl1pPr>
              <a:lnSpc>
                <a:spcPct val="100000"/>
              </a:lnSpc>
              <a:spcBef>
                <a:spcPts val="450"/>
              </a:spcBef>
              <a:spcAft>
                <a:spcPts val="450"/>
              </a:spcAft>
              <a:defRPr/>
            </a:lvl1pPr>
            <a:lvl2pPr marL="345600" indent="-171450">
              <a:lnSpc>
                <a:spcPct val="100000"/>
              </a:lnSpc>
              <a:defRPr/>
            </a:lvl2pPr>
            <a:lvl3pPr>
              <a:lnSpc>
                <a:spcPct val="100000"/>
              </a:lnSpc>
              <a:defRPr/>
            </a:lvl3pPr>
            <a:lvl4pPr>
              <a:lnSpc>
                <a:spcPct val="100000"/>
              </a:lnSpc>
              <a:defRPr/>
            </a:lvl4pPr>
            <a:lvl5pPr>
              <a:lnSpc>
                <a:spcPct val="100000"/>
              </a:lnSpc>
              <a:defRPr/>
            </a:lvl5pPr>
          </a:lstStyle>
          <a:p>
            <a:pPr lvl="0"/>
            <a:r>
              <a:rPr lang="en-US"/>
              <a:t>Click to add text here. </a:t>
            </a:r>
            <a:br>
              <a:rPr lang="en-US"/>
            </a:br>
            <a:r>
              <a:rPr lang="en-US"/>
              <a:t>When pasting copy from other slides, be sure to right-click and choose ‘Keep text only’.</a:t>
            </a:r>
            <a:br>
              <a:rPr lang="en-US"/>
            </a:br>
            <a:r>
              <a:rPr lang="en-US"/>
              <a:t>To increase bullet level, select your text and press Tab.</a:t>
            </a:r>
            <a:br>
              <a:rPr lang="en-US"/>
            </a:br>
            <a:r>
              <a:rPr lang="en-US"/>
              <a:t>To decrease bullet level, select your bullet text and press Shift + Tab.</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7E938F29-84D5-4449-9358-343332B4BEF7}"/>
              </a:ext>
              <a:ext uri="{C183D7F6-B498-43B3-948B-1728B52AA6E4}">
                <adec:decorative xmlns:adec="http://schemas.microsoft.com/office/drawing/2017/decorative" val="1"/>
              </a:ext>
            </a:extLst>
          </p:cNvPr>
          <p:cNvSpPr>
            <a:spLocks noGrp="1"/>
          </p:cNvSpPr>
          <p:nvPr>
            <p:ph type="sldNum" sz="quarter" idx="22"/>
          </p:nvPr>
        </p:nvSpPr>
        <p:spPr/>
        <p:txBody>
          <a:bodyPr/>
          <a:lstStyle>
            <a:lvl1pPr>
              <a:lnSpc>
                <a:spcPct val="100000"/>
              </a:lnSpc>
              <a:defRPr/>
            </a:lvl1pPr>
          </a:lstStyle>
          <a:p>
            <a:fld id="{F8E47D07-9D1E-4FE9-B31A-2F5863681021}" type="slidenum">
              <a:rPr lang="en-GB" smtClean="0"/>
              <a:pPr/>
              <a:t>‹#›</a:t>
            </a:fld>
            <a:endParaRPr lang="en-GB"/>
          </a:p>
        </p:txBody>
      </p:sp>
    </p:spTree>
    <p:custDataLst>
      <p:tags r:id="rId1"/>
    </p:custDataLst>
    <p:extLst>
      <p:ext uri="{BB962C8B-B14F-4D97-AF65-F5344CB8AC3E}">
        <p14:creationId xmlns:p14="http://schemas.microsoft.com/office/powerpoint/2010/main" val="2479552603"/>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E358DA9E-BDF5-4DC7-B478-434301DA6253}"/>
              </a:ext>
              <a:ext uri="{C183D7F6-B498-43B3-948B-1728B52AA6E4}">
                <adec:decorative xmlns:adec="http://schemas.microsoft.com/office/drawing/2017/decorative" val="1"/>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5" name="Text Placeholder 96">
            <a:extLst>
              <a:ext uri="{FF2B5EF4-FFF2-40B4-BE49-F238E27FC236}">
                <a16:creationId xmlns:a16="http://schemas.microsoft.com/office/drawing/2014/main" id="{5D317BC2-3CD5-4931-93AD-CC95F2C50D24}"/>
              </a:ext>
            </a:extLst>
          </p:cNvPr>
          <p:cNvSpPr>
            <a:spLocks noGrp="1"/>
          </p:cNvSpPr>
          <p:nvPr>
            <p:ph type="body" sz="quarter" idx="111" hasCustomPrompt="1"/>
          </p:nvPr>
        </p:nvSpPr>
        <p:spPr>
          <a:xfrm>
            <a:off x="373111" y="4691955"/>
            <a:ext cx="7163100" cy="421176"/>
          </a:xfrm>
        </p:spPr>
        <p:txBody>
          <a:bodyPr lIns="0" tIns="0" rIns="0" bIns="0" anchor="b" anchorCtr="0">
            <a:normAutofit/>
          </a:bodyPr>
          <a:lstStyle>
            <a:lvl1pPr marL="0" indent="0">
              <a:lnSpc>
                <a:spcPct val="100000"/>
              </a:lnSpc>
              <a:spcAft>
                <a:spcPts val="225"/>
              </a:spcAft>
              <a:buNone/>
              <a:defRPr sz="600"/>
            </a:lvl1pPr>
          </a:lstStyle>
          <a:p>
            <a:pPr lvl="0"/>
            <a:r>
              <a:rPr lang="en-US"/>
              <a:t>Footnotes</a:t>
            </a:r>
          </a:p>
        </p:txBody>
      </p:sp>
      <p:sp>
        <p:nvSpPr>
          <p:cNvPr id="9" name="Date Placeholder 8">
            <a:extLst>
              <a:ext uri="{FF2B5EF4-FFF2-40B4-BE49-F238E27FC236}">
                <a16:creationId xmlns:a16="http://schemas.microsoft.com/office/drawing/2014/main" id="{9B03F247-4297-4973-90A3-0193475AC741}"/>
              </a:ext>
              <a:ext uri="{C183D7F6-B498-43B3-948B-1728B52AA6E4}">
                <adec:decorative xmlns:adec="http://schemas.microsoft.com/office/drawing/2017/decorative" val="1"/>
              </a:ext>
            </a:extLst>
          </p:cNvPr>
          <p:cNvSpPr>
            <a:spLocks noGrp="1"/>
          </p:cNvSpPr>
          <p:nvPr>
            <p:ph type="dt" sz="half" idx="10"/>
          </p:nvPr>
        </p:nvSpPr>
        <p:spPr/>
        <p:txBody>
          <a:bodyPr/>
          <a:lstStyle>
            <a:lvl1pPr>
              <a:lnSpc>
                <a:spcPct val="100000"/>
              </a:lnSpc>
              <a:defRPr/>
            </a:lvl1pPr>
          </a:lstStyle>
          <a:p>
            <a:endParaRPr lang="en-GB"/>
          </a:p>
        </p:txBody>
      </p:sp>
    </p:spTree>
    <p:custDataLst>
      <p:tags r:id="rId1"/>
    </p:custDataLst>
    <p:extLst>
      <p:ext uri="{BB962C8B-B14F-4D97-AF65-F5344CB8AC3E}">
        <p14:creationId xmlns:p14="http://schemas.microsoft.com/office/powerpoint/2010/main" val="132691107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270001" y="323338"/>
            <a:ext cx="8600156" cy="529940"/>
          </a:xfrm>
          <a:prstGeom prst="rect">
            <a:avLst/>
          </a:prstGeom>
        </p:spPr>
        <p:txBody>
          <a:bodyPr vert="horz" lIns="0" tIns="0" rIns="0" bIns="0" rtlCol="0" anchor="t">
            <a:noAutofit/>
          </a:bodyPr>
          <a:lstStyle/>
          <a:p>
            <a:r>
              <a:rPr lang="en-US"/>
              <a:t>Click to edit Master title style</a:t>
            </a:r>
            <a:endParaRPr lang="en-GB"/>
          </a:p>
        </p:txBody>
      </p:sp>
      <p:sp>
        <p:nvSpPr>
          <p:cNvPr id="11" name="Slide Number Placeholder 5"/>
          <p:cNvSpPr>
            <a:spLocks noGrp="1"/>
          </p:cNvSpPr>
          <p:nvPr>
            <p:ph type="sldNum" sz="quarter" idx="4"/>
          </p:nvPr>
        </p:nvSpPr>
        <p:spPr>
          <a:xfrm>
            <a:off x="8483346" y="4868792"/>
            <a:ext cx="342900" cy="147775"/>
          </a:xfrm>
          <a:prstGeom prst="rect">
            <a:avLst/>
          </a:prstGeom>
        </p:spPr>
        <p:txBody>
          <a:bodyPr vert="horz" lIns="0" tIns="0" rIns="0" bIns="0" rtlCol="0" anchor="ctr"/>
          <a:lstStyle>
            <a:lvl1pPr algn="r">
              <a:defRPr sz="600">
                <a:solidFill>
                  <a:srgbClr val="333333"/>
                </a:solidFill>
              </a:defRPr>
            </a:lvl1pPr>
          </a:lstStyle>
          <a:p>
            <a:fld id="{4034BEE3-566C-4068-A777-C3A4762E861B}" type="slidenum">
              <a:rPr lang="en-GB" smtClean="0"/>
              <a:pPr/>
              <a:t>‹#›</a:t>
            </a:fld>
            <a:endParaRPr lang="en-GB"/>
          </a:p>
        </p:txBody>
      </p:sp>
      <p:sp>
        <p:nvSpPr>
          <p:cNvPr id="7" name="Text Placeholder 2">
            <a:extLst>
              <a:ext uri="{FF2B5EF4-FFF2-40B4-BE49-F238E27FC236}">
                <a16:creationId xmlns:a16="http://schemas.microsoft.com/office/drawing/2014/main" id="{2186DD72-534C-4D33-B9B3-1CC75F3627FB}"/>
              </a:ext>
            </a:extLst>
          </p:cNvPr>
          <p:cNvSpPr>
            <a:spLocks noGrp="1"/>
          </p:cNvSpPr>
          <p:nvPr>
            <p:ph type="body" sz="quarter" idx="4294967295"/>
          </p:nvPr>
        </p:nvSpPr>
        <p:spPr>
          <a:xfrm>
            <a:off x="1771650" y="4799572"/>
            <a:ext cx="4457700" cy="216994"/>
          </a:xfrm>
        </p:spPr>
        <p:txBody>
          <a:bodyPr anchor="ctr"/>
          <a:lstStyle/>
          <a:p>
            <a:endParaRPr lang="en-US" sz="675"/>
          </a:p>
        </p:txBody>
      </p:sp>
    </p:spTree>
    <p:extLst>
      <p:ext uri="{BB962C8B-B14F-4D97-AF65-F5344CB8AC3E}">
        <p14:creationId xmlns:p14="http://schemas.microsoft.com/office/powerpoint/2010/main" val="478762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Title w/ no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D157F41-882D-45BF-82E3-97442CA1E5D1}"/>
              </a:ext>
            </a:extLst>
          </p:cNvPr>
          <p:cNvSpPr/>
          <p:nvPr userDrawn="1"/>
        </p:nvSpPr>
        <p:spPr>
          <a:xfrm rot="5400000">
            <a:off x="4522272" y="-4522267"/>
            <a:ext cx="99460" cy="9143999"/>
          </a:xfrm>
          <a:prstGeom prst="rect">
            <a:avLst/>
          </a:prstGeom>
          <a:gradFill>
            <a:gsLst>
              <a:gs pos="100000">
                <a:srgbClr val="D50056"/>
              </a:gs>
              <a:gs pos="0">
                <a:srgbClr val="40B4E5"/>
              </a:gs>
              <a:gs pos="49000">
                <a:srgbClr val="107FCD"/>
              </a:gs>
            </a:gsLst>
            <a:lin ang="14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9" name="Title 1">
            <a:extLst>
              <a:ext uri="{FF2B5EF4-FFF2-40B4-BE49-F238E27FC236}">
                <a16:creationId xmlns:a16="http://schemas.microsoft.com/office/drawing/2014/main" id="{2A5C28C1-4BFD-4E9B-B1CE-FB5132162B1C}"/>
              </a:ext>
            </a:extLst>
          </p:cNvPr>
          <p:cNvSpPr>
            <a:spLocks noGrp="1"/>
          </p:cNvSpPr>
          <p:nvPr>
            <p:ph type="title"/>
          </p:nvPr>
        </p:nvSpPr>
        <p:spPr>
          <a:xfrm>
            <a:off x="420030" y="435390"/>
            <a:ext cx="7873181" cy="378289"/>
          </a:xfrm>
        </p:spPr>
        <p:txBody>
          <a:bodyPr>
            <a:noAutofit/>
          </a:bodyPr>
          <a:lstStyle>
            <a:lvl1pPr>
              <a:defRPr sz="2198" b="1" i="0" spc="0">
                <a:latin typeface="Arial" panose="020B0604020202020204" pitchFamily="34" charset="0"/>
                <a:cs typeface="Arial" panose="020B0604020202020204" pitchFamily="34" charset="0"/>
              </a:defRPr>
            </a:lvl1pPr>
          </a:lstStyle>
          <a:p>
            <a:r>
              <a:rPr lang="en-US"/>
              <a:t>Click to edit Master title style</a:t>
            </a:r>
          </a:p>
        </p:txBody>
      </p:sp>
      <p:sp>
        <p:nvSpPr>
          <p:cNvPr id="16" name="Text Placeholder 15">
            <a:extLst>
              <a:ext uri="{FF2B5EF4-FFF2-40B4-BE49-F238E27FC236}">
                <a16:creationId xmlns:a16="http://schemas.microsoft.com/office/drawing/2014/main" id="{810C869B-9494-48ED-A9FC-974F42FC95DE}"/>
              </a:ext>
            </a:extLst>
          </p:cNvPr>
          <p:cNvSpPr>
            <a:spLocks noGrp="1"/>
          </p:cNvSpPr>
          <p:nvPr>
            <p:ph type="body" sz="quarter" idx="31" hasCustomPrompt="1"/>
          </p:nvPr>
        </p:nvSpPr>
        <p:spPr>
          <a:xfrm>
            <a:off x="419101" y="822192"/>
            <a:ext cx="7874000" cy="273051"/>
          </a:xfrm>
        </p:spPr>
        <p:txBody>
          <a:bodyPr>
            <a:normAutofit/>
          </a:bodyPr>
          <a:lstStyle>
            <a:lvl1pPr marL="0" indent="0">
              <a:buNone/>
              <a:defRPr sz="1099" b="0" i="0" spc="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7" name="Slide Number Placeholder 2">
            <a:extLst>
              <a:ext uri="{FF2B5EF4-FFF2-40B4-BE49-F238E27FC236}">
                <a16:creationId xmlns:a16="http://schemas.microsoft.com/office/drawing/2014/main" id="{0675D3CC-2BCF-D244-941A-AFAAF0D29AC9}"/>
              </a:ext>
            </a:extLst>
          </p:cNvPr>
          <p:cNvSpPr>
            <a:spLocks noGrp="1"/>
          </p:cNvSpPr>
          <p:nvPr>
            <p:ph type="sldNum" sz="quarter" idx="24"/>
          </p:nvPr>
        </p:nvSpPr>
        <p:spPr>
          <a:xfrm>
            <a:off x="222734" y="4770195"/>
            <a:ext cx="394593" cy="273844"/>
          </a:xfrm>
          <a:prstGeom prst="rect">
            <a:avLst/>
          </a:prstGeom>
        </p:spPr>
        <p:txBody>
          <a:bodyPr/>
          <a:lstStyle>
            <a:lvl1pPr>
              <a:defRPr sz="999">
                <a:solidFill>
                  <a:schemeClr val="tx1"/>
                </a:solidFill>
              </a:defRPr>
            </a:lvl1pPr>
          </a:lstStyle>
          <a:p>
            <a:fld id="{010B77E7-8D76-A248-9E9F-68FC055C9F4B}" type="slidenum">
              <a:rPr lang="en-US" smtClean="0"/>
              <a:pPr/>
              <a:t>‹#›</a:t>
            </a:fld>
            <a:endParaRPr lang="en-US"/>
          </a:p>
        </p:txBody>
      </p:sp>
      <p:pic>
        <p:nvPicPr>
          <p:cNvPr id="10" name="Picture 9">
            <a:extLst>
              <a:ext uri="{FF2B5EF4-FFF2-40B4-BE49-F238E27FC236}">
                <a16:creationId xmlns:a16="http://schemas.microsoft.com/office/drawing/2014/main" id="{5A057C03-721A-8B40-A7F0-D22A38C4F83F}"/>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8062707" y="4855259"/>
            <a:ext cx="858329" cy="103268"/>
          </a:xfrm>
          <a:prstGeom prst="rect">
            <a:avLst/>
          </a:prstGeom>
        </p:spPr>
      </p:pic>
    </p:spTree>
    <p:extLst>
      <p:ext uri="{BB962C8B-B14F-4D97-AF65-F5344CB8AC3E}">
        <p14:creationId xmlns:p14="http://schemas.microsoft.com/office/powerpoint/2010/main" val="59134596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dder/RCC">
    <p:spTree>
      <p:nvGrpSpPr>
        <p:cNvPr id="1" name=""/>
        <p:cNvGrpSpPr/>
        <p:nvPr/>
      </p:nvGrpSpPr>
      <p:grpSpPr>
        <a:xfrm>
          <a:off x="0" y="0"/>
          <a:ext cx="0" cy="0"/>
          <a:chOff x="0" y="0"/>
          <a:chExt cx="0" cy="0"/>
        </a:xfrm>
      </p:grpSpPr>
      <p:pic>
        <p:nvPicPr>
          <p:cNvPr id="7" name="Picture 6" descr="Graphical user interface, website&#10;&#10;Description automatically generated">
            <a:extLst>
              <a:ext uri="{FF2B5EF4-FFF2-40B4-BE49-F238E27FC236}">
                <a16:creationId xmlns:a16="http://schemas.microsoft.com/office/drawing/2014/main" id="{26B5E6D9-A130-A85C-4BEC-0AEA72687438}"/>
              </a:ext>
            </a:extLst>
          </p:cNvPr>
          <p:cNvPicPr>
            <a:picLocks noChangeAspect="1"/>
          </p:cNvPicPr>
          <p:nvPr userDrawn="1"/>
        </p:nvPicPr>
        <p:blipFill>
          <a:blip r:embed="rId2"/>
          <a:stretch>
            <a:fillRect/>
          </a:stretch>
        </p:blipFill>
        <p:spPr>
          <a:xfrm>
            <a:off x="7037" y="-1"/>
            <a:ext cx="9129925" cy="5148263"/>
          </a:xfrm>
          <a:prstGeom prst="rect">
            <a:avLst/>
          </a:prstGeom>
        </p:spPr>
      </p:pic>
    </p:spTree>
    <p:extLst>
      <p:ext uri="{BB962C8B-B14F-4D97-AF65-F5344CB8AC3E}">
        <p14:creationId xmlns:p14="http://schemas.microsoft.com/office/powerpoint/2010/main" val="167682435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Lung">
    <p:spTree>
      <p:nvGrpSpPr>
        <p:cNvPr id="1" name=""/>
        <p:cNvGrpSpPr/>
        <p:nvPr/>
      </p:nvGrpSpPr>
      <p:grpSpPr>
        <a:xfrm>
          <a:off x="0" y="0"/>
          <a:ext cx="0" cy="0"/>
          <a:chOff x="0" y="0"/>
          <a:chExt cx="0" cy="0"/>
        </a:xfrm>
      </p:grpSpPr>
      <p:pic>
        <p:nvPicPr>
          <p:cNvPr id="3" name="Picture 2" descr="Graphical user interface&#10;&#10;Description automatically generated">
            <a:extLst>
              <a:ext uri="{FF2B5EF4-FFF2-40B4-BE49-F238E27FC236}">
                <a16:creationId xmlns:a16="http://schemas.microsoft.com/office/drawing/2014/main" id="{31D1E0C4-497D-B719-A531-EF18537B06A7}"/>
              </a:ext>
            </a:extLst>
          </p:cNvPr>
          <p:cNvPicPr>
            <a:picLocks noChangeAspect="1"/>
          </p:cNvPicPr>
          <p:nvPr userDrawn="1"/>
        </p:nvPicPr>
        <p:blipFill>
          <a:blip r:embed="rId2"/>
          <a:stretch>
            <a:fillRect/>
          </a:stretch>
        </p:blipFill>
        <p:spPr>
          <a:xfrm>
            <a:off x="7037" y="0"/>
            <a:ext cx="9129925" cy="5148263"/>
          </a:xfrm>
          <a:prstGeom prst="rect">
            <a:avLst/>
          </a:prstGeom>
        </p:spPr>
      </p:pic>
    </p:spTree>
    <p:extLst>
      <p:ext uri="{BB962C8B-B14F-4D97-AF65-F5344CB8AC3E}">
        <p14:creationId xmlns:p14="http://schemas.microsoft.com/office/powerpoint/2010/main" val="628154608"/>
      </p:ext>
    </p:extLst>
  </p:cSld>
  <p:clrMapOvr>
    <a:masterClrMapping/>
  </p:clrMapOvr>
  <p:extLst>
    <p:ext uri="{DCECCB84-F9BA-43D5-87BE-67443E8EF086}">
      <p15:sldGuideLst xmlns:p15="http://schemas.microsoft.com/office/powerpoint/2012/main">
        <p15:guide id="1" orient="horz" pos="1621">
          <p15:clr>
            <a:srgbClr val="FBAE40"/>
          </p15:clr>
        </p15:guide>
        <p15:guide id="2" pos="288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People">
    <p:spTree>
      <p:nvGrpSpPr>
        <p:cNvPr id="1" name=""/>
        <p:cNvGrpSpPr/>
        <p:nvPr/>
      </p:nvGrpSpPr>
      <p:grpSpPr>
        <a:xfrm>
          <a:off x="0" y="0"/>
          <a:ext cx="0" cy="0"/>
          <a:chOff x="0" y="0"/>
          <a:chExt cx="0" cy="0"/>
        </a:xfrm>
      </p:grpSpPr>
      <p:pic>
        <p:nvPicPr>
          <p:cNvPr id="3" name="Picture 2" descr="Graphical user interface&#10;&#10;Description automatically generated">
            <a:extLst>
              <a:ext uri="{FF2B5EF4-FFF2-40B4-BE49-F238E27FC236}">
                <a16:creationId xmlns:a16="http://schemas.microsoft.com/office/drawing/2014/main" id="{44DB8FDD-4B4D-2D77-1C61-26744F17FEFC}"/>
              </a:ext>
            </a:extLst>
          </p:cNvPr>
          <p:cNvPicPr>
            <a:picLocks noChangeAspect="1"/>
          </p:cNvPicPr>
          <p:nvPr userDrawn="1"/>
        </p:nvPicPr>
        <p:blipFill>
          <a:blip r:embed="rId2"/>
          <a:stretch>
            <a:fillRect/>
          </a:stretch>
        </p:blipFill>
        <p:spPr>
          <a:xfrm>
            <a:off x="0" y="-1"/>
            <a:ext cx="9129925" cy="5148263"/>
          </a:xfrm>
          <a:prstGeom prst="rect">
            <a:avLst/>
          </a:prstGeom>
        </p:spPr>
      </p:pic>
    </p:spTree>
    <p:extLst>
      <p:ext uri="{BB962C8B-B14F-4D97-AF65-F5344CB8AC3E}">
        <p14:creationId xmlns:p14="http://schemas.microsoft.com/office/powerpoint/2010/main" val="34076409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4D1AEF-5C89-4778-B3E1-B531FEE3A40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5F1B8C1-968F-4288-9364-27870C850CB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7298B2E-2C47-4A67-AB81-4073EE032A48}"/>
              </a:ext>
            </a:extLst>
          </p:cNvPr>
          <p:cNvSpPr>
            <a:spLocks noGrp="1"/>
          </p:cNvSpPr>
          <p:nvPr>
            <p:ph type="dt" sz="half" idx="10"/>
          </p:nvPr>
        </p:nvSpPr>
        <p:spPr/>
        <p:txBody>
          <a:bodyPr/>
          <a:lstStyle/>
          <a:p>
            <a:fld id="{AF14DFFF-BE29-4D39-830D-DDE47C3C97AE}" type="datetimeFigureOut">
              <a:rPr lang="en-US" smtClean="0"/>
              <a:t>5/10/2024</a:t>
            </a:fld>
            <a:endParaRPr lang="en-US"/>
          </a:p>
        </p:txBody>
      </p:sp>
      <p:sp>
        <p:nvSpPr>
          <p:cNvPr id="5" name="Footer Placeholder 4">
            <a:extLst>
              <a:ext uri="{FF2B5EF4-FFF2-40B4-BE49-F238E27FC236}">
                <a16:creationId xmlns:a16="http://schemas.microsoft.com/office/drawing/2014/main" id="{A7702791-2E52-4276-B268-DEF6B02BEF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74196C-69EE-4251-9B06-4D386812241D}"/>
              </a:ext>
            </a:extLst>
          </p:cNvPr>
          <p:cNvSpPr>
            <a:spLocks noGrp="1"/>
          </p:cNvSpPr>
          <p:nvPr>
            <p:ph type="sldNum" sz="quarter" idx="12"/>
          </p:nvPr>
        </p:nvSpPr>
        <p:spPr/>
        <p:txBody>
          <a:bodyPr/>
          <a:lstStyle/>
          <a:p>
            <a:fld id="{2D994E03-0F88-49B3-B680-88EAF0B5195C}" type="slidenum">
              <a:rPr lang="en-US" smtClean="0"/>
              <a:t>‹#›</a:t>
            </a:fld>
            <a:endParaRPr lang="en-US"/>
          </a:p>
        </p:txBody>
      </p:sp>
    </p:spTree>
    <p:extLst>
      <p:ext uri="{BB962C8B-B14F-4D97-AF65-F5344CB8AC3E}">
        <p14:creationId xmlns:p14="http://schemas.microsoft.com/office/powerpoint/2010/main" val="62517231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LL">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5B1B96D6-1054-EAFB-18A2-98214F3B8225}"/>
              </a:ext>
            </a:extLst>
          </p:cNvPr>
          <p:cNvPicPr>
            <a:picLocks noChangeAspect="1"/>
          </p:cNvPicPr>
          <p:nvPr userDrawn="1"/>
        </p:nvPicPr>
        <p:blipFill>
          <a:blip r:embed="rId2"/>
          <a:stretch>
            <a:fillRect/>
          </a:stretch>
        </p:blipFill>
        <p:spPr>
          <a:xfrm>
            <a:off x="-1" y="-12701"/>
            <a:ext cx="9129925" cy="5148263"/>
          </a:xfrm>
          <a:prstGeom prst="rect">
            <a:avLst/>
          </a:prstGeom>
        </p:spPr>
      </p:pic>
    </p:spTree>
    <p:extLst>
      <p:ext uri="{BB962C8B-B14F-4D97-AF65-F5344CB8AC3E}">
        <p14:creationId xmlns:p14="http://schemas.microsoft.com/office/powerpoint/2010/main" val="51010688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General1">
    <p:spTree>
      <p:nvGrpSpPr>
        <p:cNvPr id="1" name=""/>
        <p:cNvGrpSpPr/>
        <p:nvPr/>
      </p:nvGrpSpPr>
      <p:grpSpPr>
        <a:xfrm>
          <a:off x="0" y="0"/>
          <a:ext cx="0" cy="0"/>
          <a:chOff x="0" y="0"/>
          <a:chExt cx="0" cy="0"/>
        </a:xfrm>
      </p:grpSpPr>
      <p:pic>
        <p:nvPicPr>
          <p:cNvPr id="3" name="Picture 2" descr="A picture containing graphical user interface&#10;&#10;Description automatically generated">
            <a:extLst>
              <a:ext uri="{FF2B5EF4-FFF2-40B4-BE49-F238E27FC236}">
                <a16:creationId xmlns:a16="http://schemas.microsoft.com/office/drawing/2014/main" id="{6E77DDD1-27EC-62E0-3AE9-D48E2F8586E0}"/>
              </a:ext>
            </a:extLst>
          </p:cNvPr>
          <p:cNvPicPr>
            <a:picLocks noChangeAspect="1"/>
          </p:cNvPicPr>
          <p:nvPr userDrawn="1"/>
        </p:nvPicPr>
        <p:blipFill>
          <a:blip r:embed="rId2"/>
          <a:stretch>
            <a:fillRect/>
          </a:stretch>
        </p:blipFill>
        <p:spPr>
          <a:xfrm>
            <a:off x="-1" y="0"/>
            <a:ext cx="9144001" cy="5148263"/>
          </a:xfrm>
          <a:prstGeom prst="rect">
            <a:avLst/>
          </a:prstGeom>
        </p:spPr>
      </p:pic>
    </p:spTree>
    <p:extLst>
      <p:ext uri="{BB962C8B-B14F-4D97-AF65-F5344CB8AC3E}">
        <p14:creationId xmlns:p14="http://schemas.microsoft.com/office/powerpoint/2010/main" val="35579400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General 2">
    <p:spTree>
      <p:nvGrpSpPr>
        <p:cNvPr id="1" name=""/>
        <p:cNvGrpSpPr/>
        <p:nvPr/>
      </p:nvGrpSpPr>
      <p:grpSpPr>
        <a:xfrm>
          <a:off x="0" y="0"/>
          <a:ext cx="0" cy="0"/>
          <a:chOff x="0" y="0"/>
          <a:chExt cx="0" cy="0"/>
        </a:xfrm>
      </p:grpSpPr>
      <p:pic>
        <p:nvPicPr>
          <p:cNvPr id="3" name="Picture 2" descr="Graphical user interface&#10;&#10;Description automatically generated with medium confidence">
            <a:extLst>
              <a:ext uri="{FF2B5EF4-FFF2-40B4-BE49-F238E27FC236}">
                <a16:creationId xmlns:a16="http://schemas.microsoft.com/office/drawing/2014/main" id="{C8ED179C-DAF3-58C7-AF60-40726C5214A6}"/>
              </a:ext>
            </a:extLst>
          </p:cNvPr>
          <p:cNvPicPr>
            <a:picLocks noChangeAspect="1"/>
          </p:cNvPicPr>
          <p:nvPr userDrawn="1"/>
        </p:nvPicPr>
        <p:blipFill>
          <a:blip r:embed="rId2"/>
          <a:stretch>
            <a:fillRect/>
          </a:stretch>
        </p:blipFill>
        <p:spPr>
          <a:xfrm>
            <a:off x="0" y="-1"/>
            <a:ext cx="9129925" cy="5148263"/>
          </a:xfrm>
          <a:prstGeom prst="rect">
            <a:avLst/>
          </a:prstGeom>
        </p:spPr>
      </p:pic>
    </p:spTree>
    <p:extLst>
      <p:ext uri="{BB962C8B-B14F-4D97-AF65-F5344CB8AC3E}">
        <p14:creationId xmlns:p14="http://schemas.microsoft.com/office/powerpoint/2010/main" val="263972580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OV">
    <p:spTree>
      <p:nvGrpSpPr>
        <p:cNvPr id="1" name=""/>
        <p:cNvGrpSpPr/>
        <p:nvPr/>
      </p:nvGrpSpPr>
      <p:grpSpPr>
        <a:xfrm>
          <a:off x="0" y="0"/>
          <a:ext cx="0" cy="0"/>
          <a:chOff x="0" y="0"/>
          <a:chExt cx="0" cy="0"/>
        </a:xfrm>
      </p:grpSpPr>
      <p:pic>
        <p:nvPicPr>
          <p:cNvPr id="3" name="Picture 2" descr="Graphical user interface&#10;&#10;Description automatically generated with medium confidence">
            <a:extLst>
              <a:ext uri="{FF2B5EF4-FFF2-40B4-BE49-F238E27FC236}">
                <a16:creationId xmlns:a16="http://schemas.microsoft.com/office/drawing/2014/main" id="{9F4D702C-5DAD-37D9-1048-A82F5E818EC7}"/>
              </a:ext>
            </a:extLst>
          </p:cNvPr>
          <p:cNvPicPr>
            <a:picLocks noChangeAspect="1"/>
          </p:cNvPicPr>
          <p:nvPr userDrawn="1"/>
        </p:nvPicPr>
        <p:blipFill>
          <a:blip r:embed="rId2"/>
          <a:stretch>
            <a:fillRect/>
          </a:stretch>
        </p:blipFill>
        <p:spPr>
          <a:xfrm>
            <a:off x="0" y="-1"/>
            <a:ext cx="9129925" cy="5148263"/>
          </a:xfrm>
          <a:prstGeom prst="rect">
            <a:avLst/>
          </a:prstGeom>
        </p:spPr>
      </p:pic>
    </p:spTree>
    <p:extLst>
      <p:ext uri="{BB962C8B-B14F-4D97-AF65-F5344CB8AC3E}">
        <p14:creationId xmlns:p14="http://schemas.microsoft.com/office/powerpoint/2010/main" val="275681715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reast">
    <p:spTree>
      <p:nvGrpSpPr>
        <p:cNvPr id="1" name=""/>
        <p:cNvGrpSpPr/>
        <p:nvPr/>
      </p:nvGrpSpPr>
      <p:grpSpPr>
        <a:xfrm>
          <a:off x="0" y="0"/>
          <a:ext cx="0" cy="0"/>
          <a:chOff x="0" y="0"/>
          <a:chExt cx="0" cy="0"/>
        </a:xfrm>
      </p:grpSpPr>
      <p:pic>
        <p:nvPicPr>
          <p:cNvPr id="3" name="Picture 2" descr="Graphical user interface&#10;&#10;Description automatically generated">
            <a:extLst>
              <a:ext uri="{FF2B5EF4-FFF2-40B4-BE49-F238E27FC236}">
                <a16:creationId xmlns:a16="http://schemas.microsoft.com/office/drawing/2014/main" id="{4CB0EEE4-9DF7-C036-5017-BB6D67525706}"/>
              </a:ext>
            </a:extLst>
          </p:cNvPr>
          <p:cNvPicPr>
            <a:picLocks noChangeAspect="1"/>
          </p:cNvPicPr>
          <p:nvPr userDrawn="1"/>
        </p:nvPicPr>
        <p:blipFill>
          <a:blip r:embed="rId2"/>
          <a:stretch>
            <a:fillRect/>
          </a:stretch>
        </p:blipFill>
        <p:spPr>
          <a:xfrm>
            <a:off x="14075" y="12699"/>
            <a:ext cx="9129925" cy="5148263"/>
          </a:xfrm>
          <a:prstGeom prst="rect">
            <a:avLst/>
          </a:prstGeom>
        </p:spPr>
      </p:pic>
    </p:spTree>
    <p:extLst>
      <p:ext uri="{BB962C8B-B14F-4D97-AF65-F5344CB8AC3E}">
        <p14:creationId xmlns:p14="http://schemas.microsoft.com/office/powerpoint/2010/main" val="155528543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GI">
    <p:spTree>
      <p:nvGrpSpPr>
        <p:cNvPr id="1" name=""/>
        <p:cNvGrpSpPr/>
        <p:nvPr/>
      </p:nvGrpSpPr>
      <p:grpSpPr>
        <a:xfrm>
          <a:off x="0" y="0"/>
          <a:ext cx="0" cy="0"/>
          <a:chOff x="0" y="0"/>
          <a:chExt cx="0" cy="0"/>
        </a:xfrm>
      </p:grpSpPr>
      <p:pic>
        <p:nvPicPr>
          <p:cNvPr id="3" name="Picture 2" descr="Calendar&#10;&#10;Description automatically generated">
            <a:extLst>
              <a:ext uri="{FF2B5EF4-FFF2-40B4-BE49-F238E27FC236}">
                <a16:creationId xmlns:a16="http://schemas.microsoft.com/office/drawing/2014/main" id="{7C270E77-EA86-094A-28E0-3F97BD736AD3}"/>
              </a:ext>
            </a:extLst>
          </p:cNvPr>
          <p:cNvPicPr>
            <a:picLocks noChangeAspect="1"/>
          </p:cNvPicPr>
          <p:nvPr userDrawn="1"/>
        </p:nvPicPr>
        <p:blipFill>
          <a:blip r:embed="rId2"/>
          <a:stretch>
            <a:fillRect/>
          </a:stretch>
        </p:blipFill>
        <p:spPr>
          <a:xfrm>
            <a:off x="14075" y="-1"/>
            <a:ext cx="9129925" cy="5148263"/>
          </a:xfrm>
          <a:prstGeom prst="rect">
            <a:avLst/>
          </a:prstGeom>
        </p:spPr>
      </p:pic>
    </p:spTree>
    <p:extLst>
      <p:ext uri="{BB962C8B-B14F-4D97-AF65-F5344CB8AC3E}">
        <p14:creationId xmlns:p14="http://schemas.microsoft.com/office/powerpoint/2010/main" val="260226168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MM">
    <p:spTree>
      <p:nvGrpSpPr>
        <p:cNvPr id="1" name=""/>
        <p:cNvGrpSpPr/>
        <p:nvPr/>
      </p:nvGrpSpPr>
      <p:grpSpPr>
        <a:xfrm>
          <a:off x="0" y="0"/>
          <a:ext cx="0" cy="0"/>
          <a:chOff x="0" y="0"/>
          <a:chExt cx="0" cy="0"/>
        </a:xfrm>
      </p:grpSpPr>
      <p:pic>
        <p:nvPicPr>
          <p:cNvPr id="6" name="Picture 5" descr="A close-up of a blue and white card&#10;&#10;Description automatically generated">
            <a:extLst>
              <a:ext uri="{FF2B5EF4-FFF2-40B4-BE49-F238E27FC236}">
                <a16:creationId xmlns:a16="http://schemas.microsoft.com/office/drawing/2014/main" id="{B8F1D679-6C5D-ADD5-C9F6-A2E76137E187}"/>
              </a:ext>
            </a:extLst>
          </p:cNvPr>
          <p:cNvPicPr>
            <a:picLocks noChangeAspect="1"/>
          </p:cNvPicPr>
          <p:nvPr userDrawn="1"/>
        </p:nvPicPr>
        <p:blipFill>
          <a:blip r:embed="rId2"/>
          <a:stretch>
            <a:fillRect/>
          </a:stretch>
        </p:blipFill>
        <p:spPr>
          <a:xfrm>
            <a:off x="0" y="0"/>
            <a:ext cx="9144000" cy="5156199"/>
          </a:xfrm>
          <a:prstGeom prst="rect">
            <a:avLst/>
          </a:prstGeom>
        </p:spPr>
      </p:pic>
      <p:pic>
        <p:nvPicPr>
          <p:cNvPr id="4" name="Picture 3" descr="A close up of a logo&#10;&#10;Description automatically generated">
            <a:extLst>
              <a:ext uri="{FF2B5EF4-FFF2-40B4-BE49-F238E27FC236}">
                <a16:creationId xmlns:a16="http://schemas.microsoft.com/office/drawing/2014/main" id="{11066229-7678-7F10-02A0-7A6732A67C7E}"/>
              </a:ext>
            </a:extLst>
          </p:cNvPr>
          <p:cNvPicPr>
            <a:picLocks noChangeAspect="1"/>
          </p:cNvPicPr>
          <p:nvPr userDrawn="1"/>
        </p:nvPicPr>
        <p:blipFill>
          <a:blip r:embed="rId3"/>
          <a:stretch>
            <a:fillRect/>
          </a:stretch>
        </p:blipFill>
        <p:spPr>
          <a:xfrm>
            <a:off x="5631180" y="4366260"/>
            <a:ext cx="3327609" cy="553988"/>
          </a:xfrm>
          <a:prstGeom prst="rect">
            <a:avLst/>
          </a:prstGeom>
        </p:spPr>
      </p:pic>
    </p:spTree>
    <p:extLst>
      <p:ext uri="{BB962C8B-B14F-4D97-AF65-F5344CB8AC3E}">
        <p14:creationId xmlns:p14="http://schemas.microsoft.com/office/powerpoint/2010/main" val="76426031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1249681"/>
            <a:ext cx="6400800" cy="2651759"/>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a:t>Click to edit Master subtitle style</a:t>
            </a:r>
          </a:p>
        </p:txBody>
      </p:sp>
      <p:sp>
        <p:nvSpPr>
          <p:cNvPr id="6" name="Title 1"/>
          <p:cNvSpPr>
            <a:spLocks noGrp="1"/>
          </p:cNvSpPr>
          <p:nvPr>
            <p:ph type="title"/>
          </p:nvPr>
        </p:nvSpPr>
        <p:spPr>
          <a:xfrm>
            <a:off x="0" y="132080"/>
            <a:ext cx="9144000" cy="1006507"/>
          </a:xfrm>
          <a:prstGeom prst="rect">
            <a:avLst/>
          </a:prstGeom>
          <a:noFill/>
        </p:spPr>
        <p:txBody>
          <a:bodyPr/>
          <a:lstStyle>
            <a:lvl1pPr>
              <a:defRPr>
                <a:solidFill>
                  <a:srgbClr val="002450"/>
                </a:solidFill>
              </a:defRPr>
            </a:lvl1pPr>
          </a:lstStyle>
          <a:p>
            <a:r>
              <a:rPr lang="en-US" dirty="0"/>
              <a:t>Click to edit Master title style</a:t>
            </a:r>
          </a:p>
        </p:txBody>
      </p:sp>
    </p:spTree>
    <p:extLst>
      <p:ext uri="{BB962C8B-B14F-4D97-AF65-F5344CB8AC3E}">
        <p14:creationId xmlns:p14="http://schemas.microsoft.com/office/powerpoint/2010/main" val="121750844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844550"/>
            <a:ext cx="7772400" cy="31472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33411351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1117600"/>
            <a:ext cx="3810000" cy="29362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117600"/>
            <a:ext cx="3810000" cy="29362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
        <p:nvSpPr>
          <p:cNvPr id="6" name="Title 1"/>
          <p:cNvSpPr>
            <a:spLocks noGrp="1"/>
          </p:cNvSpPr>
          <p:nvPr>
            <p:ph type="title"/>
          </p:nvPr>
        </p:nvSpPr>
        <p:spPr>
          <a:xfrm>
            <a:off x="0" y="127465"/>
            <a:ext cx="9144000" cy="695496"/>
          </a:xfrm>
          <a:prstGeom prst="rect">
            <a:avLst/>
          </a:prstGeom>
          <a:noFill/>
        </p:spPr>
        <p:txBody>
          <a:bodyPr/>
          <a:lstStyle>
            <a:lvl1pPr>
              <a:defRPr>
                <a:solidFill>
                  <a:srgbClr val="003465"/>
                </a:solidFill>
              </a:defRPr>
            </a:lvl1pPr>
          </a:lstStyle>
          <a:p>
            <a:r>
              <a:rPr lang="en-US" dirty="0"/>
              <a:t>Click to edit Master title style</a:t>
            </a:r>
          </a:p>
        </p:txBody>
      </p:sp>
    </p:spTree>
    <p:extLst>
      <p:ext uri="{BB962C8B-B14F-4D97-AF65-F5344CB8AC3E}">
        <p14:creationId xmlns:p14="http://schemas.microsoft.com/office/powerpoint/2010/main" val="24960193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13DA6D4-18A2-4859-932B-ECBF3E7823B5}"/>
              </a:ext>
            </a:extLst>
          </p:cNvPr>
          <p:cNvSpPr>
            <a:spLocks noGrp="1"/>
          </p:cNvSpPr>
          <p:nvPr>
            <p:ph type="title" orient="vert"/>
          </p:nvPr>
        </p:nvSpPr>
        <p:spPr>
          <a:xfrm>
            <a:off x="6543675" y="274638"/>
            <a:ext cx="1971675" cy="436245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BF10EEA-9769-40F9-B5F3-C54B95E25DA5}"/>
              </a:ext>
            </a:extLst>
          </p:cNvPr>
          <p:cNvSpPr>
            <a:spLocks noGrp="1"/>
          </p:cNvSpPr>
          <p:nvPr>
            <p:ph type="body" orient="vert" idx="1"/>
          </p:nvPr>
        </p:nvSpPr>
        <p:spPr>
          <a:xfrm>
            <a:off x="628650" y="274638"/>
            <a:ext cx="5762625" cy="4362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5F62FB3-44DA-4E8A-97B9-471DE9F90BEC}"/>
              </a:ext>
            </a:extLst>
          </p:cNvPr>
          <p:cNvSpPr>
            <a:spLocks noGrp="1"/>
          </p:cNvSpPr>
          <p:nvPr>
            <p:ph type="dt" sz="half" idx="10"/>
          </p:nvPr>
        </p:nvSpPr>
        <p:spPr/>
        <p:txBody>
          <a:bodyPr/>
          <a:lstStyle/>
          <a:p>
            <a:fld id="{AF14DFFF-BE29-4D39-830D-DDE47C3C97AE}" type="datetimeFigureOut">
              <a:rPr lang="en-US" smtClean="0"/>
              <a:t>5/10/2024</a:t>
            </a:fld>
            <a:endParaRPr lang="en-US"/>
          </a:p>
        </p:txBody>
      </p:sp>
      <p:sp>
        <p:nvSpPr>
          <p:cNvPr id="5" name="Footer Placeholder 4">
            <a:extLst>
              <a:ext uri="{FF2B5EF4-FFF2-40B4-BE49-F238E27FC236}">
                <a16:creationId xmlns:a16="http://schemas.microsoft.com/office/drawing/2014/main" id="{69E51F00-540E-442C-B734-7E730E30826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4C2D224-20D3-4BED-9B71-FFB38EE840C9}"/>
              </a:ext>
            </a:extLst>
          </p:cNvPr>
          <p:cNvSpPr>
            <a:spLocks noGrp="1"/>
          </p:cNvSpPr>
          <p:nvPr>
            <p:ph type="sldNum" sz="quarter" idx="12"/>
          </p:nvPr>
        </p:nvSpPr>
        <p:spPr/>
        <p:txBody>
          <a:bodyPr/>
          <a:lstStyle/>
          <a:p>
            <a:fld id="{2D994E03-0F88-49B3-B680-88EAF0B5195C}" type="slidenum">
              <a:rPr lang="en-US" smtClean="0"/>
              <a:t>‹#›</a:t>
            </a:fld>
            <a:endParaRPr lang="en-US"/>
          </a:p>
        </p:txBody>
      </p:sp>
    </p:spTree>
    <p:extLst>
      <p:ext uri="{BB962C8B-B14F-4D97-AF65-F5344CB8AC3E}">
        <p14:creationId xmlns:p14="http://schemas.microsoft.com/office/powerpoint/2010/main" val="377778877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27464"/>
            <a:ext cx="9144000" cy="1006507"/>
          </a:xfrm>
          <a:prstGeom prst="rect">
            <a:avLst/>
          </a:prstGeom>
          <a:noFill/>
        </p:spPr>
        <p:txBody>
          <a:bodyPr/>
          <a:lstStyle>
            <a:lvl1pPr>
              <a:defRPr>
                <a:solidFill>
                  <a:srgbClr val="002450"/>
                </a:solidFill>
              </a:defRPr>
            </a:lvl1pPr>
          </a:lstStyle>
          <a:p>
            <a:r>
              <a:rPr lang="en-US" dirty="0"/>
              <a:t>Click to edit Master title style</a:t>
            </a:r>
          </a:p>
        </p:txBody>
      </p:sp>
      <p:sp>
        <p:nvSpPr>
          <p:cNvPr id="3"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398109050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3263994"/>
      </p:ext>
    </p:extLst>
  </p:cSld>
  <p:clrMapOvr>
    <a:masterClrMapping/>
  </p:clrMapOvr>
  <p:extLst>
    <p:ext uri="{DCECCB84-F9BA-43D5-87BE-67443E8EF086}">
      <p15:sldGuideLst xmlns:p15="http://schemas.microsoft.com/office/powerpoint/2012/main">
        <p15:guide id="1" orient="horz" pos="1621">
          <p15:clr>
            <a:srgbClr val="FBAE40"/>
          </p15:clr>
        </p15:guide>
        <p15:guide id="2" pos="288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3784"/>
            <a:ext cx="5486400" cy="425447"/>
          </a:xfrm>
          <a:prstGeom prst="rect">
            <a:avLst/>
          </a:prstGeom>
        </p:spPr>
        <p:txBody>
          <a:bodyPr anchor="b"/>
          <a:lstStyle>
            <a:lvl1pPr algn="l">
              <a:defRPr sz="2000" b="0" i="1"/>
            </a:lvl1pPr>
          </a:lstStyle>
          <a:p>
            <a:r>
              <a:rPr lang="en-US"/>
              <a:t>Click to edit Master title style</a:t>
            </a:r>
            <a:endParaRPr lang="en-US" dirty="0"/>
          </a:p>
        </p:txBody>
      </p:sp>
      <p:sp>
        <p:nvSpPr>
          <p:cNvPr id="3" name="Picture Placeholder 2"/>
          <p:cNvSpPr>
            <a:spLocks noGrp="1"/>
          </p:cNvSpPr>
          <p:nvPr>
            <p:ph type="pic" idx="1"/>
          </p:nvPr>
        </p:nvSpPr>
        <p:spPr>
          <a:xfrm>
            <a:off x="1792288" y="460007"/>
            <a:ext cx="5486400" cy="308895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Drag picture to placeholder or click icon to add</a:t>
            </a:r>
          </a:p>
        </p:txBody>
      </p:sp>
      <p:sp>
        <p:nvSpPr>
          <p:cNvPr id="4" name="Text Placeholder 3"/>
          <p:cNvSpPr>
            <a:spLocks noGrp="1"/>
          </p:cNvSpPr>
          <p:nvPr>
            <p:ph type="body" sz="half" idx="2"/>
          </p:nvPr>
        </p:nvSpPr>
        <p:spPr>
          <a:xfrm>
            <a:off x="1792288" y="4029231"/>
            <a:ext cx="5486400" cy="54497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358709737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006507"/>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305805165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a:t>Click to edit Master title style</a:t>
            </a:r>
          </a:p>
        </p:txBody>
      </p:sp>
      <p:sp>
        <p:nvSpPr>
          <p:cNvPr id="3" name="Footer Placeholder 2"/>
          <p:cNvSpPr>
            <a:spLocks noGrp="1"/>
          </p:cNvSpPr>
          <p:nvPr>
            <p:ph type="ftr" sz="quarter" idx="10"/>
          </p:nvPr>
        </p:nvSpPr>
        <p:spPr>
          <a:xfrm>
            <a:off x="2897632" y="4593882"/>
            <a:ext cx="3903712" cy="417515"/>
          </a:xfrm>
          <a:prstGeom prst="rect">
            <a:avLst/>
          </a:prstGeom>
        </p:spPr>
        <p:txBody>
          <a:bodyPr/>
          <a:lstStyle/>
          <a:p>
            <a:endParaRPr lang="en-US" dirty="0"/>
          </a:p>
        </p:txBody>
      </p:sp>
    </p:spTree>
    <p:extLst>
      <p:ext uri="{BB962C8B-B14F-4D97-AF65-F5344CB8AC3E}">
        <p14:creationId xmlns:p14="http://schemas.microsoft.com/office/powerpoint/2010/main" val="12552223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844550"/>
            <a:ext cx="7772400" cy="31472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2613736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2963"/>
            <a:ext cx="6858000" cy="1792287"/>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2703513"/>
            <a:ext cx="6858000" cy="124301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2F41C86-81D1-154C-A238-A794744A1851}" type="datetimeFigureOut">
              <a:rPr lang="en-US" smtClean="0"/>
              <a:t>5/10/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0618FE0-1B40-C740-86BA-BF2D640F8EB0}" type="slidenum">
              <a:rPr lang="en-US" smtClean="0"/>
              <a:t>‹#›</a:t>
            </a:fld>
            <a:endParaRPr lang="en-US" dirty="0"/>
          </a:p>
        </p:txBody>
      </p:sp>
    </p:spTree>
    <p:extLst>
      <p:ext uri="{BB962C8B-B14F-4D97-AF65-F5344CB8AC3E}">
        <p14:creationId xmlns:p14="http://schemas.microsoft.com/office/powerpoint/2010/main" val="37984186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F41C86-81D1-154C-A238-A794744A1851}" type="datetimeFigureOut">
              <a:rPr lang="en-US" smtClean="0"/>
              <a:t>5/10/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0618FE0-1B40-C740-86BA-BF2D640F8EB0}" type="slidenum">
              <a:rPr lang="en-US" smtClean="0"/>
              <a:t>‹#›</a:t>
            </a:fld>
            <a:endParaRPr lang="en-US" dirty="0"/>
          </a:p>
        </p:txBody>
      </p:sp>
    </p:spTree>
    <p:extLst>
      <p:ext uri="{BB962C8B-B14F-4D97-AF65-F5344CB8AC3E}">
        <p14:creationId xmlns:p14="http://schemas.microsoft.com/office/powerpoint/2010/main" val="4565366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700"/>
            <a:ext cx="7886700" cy="2141538"/>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3444875"/>
            <a:ext cx="7886700" cy="1127125"/>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2F41C86-81D1-154C-A238-A794744A1851}" type="datetimeFigureOut">
              <a:rPr lang="en-US" smtClean="0"/>
              <a:t>5/10/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0618FE0-1B40-C740-86BA-BF2D640F8EB0}" type="slidenum">
              <a:rPr lang="en-US" smtClean="0"/>
              <a:t>‹#›</a:t>
            </a:fld>
            <a:endParaRPr lang="en-US" dirty="0"/>
          </a:p>
        </p:txBody>
      </p:sp>
    </p:spTree>
    <p:extLst>
      <p:ext uri="{BB962C8B-B14F-4D97-AF65-F5344CB8AC3E}">
        <p14:creationId xmlns:p14="http://schemas.microsoft.com/office/powerpoint/2010/main" val="26825077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70013"/>
            <a:ext cx="3867150" cy="326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370013"/>
            <a:ext cx="3867150" cy="326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2F41C86-81D1-154C-A238-A794744A1851}" type="datetimeFigureOut">
              <a:rPr lang="en-US" smtClean="0"/>
              <a:t>5/10/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0618FE0-1B40-C740-86BA-BF2D640F8EB0}" type="slidenum">
              <a:rPr lang="en-US" smtClean="0"/>
              <a:t>‹#›</a:t>
            </a:fld>
            <a:endParaRPr lang="en-US" dirty="0"/>
          </a:p>
        </p:txBody>
      </p:sp>
    </p:spTree>
    <p:extLst>
      <p:ext uri="{BB962C8B-B14F-4D97-AF65-F5344CB8AC3E}">
        <p14:creationId xmlns:p14="http://schemas.microsoft.com/office/powerpoint/2010/main" val="19864137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274638"/>
            <a:ext cx="7886700" cy="993775"/>
          </a:xfrm>
        </p:spPr>
        <p:txBody>
          <a:bodyPr/>
          <a:lstStyle/>
          <a:p>
            <a:r>
              <a:rPr lang="en-US"/>
              <a:t>Click to edit Master title style</a:t>
            </a:r>
          </a:p>
        </p:txBody>
      </p:sp>
      <p:sp>
        <p:nvSpPr>
          <p:cNvPr id="3" name="Text Placeholder 2"/>
          <p:cNvSpPr>
            <a:spLocks noGrp="1"/>
          </p:cNvSpPr>
          <p:nvPr>
            <p:ph type="body" idx="1"/>
          </p:nvPr>
        </p:nvSpPr>
        <p:spPr>
          <a:xfrm>
            <a:off x="630238" y="1262063"/>
            <a:ext cx="3868737"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30238" y="1881188"/>
            <a:ext cx="3868737" cy="2765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2063"/>
            <a:ext cx="3887788"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1881188"/>
            <a:ext cx="3887788" cy="2765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2F41C86-81D1-154C-A238-A794744A1851}" type="datetimeFigureOut">
              <a:rPr lang="en-US" smtClean="0"/>
              <a:t>5/10/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C0618FE0-1B40-C740-86BA-BF2D640F8EB0}" type="slidenum">
              <a:rPr lang="en-US" smtClean="0"/>
              <a:t>‹#›</a:t>
            </a:fld>
            <a:endParaRPr lang="en-US" dirty="0"/>
          </a:p>
        </p:txBody>
      </p:sp>
    </p:spTree>
    <p:extLst>
      <p:ext uri="{BB962C8B-B14F-4D97-AF65-F5344CB8AC3E}">
        <p14:creationId xmlns:p14="http://schemas.microsoft.com/office/powerpoint/2010/main" val="27250770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2F41C86-81D1-154C-A238-A794744A1851}" type="datetimeFigureOut">
              <a:rPr lang="en-US" smtClean="0"/>
              <a:t>5/10/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C0618FE0-1B40-C740-86BA-BF2D640F8EB0}" type="slidenum">
              <a:rPr lang="en-US" smtClean="0"/>
              <a:t>‹#›</a:t>
            </a:fld>
            <a:endParaRPr lang="en-US" dirty="0"/>
          </a:p>
        </p:txBody>
      </p:sp>
    </p:spTree>
    <p:extLst>
      <p:ext uri="{BB962C8B-B14F-4D97-AF65-F5344CB8AC3E}">
        <p14:creationId xmlns:p14="http://schemas.microsoft.com/office/powerpoint/2010/main" val="39146931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2F41C86-81D1-154C-A238-A794744A1851}" type="datetimeFigureOut">
              <a:rPr lang="en-US" smtClean="0"/>
              <a:t>5/10/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C0618FE0-1B40-C740-86BA-BF2D640F8EB0}" type="slidenum">
              <a:rPr lang="en-US" smtClean="0"/>
              <a:t>‹#›</a:t>
            </a:fld>
            <a:endParaRPr lang="en-US" dirty="0"/>
          </a:p>
        </p:txBody>
      </p:sp>
    </p:spTree>
    <p:extLst>
      <p:ext uri="{BB962C8B-B14F-4D97-AF65-F5344CB8AC3E}">
        <p14:creationId xmlns:p14="http://schemas.microsoft.com/office/powerpoint/2010/main" val="23182547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1738"/>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3887788" y="741363"/>
            <a:ext cx="4629150" cy="365918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30238" y="1544638"/>
            <a:ext cx="2949575" cy="28606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F41C86-81D1-154C-A238-A794744A1851}" type="datetimeFigureOut">
              <a:rPr lang="en-US" smtClean="0"/>
              <a:t>5/10/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0618FE0-1B40-C740-86BA-BF2D640F8EB0}" type="slidenum">
              <a:rPr lang="en-US" smtClean="0"/>
              <a:t>‹#›</a:t>
            </a:fld>
            <a:endParaRPr lang="en-US" dirty="0"/>
          </a:p>
        </p:txBody>
      </p:sp>
    </p:spTree>
    <p:extLst>
      <p:ext uri="{BB962C8B-B14F-4D97-AF65-F5344CB8AC3E}">
        <p14:creationId xmlns:p14="http://schemas.microsoft.com/office/powerpoint/2010/main" val="26404970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1738"/>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3887788" y="741363"/>
            <a:ext cx="4629150" cy="365918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630238" y="1544638"/>
            <a:ext cx="2949575" cy="28606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F41C86-81D1-154C-A238-A794744A1851}" type="datetimeFigureOut">
              <a:rPr lang="en-US" smtClean="0"/>
              <a:t>5/10/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0618FE0-1B40-C740-86BA-BF2D640F8EB0}" type="slidenum">
              <a:rPr lang="en-US" smtClean="0"/>
              <a:t>‹#›</a:t>
            </a:fld>
            <a:endParaRPr lang="en-US" dirty="0"/>
          </a:p>
        </p:txBody>
      </p:sp>
    </p:spTree>
    <p:extLst>
      <p:ext uri="{BB962C8B-B14F-4D97-AF65-F5344CB8AC3E}">
        <p14:creationId xmlns:p14="http://schemas.microsoft.com/office/powerpoint/2010/main" val="23123377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F41C86-81D1-154C-A238-A794744A1851}" type="datetimeFigureOut">
              <a:rPr lang="en-US" smtClean="0"/>
              <a:t>5/10/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0618FE0-1B40-C740-86BA-BF2D640F8EB0}" type="slidenum">
              <a:rPr lang="en-US" smtClean="0"/>
              <a:t>‹#›</a:t>
            </a:fld>
            <a:endParaRPr lang="en-US" dirty="0"/>
          </a:p>
        </p:txBody>
      </p:sp>
    </p:spTree>
    <p:extLst>
      <p:ext uri="{BB962C8B-B14F-4D97-AF65-F5344CB8AC3E}">
        <p14:creationId xmlns:p14="http://schemas.microsoft.com/office/powerpoint/2010/main" val="2241819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1117600"/>
            <a:ext cx="3810000" cy="29362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117600"/>
            <a:ext cx="3810000" cy="29362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
        <p:nvSpPr>
          <p:cNvPr id="6" name="Title 1"/>
          <p:cNvSpPr>
            <a:spLocks noGrp="1"/>
          </p:cNvSpPr>
          <p:nvPr>
            <p:ph type="title"/>
          </p:nvPr>
        </p:nvSpPr>
        <p:spPr>
          <a:xfrm>
            <a:off x="0" y="127465"/>
            <a:ext cx="9144000" cy="695496"/>
          </a:xfrm>
          <a:prstGeom prst="rect">
            <a:avLst/>
          </a:prstGeom>
          <a:noFill/>
        </p:spPr>
        <p:txBody>
          <a:bodyPr/>
          <a:lstStyle>
            <a:lvl1pPr>
              <a:defRPr>
                <a:solidFill>
                  <a:srgbClr val="003465"/>
                </a:solidFill>
              </a:defRPr>
            </a:lvl1pPr>
          </a:lstStyle>
          <a:p>
            <a:r>
              <a:rPr lang="en-US" dirty="0"/>
              <a:t>Click to edit Master title style</a:t>
            </a:r>
          </a:p>
        </p:txBody>
      </p:sp>
    </p:spTree>
    <p:extLst>
      <p:ext uri="{BB962C8B-B14F-4D97-AF65-F5344CB8AC3E}">
        <p14:creationId xmlns:p14="http://schemas.microsoft.com/office/powerpoint/2010/main" val="40779096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4638"/>
            <a:ext cx="1971675" cy="43624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4638"/>
            <a:ext cx="5762625" cy="4362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F41C86-81D1-154C-A238-A794744A1851}" type="datetimeFigureOut">
              <a:rPr lang="en-US" smtClean="0"/>
              <a:t>5/10/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0618FE0-1B40-C740-86BA-BF2D640F8EB0}" type="slidenum">
              <a:rPr lang="en-US" smtClean="0"/>
              <a:t>‹#›</a:t>
            </a:fld>
            <a:endParaRPr lang="en-US" dirty="0"/>
          </a:p>
        </p:txBody>
      </p:sp>
    </p:spTree>
    <p:extLst>
      <p:ext uri="{BB962C8B-B14F-4D97-AF65-F5344CB8AC3E}">
        <p14:creationId xmlns:p14="http://schemas.microsoft.com/office/powerpoint/2010/main" val="28123207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1249681"/>
            <a:ext cx="6400800" cy="2651759"/>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a:t>Click to edit Master subtitle style</a:t>
            </a:r>
          </a:p>
        </p:txBody>
      </p:sp>
      <p:sp>
        <p:nvSpPr>
          <p:cNvPr id="6" name="Title 1"/>
          <p:cNvSpPr>
            <a:spLocks noGrp="1"/>
          </p:cNvSpPr>
          <p:nvPr>
            <p:ph type="title"/>
          </p:nvPr>
        </p:nvSpPr>
        <p:spPr>
          <a:xfrm>
            <a:off x="0" y="132080"/>
            <a:ext cx="9144000" cy="1006507"/>
          </a:xfrm>
          <a:prstGeom prst="rect">
            <a:avLst/>
          </a:prstGeom>
          <a:noFill/>
        </p:spPr>
        <p:txBody>
          <a:bodyPr/>
          <a:lstStyle>
            <a:lvl1pPr>
              <a:defRPr>
                <a:solidFill>
                  <a:srgbClr val="002450"/>
                </a:solidFill>
              </a:defRPr>
            </a:lvl1pPr>
          </a:lstStyle>
          <a:p>
            <a:r>
              <a:rPr lang="en-US" dirty="0"/>
              <a:t>Click to edit Master title style</a:t>
            </a:r>
          </a:p>
        </p:txBody>
      </p:sp>
    </p:spTree>
    <p:extLst>
      <p:ext uri="{BB962C8B-B14F-4D97-AF65-F5344CB8AC3E}">
        <p14:creationId xmlns:p14="http://schemas.microsoft.com/office/powerpoint/2010/main" val="25583284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844550"/>
            <a:ext cx="7772400" cy="31472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2613736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1117600"/>
            <a:ext cx="3810000" cy="29362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117600"/>
            <a:ext cx="3810000" cy="29362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
        <p:nvSpPr>
          <p:cNvPr id="6" name="Title 1"/>
          <p:cNvSpPr>
            <a:spLocks noGrp="1"/>
          </p:cNvSpPr>
          <p:nvPr>
            <p:ph type="title"/>
          </p:nvPr>
        </p:nvSpPr>
        <p:spPr>
          <a:xfrm>
            <a:off x="0" y="127465"/>
            <a:ext cx="9144000" cy="695496"/>
          </a:xfrm>
          <a:prstGeom prst="rect">
            <a:avLst/>
          </a:prstGeom>
          <a:noFill/>
        </p:spPr>
        <p:txBody>
          <a:bodyPr/>
          <a:lstStyle>
            <a:lvl1pPr>
              <a:defRPr>
                <a:solidFill>
                  <a:srgbClr val="003465"/>
                </a:solidFill>
              </a:defRPr>
            </a:lvl1pPr>
          </a:lstStyle>
          <a:p>
            <a:r>
              <a:rPr lang="en-US" dirty="0"/>
              <a:t>Click to edit Master title style</a:t>
            </a:r>
          </a:p>
        </p:txBody>
      </p:sp>
    </p:spTree>
    <p:extLst>
      <p:ext uri="{BB962C8B-B14F-4D97-AF65-F5344CB8AC3E}">
        <p14:creationId xmlns:p14="http://schemas.microsoft.com/office/powerpoint/2010/main" val="407790966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27464"/>
            <a:ext cx="9144000" cy="1006507"/>
          </a:xfrm>
          <a:prstGeom prst="rect">
            <a:avLst/>
          </a:prstGeom>
          <a:noFill/>
        </p:spPr>
        <p:txBody>
          <a:bodyPr/>
          <a:lstStyle>
            <a:lvl1pPr>
              <a:defRPr>
                <a:solidFill>
                  <a:srgbClr val="002450"/>
                </a:solidFill>
              </a:defRPr>
            </a:lvl1pPr>
          </a:lstStyle>
          <a:p>
            <a:r>
              <a:rPr lang="en-US" dirty="0"/>
              <a:t>Click to edit Master title style</a:t>
            </a:r>
          </a:p>
        </p:txBody>
      </p:sp>
      <p:sp>
        <p:nvSpPr>
          <p:cNvPr id="3"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20430182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85637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3784"/>
            <a:ext cx="5486400" cy="425447"/>
          </a:xfrm>
          <a:prstGeom prst="rect">
            <a:avLst/>
          </a:prstGeom>
        </p:spPr>
        <p:txBody>
          <a:bodyPr anchor="b"/>
          <a:lstStyle>
            <a:lvl1pPr algn="l">
              <a:defRPr sz="2000" b="0" i="1"/>
            </a:lvl1pPr>
          </a:lstStyle>
          <a:p>
            <a:r>
              <a:rPr lang="en-US"/>
              <a:t>Click to edit Master title style</a:t>
            </a:r>
            <a:endParaRPr lang="en-US" dirty="0"/>
          </a:p>
        </p:txBody>
      </p:sp>
      <p:sp>
        <p:nvSpPr>
          <p:cNvPr id="3" name="Picture Placeholder 2"/>
          <p:cNvSpPr>
            <a:spLocks noGrp="1"/>
          </p:cNvSpPr>
          <p:nvPr>
            <p:ph type="pic" idx="1"/>
          </p:nvPr>
        </p:nvSpPr>
        <p:spPr>
          <a:xfrm>
            <a:off x="1792288" y="460007"/>
            <a:ext cx="5486400" cy="308895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Drag picture to placeholder or click icon to add</a:t>
            </a:r>
          </a:p>
        </p:txBody>
      </p:sp>
      <p:sp>
        <p:nvSpPr>
          <p:cNvPr id="4" name="Text Placeholder 3"/>
          <p:cNvSpPr>
            <a:spLocks noGrp="1"/>
          </p:cNvSpPr>
          <p:nvPr>
            <p:ph type="body" sz="half" idx="2"/>
          </p:nvPr>
        </p:nvSpPr>
        <p:spPr>
          <a:xfrm>
            <a:off x="1792288" y="4029231"/>
            <a:ext cx="5486400" cy="54497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26434795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006507"/>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12123651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a:t>Click to edit Master title style</a:t>
            </a:r>
          </a:p>
        </p:txBody>
      </p:sp>
      <p:sp>
        <p:nvSpPr>
          <p:cNvPr id="3" name="Footer Placeholder 2"/>
          <p:cNvSpPr>
            <a:spLocks noGrp="1"/>
          </p:cNvSpPr>
          <p:nvPr>
            <p:ph type="ftr" sz="quarter" idx="10"/>
          </p:nvPr>
        </p:nvSpPr>
        <p:spPr>
          <a:xfrm>
            <a:off x="2897632" y="4593882"/>
            <a:ext cx="3903712" cy="417515"/>
          </a:xfrm>
          <a:prstGeom prst="rect">
            <a:avLst/>
          </a:prstGeom>
        </p:spPr>
        <p:txBody>
          <a:bodyPr/>
          <a:lstStyle/>
          <a:p>
            <a:endParaRPr lang="en-US" dirty="0"/>
          </a:p>
        </p:txBody>
      </p:sp>
    </p:spTree>
    <p:extLst>
      <p:ext uri="{BB962C8B-B14F-4D97-AF65-F5344CB8AC3E}">
        <p14:creationId xmlns:p14="http://schemas.microsoft.com/office/powerpoint/2010/main" val="5398710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MM">
    <p:spTree>
      <p:nvGrpSpPr>
        <p:cNvPr id="1" name=""/>
        <p:cNvGrpSpPr/>
        <p:nvPr/>
      </p:nvGrpSpPr>
      <p:grpSpPr>
        <a:xfrm>
          <a:off x="0" y="0"/>
          <a:ext cx="0" cy="0"/>
          <a:chOff x="0" y="0"/>
          <a:chExt cx="0" cy="0"/>
        </a:xfrm>
      </p:grpSpPr>
      <p:pic>
        <p:nvPicPr>
          <p:cNvPr id="6" name="Picture 5" descr="A close-up of a blue and white card&#10;&#10;Description automatically generated">
            <a:extLst>
              <a:ext uri="{FF2B5EF4-FFF2-40B4-BE49-F238E27FC236}">
                <a16:creationId xmlns:a16="http://schemas.microsoft.com/office/drawing/2014/main" id="{B8F1D679-6C5D-ADD5-C9F6-A2E76137E187}"/>
              </a:ext>
            </a:extLst>
          </p:cNvPr>
          <p:cNvPicPr>
            <a:picLocks noChangeAspect="1"/>
          </p:cNvPicPr>
          <p:nvPr userDrawn="1"/>
        </p:nvPicPr>
        <p:blipFill>
          <a:blip r:embed="rId2"/>
          <a:stretch>
            <a:fillRect/>
          </a:stretch>
        </p:blipFill>
        <p:spPr>
          <a:xfrm>
            <a:off x="0" y="0"/>
            <a:ext cx="9144000" cy="5156199"/>
          </a:xfrm>
          <a:prstGeom prst="rect">
            <a:avLst/>
          </a:prstGeom>
        </p:spPr>
      </p:pic>
      <p:pic>
        <p:nvPicPr>
          <p:cNvPr id="4" name="Picture 3" descr="A close up of a logo&#10;&#10;Description automatically generated">
            <a:extLst>
              <a:ext uri="{FF2B5EF4-FFF2-40B4-BE49-F238E27FC236}">
                <a16:creationId xmlns:a16="http://schemas.microsoft.com/office/drawing/2014/main" id="{11066229-7678-7F10-02A0-7A6732A67C7E}"/>
              </a:ext>
            </a:extLst>
          </p:cNvPr>
          <p:cNvPicPr>
            <a:picLocks noChangeAspect="1"/>
          </p:cNvPicPr>
          <p:nvPr userDrawn="1"/>
        </p:nvPicPr>
        <p:blipFill>
          <a:blip r:embed="rId3"/>
          <a:stretch>
            <a:fillRect/>
          </a:stretch>
        </p:blipFill>
        <p:spPr>
          <a:xfrm>
            <a:off x="5631180" y="4366260"/>
            <a:ext cx="3327609" cy="553988"/>
          </a:xfrm>
          <a:prstGeom prst="rect">
            <a:avLst/>
          </a:prstGeom>
        </p:spPr>
      </p:pic>
    </p:spTree>
    <p:extLst>
      <p:ext uri="{BB962C8B-B14F-4D97-AF65-F5344CB8AC3E}">
        <p14:creationId xmlns:p14="http://schemas.microsoft.com/office/powerpoint/2010/main" val="21195653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27464"/>
            <a:ext cx="9144000" cy="1006507"/>
          </a:xfrm>
          <a:prstGeom prst="rect">
            <a:avLst/>
          </a:prstGeom>
          <a:noFill/>
        </p:spPr>
        <p:txBody>
          <a:bodyPr/>
          <a:lstStyle>
            <a:lvl1pPr>
              <a:defRPr>
                <a:solidFill>
                  <a:srgbClr val="002450"/>
                </a:solidFill>
              </a:defRPr>
            </a:lvl1pPr>
          </a:lstStyle>
          <a:p>
            <a:r>
              <a:rPr lang="en-US" dirty="0"/>
              <a:t>Click to edit Master title style</a:t>
            </a:r>
          </a:p>
        </p:txBody>
      </p:sp>
      <p:sp>
        <p:nvSpPr>
          <p:cNvPr id="3"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20430182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8237"/>
            <a:ext cx="7772400" cy="1023297"/>
          </a:xfrm>
        </p:spPr>
        <p:txBody>
          <a:bodyPr anchor="t">
            <a:normAutofit/>
          </a:bodyPr>
          <a:lstStyle>
            <a:lvl1pPr algn="l">
              <a:defRPr sz="2100" b="1" cap="all"/>
            </a:lvl1pPr>
          </a:lstStyle>
          <a:p>
            <a:r>
              <a:rPr lang="en-US"/>
              <a:t>Click to edit Master title style</a:t>
            </a:r>
            <a:endParaRPr lang="en-US" dirty="0"/>
          </a:p>
        </p:txBody>
      </p:sp>
      <p:sp>
        <p:nvSpPr>
          <p:cNvPr id="3" name="Text Placeholder 2"/>
          <p:cNvSpPr>
            <a:spLocks noGrp="1"/>
          </p:cNvSpPr>
          <p:nvPr>
            <p:ph type="body" idx="1"/>
          </p:nvPr>
        </p:nvSpPr>
        <p:spPr>
          <a:xfrm>
            <a:off x="722313" y="2181658"/>
            <a:ext cx="7772400" cy="1126579"/>
          </a:xfrm>
        </p:spPr>
        <p:txBody>
          <a:bodyPr anchor="b"/>
          <a:lstStyle>
            <a:lvl1pPr marL="0" indent="0">
              <a:buNone/>
              <a:defRPr sz="1500">
                <a:solidFill>
                  <a:schemeClr val="bg2"/>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5" name="Slide Number Placeholder 1"/>
          <p:cNvSpPr>
            <a:spLocks noGrp="1"/>
          </p:cNvSpPr>
          <p:nvPr>
            <p:ph type="sldNum" sz="quarter" idx="4"/>
          </p:nvPr>
        </p:nvSpPr>
        <p:spPr>
          <a:xfrm>
            <a:off x="255917" y="4771680"/>
            <a:ext cx="2133600" cy="274891"/>
          </a:xfrm>
          <a:prstGeom prst="rect">
            <a:avLst/>
          </a:prstGeom>
        </p:spPr>
        <p:txBody>
          <a:bodyPr vert="horz" lIns="91440" tIns="45720" rIns="91440" bIns="45720" rtlCol="0" anchor="ctr"/>
          <a:lstStyle>
            <a:lvl1pPr algn="l">
              <a:defRPr sz="900">
                <a:solidFill>
                  <a:schemeClr val="tx1"/>
                </a:solidFill>
              </a:defRPr>
            </a:lvl1pPr>
          </a:lstStyle>
          <a:p>
            <a:fld id="{23088ACA-6532-5B47-9D60-7AF590FE3009}" type="slidenum">
              <a:rPr lang="en-US" smtClean="0"/>
              <a:pPr/>
              <a:t>‹#›</a:t>
            </a:fld>
            <a:endParaRPr lang="en-US" dirty="0"/>
          </a:p>
        </p:txBody>
      </p:sp>
    </p:spTree>
    <p:extLst>
      <p:ext uri="{BB962C8B-B14F-4D97-AF65-F5344CB8AC3E}">
        <p14:creationId xmlns:p14="http://schemas.microsoft.com/office/powerpoint/2010/main" val="21367813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6170"/>
            <a:ext cx="8229600" cy="858044"/>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57200" y="1201263"/>
            <a:ext cx="8229600" cy="339761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6"/>
          <p:cNvSpPr>
            <a:spLocks noGrp="1"/>
          </p:cNvSpPr>
          <p:nvPr>
            <p:ph type="sldNum" sz="quarter" idx="12"/>
          </p:nvPr>
        </p:nvSpPr>
        <p:spPr>
          <a:xfrm>
            <a:off x="251125" y="4771677"/>
            <a:ext cx="2133600" cy="274098"/>
          </a:xfrm>
          <a:prstGeom prst="rect">
            <a:avLst/>
          </a:prstGeom>
        </p:spPr>
        <p:txBody>
          <a:bodyPr/>
          <a:lstStyle/>
          <a:p>
            <a:fld id="{8A38FAF8-786F-7C4F-9F1B-B820815ED72A}" type="slidenum">
              <a:rPr lang="en-US" smtClean="0"/>
              <a:t>‹#›</a:t>
            </a:fld>
            <a:endParaRPr lang="en-US" dirty="0"/>
          </a:p>
        </p:txBody>
      </p:sp>
    </p:spTree>
    <p:extLst>
      <p:ext uri="{BB962C8B-B14F-4D97-AF65-F5344CB8AC3E}">
        <p14:creationId xmlns:p14="http://schemas.microsoft.com/office/powerpoint/2010/main" val="1414496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lnSpc>
                <a:spcPct val="100000"/>
              </a:lnSpc>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305991" y="1176950"/>
            <a:ext cx="8532018" cy="3459200"/>
          </a:xfrm>
        </p:spPr>
        <p:txBody>
          <a:bodyPr>
            <a:noAutofit/>
          </a:bodyPr>
          <a:lstStyle>
            <a:lvl1pPr>
              <a:lnSpc>
                <a:spcPct val="100000"/>
              </a:lnSpc>
              <a:spcBef>
                <a:spcPts val="450"/>
              </a:spcBef>
              <a:spcAft>
                <a:spcPts val="450"/>
              </a:spcAft>
              <a:defRPr/>
            </a:lvl1pPr>
            <a:lvl2pPr marL="345600" indent="-171450">
              <a:lnSpc>
                <a:spcPct val="100000"/>
              </a:lnSpc>
              <a:defRPr/>
            </a:lvl2pPr>
            <a:lvl3pPr>
              <a:lnSpc>
                <a:spcPct val="100000"/>
              </a:lnSpc>
              <a:defRPr/>
            </a:lvl3pPr>
            <a:lvl4pPr>
              <a:lnSpc>
                <a:spcPct val="100000"/>
              </a:lnSpc>
              <a:defRPr/>
            </a:lvl4pPr>
            <a:lvl5pPr>
              <a:lnSpc>
                <a:spcPct val="100000"/>
              </a:lnSpc>
              <a:defRPr/>
            </a:lvl5pPr>
          </a:lstStyle>
          <a:p>
            <a:pPr lvl="0"/>
            <a:r>
              <a:rPr lang="en-US"/>
              <a:t>Click to add text here. </a:t>
            </a:r>
            <a:br>
              <a:rPr lang="en-US"/>
            </a:br>
            <a:r>
              <a:rPr lang="en-US"/>
              <a:t>When pasting copy from other slides, be sure to right-click and choose ‘Keep text only’.</a:t>
            </a:r>
            <a:br>
              <a:rPr lang="en-US"/>
            </a:br>
            <a:r>
              <a:rPr lang="en-US"/>
              <a:t>To increase bullet level, select your text and press Tab.</a:t>
            </a:r>
            <a:br>
              <a:rPr lang="en-US"/>
            </a:br>
            <a:r>
              <a:rPr lang="en-US"/>
              <a:t>To decrease bullet level, select your bullet text and press Shift + Tab.</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lvl1pPr>
              <a:lnSpc>
                <a:spcPct val="100000"/>
              </a:lnSpc>
              <a:defRPr/>
            </a:lvl1p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lvl1pPr>
              <a:lnSpc>
                <a:spcPct val="100000"/>
              </a:lnSpc>
              <a:defRPr/>
            </a:lvl1p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305992" y="4654888"/>
            <a:ext cx="7297340" cy="493375"/>
          </a:xfrm>
        </p:spPr>
        <p:txBody>
          <a:bodyPr anchor="b" anchorCtr="0">
            <a:noAutofit/>
          </a:bodyPr>
          <a:lstStyle>
            <a:lvl1pPr>
              <a:lnSpc>
                <a:spcPct val="100000"/>
              </a:lnSpc>
              <a:spcAft>
                <a:spcPts val="225"/>
              </a:spcAft>
              <a:buNone/>
              <a:defRPr sz="600"/>
            </a:lvl1pPr>
          </a:lstStyle>
          <a:p>
            <a:pPr lvl="0"/>
            <a:r>
              <a:rPr lang="en-US"/>
              <a:t>Footnotes</a:t>
            </a:r>
          </a:p>
        </p:txBody>
      </p:sp>
    </p:spTree>
    <p:custDataLst>
      <p:tags r:id="rId1"/>
    </p:custDataLst>
    <p:extLst>
      <p:ext uri="{BB962C8B-B14F-4D97-AF65-F5344CB8AC3E}">
        <p14:creationId xmlns:p14="http://schemas.microsoft.com/office/powerpoint/2010/main" val="607872147"/>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lnSpc>
                <a:spcPct val="100000"/>
              </a:lnSpc>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305991" y="1176949"/>
            <a:ext cx="8532018" cy="3479646"/>
          </a:xfrm>
        </p:spPr>
        <p:txBody>
          <a:bodyPr>
            <a:noAutofit/>
          </a:bodyPr>
          <a:lstStyle>
            <a:lvl1pPr>
              <a:lnSpc>
                <a:spcPct val="100000"/>
              </a:lnSpc>
              <a:spcBef>
                <a:spcPts val="450"/>
              </a:spcBef>
              <a:spcAft>
                <a:spcPts val="450"/>
              </a:spcAft>
              <a:defRPr/>
            </a:lvl1pPr>
            <a:lvl2pPr marL="345600" indent="-171450">
              <a:lnSpc>
                <a:spcPct val="100000"/>
              </a:lnSpc>
              <a:defRPr/>
            </a:lvl2pPr>
            <a:lvl3pPr>
              <a:lnSpc>
                <a:spcPct val="100000"/>
              </a:lnSpc>
              <a:defRPr/>
            </a:lvl3pPr>
            <a:lvl4pPr>
              <a:lnSpc>
                <a:spcPct val="100000"/>
              </a:lnSpc>
              <a:defRPr/>
            </a:lvl4pPr>
            <a:lvl5pPr>
              <a:lnSpc>
                <a:spcPct val="100000"/>
              </a:lnSpc>
              <a:defRPr/>
            </a:lvl5pPr>
          </a:lstStyle>
          <a:p>
            <a:pPr lvl="0"/>
            <a:r>
              <a:rPr lang="en-US"/>
              <a:t>Click to add text here. </a:t>
            </a:r>
            <a:br>
              <a:rPr lang="en-US"/>
            </a:br>
            <a:r>
              <a:rPr lang="en-US"/>
              <a:t>When pasting copy from other slides, be sure to right-click and choose ‘Keep text only’.</a:t>
            </a:r>
            <a:br>
              <a:rPr lang="en-US"/>
            </a:br>
            <a:r>
              <a:rPr lang="en-US"/>
              <a:t>To increase bullet level, select your text and press Tab.</a:t>
            </a:r>
            <a:br>
              <a:rPr lang="en-US"/>
            </a:br>
            <a:r>
              <a:rPr lang="en-US"/>
              <a:t>To decrease bullet level, select your bullet text and press Shift + Tab.</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7E938F29-84D5-4449-9358-343332B4BEF7}"/>
              </a:ext>
              <a:ext uri="{C183D7F6-B498-43B3-948B-1728B52AA6E4}">
                <adec:decorative xmlns:adec="http://schemas.microsoft.com/office/drawing/2017/decorative" val="1"/>
              </a:ext>
            </a:extLst>
          </p:cNvPr>
          <p:cNvSpPr>
            <a:spLocks noGrp="1"/>
          </p:cNvSpPr>
          <p:nvPr>
            <p:ph type="sldNum" sz="quarter" idx="22"/>
          </p:nvPr>
        </p:nvSpPr>
        <p:spPr/>
        <p:txBody>
          <a:bodyPr/>
          <a:lstStyle>
            <a:lvl1pPr>
              <a:lnSpc>
                <a:spcPct val="100000"/>
              </a:lnSpc>
              <a:defRPr/>
            </a:lvl1pPr>
          </a:lstStyle>
          <a:p>
            <a:fld id="{F8E47D07-9D1E-4FE9-B31A-2F5863681021}" type="slidenum">
              <a:rPr lang="en-GB" smtClean="0"/>
              <a:pPr/>
              <a:t>‹#›</a:t>
            </a:fld>
            <a:endParaRPr lang="en-GB"/>
          </a:p>
        </p:txBody>
      </p:sp>
    </p:spTree>
    <p:custDataLst>
      <p:tags r:id="rId1"/>
    </p:custDataLst>
    <p:extLst>
      <p:ext uri="{BB962C8B-B14F-4D97-AF65-F5344CB8AC3E}">
        <p14:creationId xmlns:p14="http://schemas.microsoft.com/office/powerpoint/2010/main" val="3181698357"/>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B03F247-4297-4973-90A3-0193475AC741}"/>
              </a:ext>
            </a:extLst>
          </p:cNvPr>
          <p:cNvSpPr>
            <a:spLocks noGrp="1"/>
          </p:cNvSpPr>
          <p:nvPr>
            <p:ph type="dt" sz="half" idx="10"/>
          </p:nvPr>
        </p:nvSpPr>
        <p:spPr/>
        <p:txBody>
          <a:bodyPr/>
          <a:lstStyle>
            <a:lvl1pPr>
              <a:lnSpc>
                <a:spcPct val="100000"/>
              </a:lnSpc>
              <a:defRPr/>
            </a:lvl1pPr>
          </a:lstStyle>
          <a:p>
            <a:endParaRPr lang="en-GB"/>
          </a:p>
        </p:txBody>
      </p:sp>
      <p:sp>
        <p:nvSpPr>
          <p:cNvPr id="11" name="Slide Number Placeholder 10">
            <a:extLst>
              <a:ext uri="{FF2B5EF4-FFF2-40B4-BE49-F238E27FC236}">
                <a16:creationId xmlns:a16="http://schemas.microsoft.com/office/drawing/2014/main" id="{E358DA9E-BDF5-4DC7-B478-434301DA6253}"/>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5" name="Text Placeholder 96">
            <a:extLst>
              <a:ext uri="{FF2B5EF4-FFF2-40B4-BE49-F238E27FC236}">
                <a16:creationId xmlns:a16="http://schemas.microsoft.com/office/drawing/2014/main" id="{5D317BC2-3CD5-4931-93AD-CC95F2C50D24}"/>
              </a:ext>
            </a:extLst>
          </p:cNvPr>
          <p:cNvSpPr>
            <a:spLocks noGrp="1"/>
          </p:cNvSpPr>
          <p:nvPr>
            <p:ph type="body" sz="quarter" idx="111" hasCustomPrompt="1"/>
          </p:nvPr>
        </p:nvSpPr>
        <p:spPr>
          <a:xfrm>
            <a:off x="305992" y="4654888"/>
            <a:ext cx="7297340" cy="493375"/>
          </a:xfrm>
        </p:spPr>
        <p:txBody>
          <a:bodyPr anchor="b" anchorCtr="0">
            <a:noAutofit/>
          </a:bodyPr>
          <a:lstStyle>
            <a:lvl1pPr>
              <a:lnSpc>
                <a:spcPct val="100000"/>
              </a:lnSpc>
              <a:spcAft>
                <a:spcPts val="225"/>
              </a:spcAft>
              <a:buNone/>
              <a:defRPr sz="600"/>
            </a:lvl1pPr>
          </a:lstStyle>
          <a:p>
            <a:pPr lvl="0"/>
            <a:r>
              <a:rPr lang="en-US"/>
              <a:t>Footnotes</a:t>
            </a:r>
          </a:p>
        </p:txBody>
      </p:sp>
    </p:spTree>
    <p:custDataLst>
      <p:tags r:id="rId1"/>
    </p:custDataLst>
    <p:extLst>
      <p:ext uri="{BB962C8B-B14F-4D97-AF65-F5344CB8AC3E}">
        <p14:creationId xmlns:p14="http://schemas.microsoft.com/office/powerpoint/2010/main" val="29438617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w/ no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D157F41-882D-45BF-82E3-97442CA1E5D1}"/>
              </a:ext>
            </a:extLst>
          </p:cNvPr>
          <p:cNvSpPr/>
          <p:nvPr userDrawn="1"/>
        </p:nvSpPr>
        <p:spPr>
          <a:xfrm rot="5400000">
            <a:off x="4522272" y="-4522267"/>
            <a:ext cx="99460" cy="9143999"/>
          </a:xfrm>
          <a:prstGeom prst="rect">
            <a:avLst/>
          </a:prstGeom>
          <a:gradFill>
            <a:gsLst>
              <a:gs pos="100000">
                <a:srgbClr val="D50056"/>
              </a:gs>
              <a:gs pos="0">
                <a:srgbClr val="40B4E5"/>
              </a:gs>
              <a:gs pos="49000">
                <a:srgbClr val="107FCD"/>
              </a:gs>
            </a:gsLst>
            <a:lin ang="14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9" name="Title 1">
            <a:extLst>
              <a:ext uri="{FF2B5EF4-FFF2-40B4-BE49-F238E27FC236}">
                <a16:creationId xmlns:a16="http://schemas.microsoft.com/office/drawing/2014/main" id="{2A5C28C1-4BFD-4E9B-B1CE-FB5132162B1C}"/>
              </a:ext>
            </a:extLst>
          </p:cNvPr>
          <p:cNvSpPr>
            <a:spLocks noGrp="1"/>
          </p:cNvSpPr>
          <p:nvPr>
            <p:ph type="title"/>
          </p:nvPr>
        </p:nvSpPr>
        <p:spPr>
          <a:xfrm>
            <a:off x="420030" y="435390"/>
            <a:ext cx="7873181" cy="378289"/>
          </a:xfrm>
        </p:spPr>
        <p:txBody>
          <a:bodyPr>
            <a:noAutofit/>
          </a:bodyPr>
          <a:lstStyle>
            <a:lvl1pPr>
              <a:defRPr sz="2198" b="1" i="0" spc="0">
                <a:latin typeface="Arial" panose="020B0604020202020204" pitchFamily="34" charset="0"/>
                <a:cs typeface="Arial" panose="020B0604020202020204" pitchFamily="34" charset="0"/>
              </a:defRPr>
            </a:lvl1pPr>
          </a:lstStyle>
          <a:p>
            <a:r>
              <a:rPr lang="en-US"/>
              <a:t>Click to edit Master title style</a:t>
            </a:r>
          </a:p>
        </p:txBody>
      </p:sp>
      <p:sp>
        <p:nvSpPr>
          <p:cNvPr id="16" name="Text Placeholder 15">
            <a:extLst>
              <a:ext uri="{FF2B5EF4-FFF2-40B4-BE49-F238E27FC236}">
                <a16:creationId xmlns:a16="http://schemas.microsoft.com/office/drawing/2014/main" id="{810C869B-9494-48ED-A9FC-974F42FC95DE}"/>
              </a:ext>
            </a:extLst>
          </p:cNvPr>
          <p:cNvSpPr>
            <a:spLocks noGrp="1"/>
          </p:cNvSpPr>
          <p:nvPr>
            <p:ph type="body" sz="quarter" idx="31" hasCustomPrompt="1"/>
          </p:nvPr>
        </p:nvSpPr>
        <p:spPr>
          <a:xfrm>
            <a:off x="419101" y="822192"/>
            <a:ext cx="7874000" cy="273051"/>
          </a:xfrm>
        </p:spPr>
        <p:txBody>
          <a:bodyPr>
            <a:normAutofit/>
          </a:bodyPr>
          <a:lstStyle>
            <a:lvl1pPr marL="0" indent="0">
              <a:buNone/>
              <a:defRPr sz="1099" b="0" i="0" spc="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7" name="Slide Number Placeholder 2">
            <a:extLst>
              <a:ext uri="{FF2B5EF4-FFF2-40B4-BE49-F238E27FC236}">
                <a16:creationId xmlns:a16="http://schemas.microsoft.com/office/drawing/2014/main" id="{0675D3CC-2BCF-D244-941A-AFAAF0D29AC9}"/>
              </a:ext>
            </a:extLst>
          </p:cNvPr>
          <p:cNvSpPr>
            <a:spLocks noGrp="1"/>
          </p:cNvSpPr>
          <p:nvPr>
            <p:ph type="sldNum" sz="quarter" idx="24"/>
          </p:nvPr>
        </p:nvSpPr>
        <p:spPr>
          <a:xfrm>
            <a:off x="222734" y="4770195"/>
            <a:ext cx="394593" cy="273844"/>
          </a:xfrm>
          <a:prstGeom prst="rect">
            <a:avLst/>
          </a:prstGeom>
        </p:spPr>
        <p:txBody>
          <a:bodyPr/>
          <a:lstStyle>
            <a:lvl1pPr>
              <a:defRPr sz="999">
                <a:solidFill>
                  <a:schemeClr val="tx1"/>
                </a:solidFill>
              </a:defRPr>
            </a:lvl1pPr>
          </a:lstStyle>
          <a:p>
            <a:fld id="{010B77E7-8D76-A248-9E9F-68FC055C9F4B}" type="slidenum">
              <a:rPr lang="en-US" smtClean="0"/>
              <a:pPr/>
              <a:t>‹#›</a:t>
            </a:fld>
            <a:endParaRPr lang="en-US"/>
          </a:p>
        </p:txBody>
      </p:sp>
      <p:pic>
        <p:nvPicPr>
          <p:cNvPr id="10" name="Picture 9">
            <a:extLst>
              <a:ext uri="{FF2B5EF4-FFF2-40B4-BE49-F238E27FC236}">
                <a16:creationId xmlns:a16="http://schemas.microsoft.com/office/drawing/2014/main" id="{5A057C03-721A-8B40-A7F0-D22A38C4F83F}"/>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8062707" y="4855259"/>
            <a:ext cx="858329" cy="103268"/>
          </a:xfrm>
          <a:prstGeom prst="rect">
            <a:avLst/>
          </a:prstGeom>
        </p:spPr>
      </p:pic>
    </p:spTree>
    <p:extLst>
      <p:ext uri="{BB962C8B-B14F-4D97-AF65-F5344CB8AC3E}">
        <p14:creationId xmlns:p14="http://schemas.microsoft.com/office/powerpoint/2010/main" val="28204784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D8510E-5A84-C951-4F50-192368A0F5E0}"/>
              </a:ext>
            </a:extLst>
          </p:cNvPr>
          <p:cNvSpPr>
            <a:spLocks noGrp="1"/>
          </p:cNvSpPr>
          <p:nvPr>
            <p:ph type="ctrTitle"/>
          </p:nvPr>
        </p:nvSpPr>
        <p:spPr>
          <a:xfrm>
            <a:off x="1143000" y="842552"/>
            <a:ext cx="6858000" cy="1792358"/>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B431A630-9F85-D9EC-D952-E8CF4C8934E9}"/>
              </a:ext>
            </a:extLst>
          </p:cNvPr>
          <p:cNvSpPr>
            <a:spLocks noGrp="1"/>
          </p:cNvSpPr>
          <p:nvPr>
            <p:ph type="subTitle" idx="1"/>
          </p:nvPr>
        </p:nvSpPr>
        <p:spPr>
          <a:xfrm>
            <a:off x="1143000" y="2704030"/>
            <a:ext cx="6858000" cy="1242971"/>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413442FB-82D7-AED9-2236-9E549B50AB25}"/>
              </a:ext>
            </a:extLst>
          </p:cNvPr>
          <p:cNvSpPr>
            <a:spLocks noGrp="1"/>
          </p:cNvSpPr>
          <p:nvPr>
            <p:ph type="dt" sz="half" idx="10"/>
          </p:nvPr>
        </p:nvSpPr>
        <p:spPr/>
        <p:txBody>
          <a:bodyPr/>
          <a:lstStyle/>
          <a:p>
            <a:fld id="{4DF9BD04-AC8F-C749-915B-B556DB5A4514}" type="datetimeFigureOut">
              <a:rPr lang="en-US" smtClean="0"/>
              <a:t>5/10/2024</a:t>
            </a:fld>
            <a:endParaRPr lang="en-US"/>
          </a:p>
        </p:txBody>
      </p:sp>
      <p:sp>
        <p:nvSpPr>
          <p:cNvPr id="5" name="Footer Placeholder 4">
            <a:extLst>
              <a:ext uri="{FF2B5EF4-FFF2-40B4-BE49-F238E27FC236}">
                <a16:creationId xmlns:a16="http://schemas.microsoft.com/office/drawing/2014/main" id="{F5B526D1-D75A-1BF9-EDEC-44B36BB1A96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B0EF066-2F1D-E709-6819-686B859A012D}"/>
              </a:ext>
            </a:extLst>
          </p:cNvPr>
          <p:cNvSpPr>
            <a:spLocks noGrp="1"/>
          </p:cNvSpPr>
          <p:nvPr>
            <p:ph type="sldNum" sz="quarter" idx="12"/>
          </p:nvPr>
        </p:nvSpPr>
        <p:spPr/>
        <p:txBody>
          <a:bodyPr/>
          <a:lstStyle/>
          <a:p>
            <a:fld id="{4284F903-39F6-7F40-986E-5F33C4BECFE0}" type="slidenum">
              <a:rPr lang="en-US" smtClean="0"/>
              <a:t>‹#›</a:t>
            </a:fld>
            <a:endParaRPr lang="en-US"/>
          </a:p>
        </p:txBody>
      </p:sp>
    </p:spTree>
    <p:extLst>
      <p:ext uri="{BB962C8B-B14F-4D97-AF65-F5344CB8AC3E}">
        <p14:creationId xmlns:p14="http://schemas.microsoft.com/office/powerpoint/2010/main" val="11400248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7E7E44-E226-E7E0-B481-CB8BD4950BC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ABD17E1-030F-D645-B30F-E28BA754A38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21BCA2-29FA-30C5-E804-D8C163721BDE}"/>
              </a:ext>
            </a:extLst>
          </p:cNvPr>
          <p:cNvSpPr>
            <a:spLocks noGrp="1"/>
          </p:cNvSpPr>
          <p:nvPr>
            <p:ph type="dt" sz="half" idx="10"/>
          </p:nvPr>
        </p:nvSpPr>
        <p:spPr/>
        <p:txBody>
          <a:bodyPr/>
          <a:lstStyle/>
          <a:p>
            <a:fld id="{4DF9BD04-AC8F-C749-915B-B556DB5A4514}" type="datetimeFigureOut">
              <a:rPr lang="en-US" smtClean="0"/>
              <a:t>5/10/2024</a:t>
            </a:fld>
            <a:endParaRPr lang="en-US"/>
          </a:p>
        </p:txBody>
      </p:sp>
      <p:sp>
        <p:nvSpPr>
          <p:cNvPr id="5" name="Footer Placeholder 4">
            <a:extLst>
              <a:ext uri="{FF2B5EF4-FFF2-40B4-BE49-F238E27FC236}">
                <a16:creationId xmlns:a16="http://schemas.microsoft.com/office/drawing/2014/main" id="{9827A0F3-9CBF-E72D-4AEC-36D9C630A5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B68455-034C-FC18-6EA1-AB4EC2030AA7}"/>
              </a:ext>
            </a:extLst>
          </p:cNvPr>
          <p:cNvSpPr>
            <a:spLocks noGrp="1"/>
          </p:cNvSpPr>
          <p:nvPr>
            <p:ph type="sldNum" sz="quarter" idx="12"/>
          </p:nvPr>
        </p:nvSpPr>
        <p:spPr/>
        <p:txBody>
          <a:bodyPr/>
          <a:lstStyle/>
          <a:p>
            <a:fld id="{4284F903-39F6-7F40-986E-5F33C4BECFE0}" type="slidenum">
              <a:rPr lang="en-US" smtClean="0"/>
              <a:t>‹#›</a:t>
            </a:fld>
            <a:endParaRPr lang="en-US"/>
          </a:p>
        </p:txBody>
      </p:sp>
    </p:spTree>
    <p:extLst>
      <p:ext uri="{BB962C8B-B14F-4D97-AF65-F5344CB8AC3E}">
        <p14:creationId xmlns:p14="http://schemas.microsoft.com/office/powerpoint/2010/main" val="8221375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3924D-047C-E463-49AD-52F05370337D}"/>
              </a:ext>
            </a:extLst>
          </p:cNvPr>
          <p:cNvSpPr>
            <a:spLocks noGrp="1"/>
          </p:cNvSpPr>
          <p:nvPr>
            <p:ph type="title"/>
          </p:nvPr>
        </p:nvSpPr>
        <p:spPr>
          <a:xfrm>
            <a:off x="623888" y="1283491"/>
            <a:ext cx="7886700" cy="2141534"/>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8DC03561-D62A-CD3A-A9A2-A519B527B963}"/>
              </a:ext>
            </a:extLst>
          </p:cNvPr>
          <p:cNvSpPr>
            <a:spLocks noGrp="1"/>
          </p:cNvSpPr>
          <p:nvPr>
            <p:ph type="body" idx="1"/>
          </p:nvPr>
        </p:nvSpPr>
        <p:spPr>
          <a:xfrm>
            <a:off x="623888" y="3445285"/>
            <a:ext cx="7886700" cy="1126182"/>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17EDD7D-AFA6-E37C-579B-B39B664408D2}"/>
              </a:ext>
            </a:extLst>
          </p:cNvPr>
          <p:cNvSpPr>
            <a:spLocks noGrp="1"/>
          </p:cNvSpPr>
          <p:nvPr>
            <p:ph type="dt" sz="half" idx="10"/>
          </p:nvPr>
        </p:nvSpPr>
        <p:spPr/>
        <p:txBody>
          <a:bodyPr/>
          <a:lstStyle/>
          <a:p>
            <a:fld id="{4DF9BD04-AC8F-C749-915B-B556DB5A4514}" type="datetimeFigureOut">
              <a:rPr lang="en-US" smtClean="0"/>
              <a:t>5/10/2024</a:t>
            </a:fld>
            <a:endParaRPr lang="en-US"/>
          </a:p>
        </p:txBody>
      </p:sp>
      <p:sp>
        <p:nvSpPr>
          <p:cNvPr id="5" name="Footer Placeholder 4">
            <a:extLst>
              <a:ext uri="{FF2B5EF4-FFF2-40B4-BE49-F238E27FC236}">
                <a16:creationId xmlns:a16="http://schemas.microsoft.com/office/drawing/2014/main" id="{1F6269ED-84B8-B9AA-4E58-E117E5F6B93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ED1551-1D8B-2D96-E397-70B1000E4E10}"/>
              </a:ext>
            </a:extLst>
          </p:cNvPr>
          <p:cNvSpPr>
            <a:spLocks noGrp="1"/>
          </p:cNvSpPr>
          <p:nvPr>
            <p:ph type="sldNum" sz="quarter" idx="12"/>
          </p:nvPr>
        </p:nvSpPr>
        <p:spPr/>
        <p:txBody>
          <a:bodyPr/>
          <a:lstStyle/>
          <a:p>
            <a:fld id="{4284F903-39F6-7F40-986E-5F33C4BECFE0}" type="slidenum">
              <a:rPr lang="en-US" smtClean="0"/>
              <a:t>‹#›</a:t>
            </a:fld>
            <a:endParaRPr lang="en-US"/>
          </a:p>
        </p:txBody>
      </p:sp>
    </p:spTree>
    <p:extLst>
      <p:ext uri="{BB962C8B-B14F-4D97-AF65-F5344CB8AC3E}">
        <p14:creationId xmlns:p14="http://schemas.microsoft.com/office/powerpoint/2010/main" val="10489291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D6134B-04EF-AE48-89C1-C190B4E7B0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8A50EE-FEEA-BA77-462F-0CCCDB2D7907}"/>
              </a:ext>
            </a:extLst>
          </p:cNvPr>
          <p:cNvSpPr>
            <a:spLocks noGrp="1"/>
          </p:cNvSpPr>
          <p:nvPr>
            <p:ph sz="half" idx="1"/>
          </p:nvPr>
        </p:nvSpPr>
        <p:spPr>
          <a:xfrm>
            <a:off x="628650" y="1370486"/>
            <a:ext cx="3886200" cy="32665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64E3DC2-DDA2-992B-07A2-9A256EBBA5B5}"/>
              </a:ext>
            </a:extLst>
          </p:cNvPr>
          <p:cNvSpPr>
            <a:spLocks noGrp="1"/>
          </p:cNvSpPr>
          <p:nvPr>
            <p:ph sz="half" idx="2"/>
          </p:nvPr>
        </p:nvSpPr>
        <p:spPr>
          <a:xfrm>
            <a:off x="4629150" y="1370486"/>
            <a:ext cx="3886200" cy="32665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B2D8B5F-D3F1-E9C0-7F28-71BB3572B581}"/>
              </a:ext>
            </a:extLst>
          </p:cNvPr>
          <p:cNvSpPr>
            <a:spLocks noGrp="1"/>
          </p:cNvSpPr>
          <p:nvPr>
            <p:ph type="dt" sz="half" idx="10"/>
          </p:nvPr>
        </p:nvSpPr>
        <p:spPr/>
        <p:txBody>
          <a:bodyPr/>
          <a:lstStyle/>
          <a:p>
            <a:fld id="{4DF9BD04-AC8F-C749-915B-B556DB5A4514}" type="datetimeFigureOut">
              <a:rPr lang="en-US" smtClean="0"/>
              <a:t>5/10/2024</a:t>
            </a:fld>
            <a:endParaRPr lang="en-US"/>
          </a:p>
        </p:txBody>
      </p:sp>
      <p:sp>
        <p:nvSpPr>
          <p:cNvPr id="6" name="Footer Placeholder 5">
            <a:extLst>
              <a:ext uri="{FF2B5EF4-FFF2-40B4-BE49-F238E27FC236}">
                <a16:creationId xmlns:a16="http://schemas.microsoft.com/office/drawing/2014/main" id="{5391BB21-39D4-B2F4-8DF2-D570C48989E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DC5FFF-93E5-BD86-417F-40DEE5A0E7D7}"/>
              </a:ext>
            </a:extLst>
          </p:cNvPr>
          <p:cNvSpPr>
            <a:spLocks noGrp="1"/>
          </p:cNvSpPr>
          <p:nvPr>
            <p:ph type="sldNum" sz="quarter" idx="12"/>
          </p:nvPr>
        </p:nvSpPr>
        <p:spPr/>
        <p:txBody>
          <a:bodyPr/>
          <a:lstStyle/>
          <a:p>
            <a:fld id="{4284F903-39F6-7F40-986E-5F33C4BECFE0}" type="slidenum">
              <a:rPr lang="en-US" smtClean="0"/>
              <a:t>‹#›</a:t>
            </a:fld>
            <a:endParaRPr lang="en-US"/>
          </a:p>
        </p:txBody>
      </p:sp>
    </p:spTree>
    <p:extLst>
      <p:ext uri="{BB962C8B-B14F-4D97-AF65-F5344CB8AC3E}">
        <p14:creationId xmlns:p14="http://schemas.microsoft.com/office/powerpoint/2010/main" val="34734774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23485637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C222E-1214-2521-3A45-8EEBFF4BB9B8}"/>
              </a:ext>
            </a:extLst>
          </p:cNvPr>
          <p:cNvSpPr>
            <a:spLocks noGrp="1"/>
          </p:cNvSpPr>
          <p:nvPr>
            <p:ph type="title"/>
          </p:nvPr>
        </p:nvSpPr>
        <p:spPr>
          <a:xfrm>
            <a:off x="629841" y="274098"/>
            <a:ext cx="7886700" cy="99509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974198C-EF6A-8093-7599-12935CC85844}"/>
              </a:ext>
            </a:extLst>
          </p:cNvPr>
          <p:cNvSpPr>
            <a:spLocks noGrp="1"/>
          </p:cNvSpPr>
          <p:nvPr>
            <p:ph type="body" idx="1"/>
          </p:nvPr>
        </p:nvSpPr>
        <p:spPr>
          <a:xfrm>
            <a:off x="629842" y="1262040"/>
            <a:ext cx="3868340" cy="618506"/>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0C98D475-C8D7-800B-C73C-802416212C67}"/>
              </a:ext>
            </a:extLst>
          </p:cNvPr>
          <p:cNvSpPr>
            <a:spLocks noGrp="1"/>
          </p:cNvSpPr>
          <p:nvPr>
            <p:ph sz="half" idx="2"/>
          </p:nvPr>
        </p:nvSpPr>
        <p:spPr>
          <a:xfrm>
            <a:off x="629842" y="1880546"/>
            <a:ext cx="3868340" cy="276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5D4FB2B-89FA-FB14-3847-363FF9FBDF10}"/>
              </a:ext>
            </a:extLst>
          </p:cNvPr>
          <p:cNvSpPr>
            <a:spLocks noGrp="1"/>
          </p:cNvSpPr>
          <p:nvPr>
            <p:ph type="body" sz="quarter" idx="3"/>
          </p:nvPr>
        </p:nvSpPr>
        <p:spPr>
          <a:xfrm>
            <a:off x="4629150" y="1262040"/>
            <a:ext cx="3887391" cy="618506"/>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C3673424-0A50-A187-4A1D-5604A47B61DA}"/>
              </a:ext>
            </a:extLst>
          </p:cNvPr>
          <p:cNvSpPr>
            <a:spLocks noGrp="1"/>
          </p:cNvSpPr>
          <p:nvPr>
            <p:ph sz="quarter" idx="4"/>
          </p:nvPr>
        </p:nvSpPr>
        <p:spPr>
          <a:xfrm>
            <a:off x="4629150" y="1880546"/>
            <a:ext cx="3887391" cy="276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2395349-3B8E-ECE4-9104-C48439770BFA}"/>
              </a:ext>
            </a:extLst>
          </p:cNvPr>
          <p:cNvSpPr>
            <a:spLocks noGrp="1"/>
          </p:cNvSpPr>
          <p:nvPr>
            <p:ph type="dt" sz="half" idx="10"/>
          </p:nvPr>
        </p:nvSpPr>
        <p:spPr/>
        <p:txBody>
          <a:bodyPr/>
          <a:lstStyle/>
          <a:p>
            <a:fld id="{4DF9BD04-AC8F-C749-915B-B556DB5A4514}" type="datetimeFigureOut">
              <a:rPr lang="en-US" smtClean="0"/>
              <a:t>5/10/2024</a:t>
            </a:fld>
            <a:endParaRPr lang="en-US"/>
          </a:p>
        </p:txBody>
      </p:sp>
      <p:sp>
        <p:nvSpPr>
          <p:cNvPr id="8" name="Footer Placeholder 7">
            <a:extLst>
              <a:ext uri="{FF2B5EF4-FFF2-40B4-BE49-F238E27FC236}">
                <a16:creationId xmlns:a16="http://schemas.microsoft.com/office/drawing/2014/main" id="{EC18CD1C-331F-6E30-F3B7-C44626C4A03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CDAE133-FF72-37BE-1FE9-0CF118F43A01}"/>
              </a:ext>
            </a:extLst>
          </p:cNvPr>
          <p:cNvSpPr>
            <a:spLocks noGrp="1"/>
          </p:cNvSpPr>
          <p:nvPr>
            <p:ph type="sldNum" sz="quarter" idx="12"/>
          </p:nvPr>
        </p:nvSpPr>
        <p:spPr/>
        <p:txBody>
          <a:bodyPr/>
          <a:lstStyle/>
          <a:p>
            <a:fld id="{4284F903-39F6-7F40-986E-5F33C4BECFE0}" type="slidenum">
              <a:rPr lang="en-US" smtClean="0"/>
              <a:t>‹#›</a:t>
            </a:fld>
            <a:endParaRPr lang="en-US"/>
          </a:p>
        </p:txBody>
      </p:sp>
    </p:spTree>
    <p:extLst>
      <p:ext uri="{BB962C8B-B14F-4D97-AF65-F5344CB8AC3E}">
        <p14:creationId xmlns:p14="http://schemas.microsoft.com/office/powerpoint/2010/main" val="4210228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A0D3E-F717-95A9-406B-B87FC5BBEC8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D8DD731-DBD3-A77D-2513-6BA374672E0E}"/>
              </a:ext>
            </a:extLst>
          </p:cNvPr>
          <p:cNvSpPr>
            <a:spLocks noGrp="1"/>
          </p:cNvSpPr>
          <p:nvPr>
            <p:ph type="dt" sz="half" idx="10"/>
          </p:nvPr>
        </p:nvSpPr>
        <p:spPr/>
        <p:txBody>
          <a:bodyPr/>
          <a:lstStyle/>
          <a:p>
            <a:fld id="{4DF9BD04-AC8F-C749-915B-B556DB5A4514}" type="datetimeFigureOut">
              <a:rPr lang="en-US" smtClean="0"/>
              <a:t>5/10/2024</a:t>
            </a:fld>
            <a:endParaRPr lang="en-US"/>
          </a:p>
        </p:txBody>
      </p:sp>
      <p:sp>
        <p:nvSpPr>
          <p:cNvPr id="4" name="Footer Placeholder 3">
            <a:extLst>
              <a:ext uri="{FF2B5EF4-FFF2-40B4-BE49-F238E27FC236}">
                <a16:creationId xmlns:a16="http://schemas.microsoft.com/office/drawing/2014/main" id="{1365685C-3ADE-C3EC-99F2-46AFC130D56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E5878D6-BEAE-656D-9343-7EE081426336}"/>
              </a:ext>
            </a:extLst>
          </p:cNvPr>
          <p:cNvSpPr>
            <a:spLocks noGrp="1"/>
          </p:cNvSpPr>
          <p:nvPr>
            <p:ph type="sldNum" sz="quarter" idx="12"/>
          </p:nvPr>
        </p:nvSpPr>
        <p:spPr/>
        <p:txBody>
          <a:bodyPr/>
          <a:lstStyle/>
          <a:p>
            <a:fld id="{4284F903-39F6-7F40-986E-5F33C4BECFE0}" type="slidenum">
              <a:rPr lang="en-US" smtClean="0"/>
              <a:t>‹#›</a:t>
            </a:fld>
            <a:endParaRPr lang="en-US"/>
          </a:p>
        </p:txBody>
      </p:sp>
    </p:spTree>
    <p:extLst>
      <p:ext uri="{BB962C8B-B14F-4D97-AF65-F5344CB8AC3E}">
        <p14:creationId xmlns:p14="http://schemas.microsoft.com/office/powerpoint/2010/main" val="17938019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06FB842-F39C-1F83-5AA4-5C49E5D317F5}"/>
              </a:ext>
            </a:extLst>
          </p:cNvPr>
          <p:cNvSpPr>
            <a:spLocks noGrp="1"/>
          </p:cNvSpPr>
          <p:nvPr>
            <p:ph type="dt" sz="half" idx="10"/>
          </p:nvPr>
        </p:nvSpPr>
        <p:spPr/>
        <p:txBody>
          <a:bodyPr/>
          <a:lstStyle/>
          <a:p>
            <a:fld id="{4DF9BD04-AC8F-C749-915B-B556DB5A4514}" type="datetimeFigureOut">
              <a:rPr lang="en-US" smtClean="0"/>
              <a:t>5/10/2024</a:t>
            </a:fld>
            <a:endParaRPr lang="en-US"/>
          </a:p>
        </p:txBody>
      </p:sp>
      <p:sp>
        <p:nvSpPr>
          <p:cNvPr id="3" name="Footer Placeholder 2">
            <a:extLst>
              <a:ext uri="{FF2B5EF4-FFF2-40B4-BE49-F238E27FC236}">
                <a16:creationId xmlns:a16="http://schemas.microsoft.com/office/drawing/2014/main" id="{A6FBF7D3-7EDE-D4A4-CD48-2B1507D9292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C585A54-2B8E-06AF-07CC-65F17C36E08B}"/>
              </a:ext>
            </a:extLst>
          </p:cNvPr>
          <p:cNvSpPr>
            <a:spLocks noGrp="1"/>
          </p:cNvSpPr>
          <p:nvPr>
            <p:ph type="sldNum" sz="quarter" idx="12"/>
          </p:nvPr>
        </p:nvSpPr>
        <p:spPr/>
        <p:txBody>
          <a:bodyPr/>
          <a:lstStyle/>
          <a:p>
            <a:fld id="{4284F903-39F6-7F40-986E-5F33C4BECFE0}" type="slidenum">
              <a:rPr lang="en-US" smtClean="0"/>
              <a:t>‹#›</a:t>
            </a:fld>
            <a:endParaRPr lang="en-US"/>
          </a:p>
        </p:txBody>
      </p:sp>
    </p:spTree>
    <p:extLst>
      <p:ext uri="{BB962C8B-B14F-4D97-AF65-F5344CB8AC3E}">
        <p14:creationId xmlns:p14="http://schemas.microsoft.com/office/powerpoint/2010/main" val="32138873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F0E533-A7B4-5BDF-1A13-43E22B755258}"/>
              </a:ext>
            </a:extLst>
          </p:cNvPr>
          <p:cNvSpPr>
            <a:spLocks noGrp="1"/>
          </p:cNvSpPr>
          <p:nvPr>
            <p:ph type="title"/>
          </p:nvPr>
        </p:nvSpPr>
        <p:spPr>
          <a:xfrm>
            <a:off x="629841" y="343218"/>
            <a:ext cx="2949178" cy="1201261"/>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BFFF43EC-9DF5-A72A-464E-8A4C3AB2ABB4}"/>
              </a:ext>
            </a:extLst>
          </p:cNvPr>
          <p:cNvSpPr>
            <a:spLocks noGrp="1"/>
          </p:cNvSpPr>
          <p:nvPr>
            <p:ph idx="1"/>
          </p:nvPr>
        </p:nvSpPr>
        <p:spPr>
          <a:xfrm>
            <a:off x="3887391" y="741255"/>
            <a:ext cx="4629150" cy="3658604"/>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671E1D4-A0F6-51C5-E1B0-6CBC89C03FBA}"/>
              </a:ext>
            </a:extLst>
          </p:cNvPr>
          <p:cNvSpPr>
            <a:spLocks noGrp="1"/>
          </p:cNvSpPr>
          <p:nvPr>
            <p:ph type="body" sz="half" idx="2"/>
          </p:nvPr>
        </p:nvSpPr>
        <p:spPr>
          <a:xfrm>
            <a:off x="629841" y="1544479"/>
            <a:ext cx="2949178" cy="286133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23761531-2DBF-B4C4-C903-72535BF92773}"/>
              </a:ext>
            </a:extLst>
          </p:cNvPr>
          <p:cNvSpPr>
            <a:spLocks noGrp="1"/>
          </p:cNvSpPr>
          <p:nvPr>
            <p:ph type="dt" sz="half" idx="10"/>
          </p:nvPr>
        </p:nvSpPr>
        <p:spPr/>
        <p:txBody>
          <a:bodyPr/>
          <a:lstStyle/>
          <a:p>
            <a:fld id="{4DF9BD04-AC8F-C749-915B-B556DB5A4514}" type="datetimeFigureOut">
              <a:rPr lang="en-US" smtClean="0"/>
              <a:t>5/10/2024</a:t>
            </a:fld>
            <a:endParaRPr lang="en-US"/>
          </a:p>
        </p:txBody>
      </p:sp>
      <p:sp>
        <p:nvSpPr>
          <p:cNvPr id="6" name="Footer Placeholder 5">
            <a:extLst>
              <a:ext uri="{FF2B5EF4-FFF2-40B4-BE49-F238E27FC236}">
                <a16:creationId xmlns:a16="http://schemas.microsoft.com/office/drawing/2014/main" id="{E9104103-7CB4-2D3B-8A06-DE79412EDDE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C36C2DB-149C-AD6D-2022-887D8076C1EA}"/>
              </a:ext>
            </a:extLst>
          </p:cNvPr>
          <p:cNvSpPr>
            <a:spLocks noGrp="1"/>
          </p:cNvSpPr>
          <p:nvPr>
            <p:ph type="sldNum" sz="quarter" idx="12"/>
          </p:nvPr>
        </p:nvSpPr>
        <p:spPr/>
        <p:txBody>
          <a:bodyPr/>
          <a:lstStyle/>
          <a:p>
            <a:fld id="{4284F903-39F6-7F40-986E-5F33C4BECFE0}" type="slidenum">
              <a:rPr lang="en-US" smtClean="0"/>
              <a:t>‹#›</a:t>
            </a:fld>
            <a:endParaRPr lang="en-US"/>
          </a:p>
        </p:txBody>
      </p:sp>
    </p:spTree>
    <p:extLst>
      <p:ext uri="{BB962C8B-B14F-4D97-AF65-F5344CB8AC3E}">
        <p14:creationId xmlns:p14="http://schemas.microsoft.com/office/powerpoint/2010/main" val="237556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06872D-E5F7-B3B7-E2C7-C8D84CE0F82A}"/>
              </a:ext>
            </a:extLst>
          </p:cNvPr>
          <p:cNvSpPr>
            <a:spLocks noGrp="1"/>
          </p:cNvSpPr>
          <p:nvPr>
            <p:ph type="title"/>
          </p:nvPr>
        </p:nvSpPr>
        <p:spPr>
          <a:xfrm>
            <a:off x="629841" y="343218"/>
            <a:ext cx="2949178" cy="1201261"/>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DEAEF418-3C23-760C-2B47-C4B7D79FD7C0}"/>
              </a:ext>
            </a:extLst>
          </p:cNvPr>
          <p:cNvSpPr>
            <a:spLocks noGrp="1"/>
          </p:cNvSpPr>
          <p:nvPr>
            <p:ph type="pic" idx="1"/>
          </p:nvPr>
        </p:nvSpPr>
        <p:spPr>
          <a:xfrm>
            <a:off x="3887391" y="741255"/>
            <a:ext cx="4629150" cy="3658604"/>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A9A0B111-8E31-7ED7-23D8-4D3554DAE936}"/>
              </a:ext>
            </a:extLst>
          </p:cNvPr>
          <p:cNvSpPr>
            <a:spLocks noGrp="1"/>
          </p:cNvSpPr>
          <p:nvPr>
            <p:ph type="body" sz="half" idx="2"/>
          </p:nvPr>
        </p:nvSpPr>
        <p:spPr>
          <a:xfrm>
            <a:off x="629841" y="1544479"/>
            <a:ext cx="2949178" cy="286133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CDDB22C9-5865-2F4C-E053-C9EDFD5024E0}"/>
              </a:ext>
            </a:extLst>
          </p:cNvPr>
          <p:cNvSpPr>
            <a:spLocks noGrp="1"/>
          </p:cNvSpPr>
          <p:nvPr>
            <p:ph type="dt" sz="half" idx="10"/>
          </p:nvPr>
        </p:nvSpPr>
        <p:spPr/>
        <p:txBody>
          <a:bodyPr/>
          <a:lstStyle/>
          <a:p>
            <a:fld id="{4DF9BD04-AC8F-C749-915B-B556DB5A4514}" type="datetimeFigureOut">
              <a:rPr lang="en-US" smtClean="0"/>
              <a:t>5/10/2024</a:t>
            </a:fld>
            <a:endParaRPr lang="en-US"/>
          </a:p>
        </p:txBody>
      </p:sp>
      <p:sp>
        <p:nvSpPr>
          <p:cNvPr id="6" name="Footer Placeholder 5">
            <a:extLst>
              <a:ext uri="{FF2B5EF4-FFF2-40B4-BE49-F238E27FC236}">
                <a16:creationId xmlns:a16="http://schemas.microsoft.com/office/drawing/2014/main" id="{BF66E4F0-C11D-E296-6593-F39B6388347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4AAC20-7050-72AE-7F80-23117B2EE107}"/>
              </a:ext>
            </a:extLst>
          </p:cNvPr>
          <p:cNvSpPr>
            <a:spLocks noGrp="1"/>
          </p:cNvSpPr>
          <p:nvPr>
            <p:ph type="sldNum" sz="quarter" idx="12"/>
          </p:nvPr>
        </p:nvSpPr>
        <p:spPr/>
        <p:txBody>
          <a:bodyPr/>
          <a:lstStyle/>
          <a:p>
            <a:fld id="{4284F903-39F6-7F40-986E-5F33C4BECFE0}" type="slidenum">
              <a:rPr lang="en-US" smtClean="0"/>
              <a:t>‹#›</a:t>
            </a:fld>
            <a:endParaRPr lang="en-US"/>
          </a:p>
        </p:txBody>
      </p:sp>
    </p:spTree>
    <p:extLst>
      <p:ext uri="{BB962C8B-B14F-4D97-AF65-F5344CB8AC3E}">
        <p14:creationId xmlns:p14="http://schemas.microsoft.com/office/powerpoint/2010/main" val="35532798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67A9D1-8453-691B-2B4C-D5FE7365831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97A77F7-2F27-6F87-190E-1B0BAE58359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F26B932-8DD0-B015-EF9A-027FFEF0038D}"/>
              </a:ext>
            </a:extLst>
          </p:cNvPr>
          <p:cNvSpPr>
            <a:spLocks noGrp="1"/>
          </p:cNvSpPr>
          <p:nvPr>
            <p:ph type="dt" sz="half" idx="10"/>
          </p:nvPr>
        </p:nvSpPr>
        <p:spPr/>
        <p:txBody>
          <a:bodyPr/>
          <a:lstStyle/>
          <a:p>
            <a:fld id="{4DF9BD04-AC8F-C749-915B-B556DB5A4514}" type="datetimeFigureOut">
              <a:rPr lang="en-US" smtClean="0"/>
              <a:t>5/10/2024</a:t>
            </a:fld>
            <a:endParaRPr lang="en-US"/>
          </a:p>
        </p:txBody>
      </p:sp>
      <p:sp>
        <p:nvSpPr>
          <p:cNvPr id="5" name="Footer Placeholder 4">
            <a:extLst>
              <a:ext uri="{FF2B5EF4-FFF2-40B4-BE49-F238E27FC236}">
                <a16:creationId xmlns:a16="http://schemas.microsoft.com/office/drawing/2014/main" id="{DCCCE6C2-1791-98E0-53BD-FE75ECA76B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8172F3-7B56-AA78-E80E-FE7454E4E001}"/>
              </a:ext>
            </a:extLst>
          </p:cNvPr>
          <p:cNvSpPr>
            <a:spLocks noGrp="1"/>
          </p:cNvSpPr>
          <p:nvPr>
            <p:ph type="sldNum" sz="quarter" idx="12"/>
          </p:nvPr>
        </p:nvSpPr>
        <p:spPr/>
        <p:txBody>
          <a:bodyPr/>
          <a:lstStyle/>
          <a:p>
            <a:fld id="{4284F903-39F6-7F40-986E-5F33C4BECFE0}" type="slidenum">
              <a:rPr lang="en-US" smtClean="0"/>
              <a:t>‹#›</a:t>
            </a:fld>
            <a:endParaRPr lang="en-US"/>
          </a:p>
        </p:txBody>
      </p:sp>
    </p:spTree>
    <p:extLst>
      <p:ext uri="{BB962C8B-B14F-4D97-AF65-F5344CB8AC3E}">
        <p14:creationId xmlns:p14="http://schemas.microsoft.com/office/powerpoint/2010/main" val="306629483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8E2C164-6A2B-568B-8998-08B6D66490F8}"/>
              </a:ext>
            </a:extLst>
          </p:cNvPr>
          <p:cNvSpPr>
            <a:spLocks noGrp="1"/>
          </p:cNvSpPr>
          <p:nvPr>
            <p:ph type="title" orient="vert"/>
          </p:nvPr>
        </p:nvSpPr>
        <p:spPr>
          <a:xfrm>
            <a:off x="6543675" y="274097"/>
            <a:ext cx="1971675" cy="4362915"/>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2393B59-437F-F44B-8CF8-8B1BD4D8BE90}"/>
              </a:ext>
            </a:extLst>
          </p:cNvPr>
          <p:cNvSpPr>
            <a:spLocks noGrp="1"/>
          </p:cNvSpPr>
          <p:nvPr>
            <p:ph type="body" orient="vert" idx="1"/>
          </p:nvPr>
        </p:nvSpPr>
        <p:spPr>
          <a:xfrm>
            <a:off x="628650" y="274097"/>
            <a:ext cx="5800725" cy="436291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A3FADE-E511-BCC2-B898-8D718509D8AC}"/>
              </a:ext>
            </a:extLst>
          </p:cNvPr>
          <p:cNvSpPr>
            <a:spLocks noGrp="1"/>
          </p:cNvSpPr>
          <p:nvPr>
            <p:ph type="dt" sz="half" idx="10"/>
          </p:nvPr>
        </p:nvSpPr>
        <p:spPr/>
        <p:txBody>
          <a:bodyPr/>
          <a:lstStyle/>
          <a:p>
            <a:fld id="{4DF9BD04-AC8F-C749-915B-B556DB5A4514}" type="datetimeFigureOut">
              <a:rPr lang="en-US" smtClean="0"/>
              <a:t>5/10/2024</a:t>
            </a:fld>
            <a:endParaRPr lang="en-US"/>
          </a:p>
        </p:txBody>
      </p:sp>
      <p:sp>
        <p:nvSpPr>
          <p:cNvPr id="5" name="Footer Placeholder 4">
            <a:extLst>
              <a:ext uri="{FF2B5EF4-FFF2-40B4-BE49-F238E27FC236}">
                <a16:creationId xmlns:a16="http://schemas.microsoft.com/office/drawing/2014/main" id="{4120FB9A-DA1B-4F18-7AFB-D32B746A572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07C1E1-7D12-4553-7B4B-C8C3EC0E2E21}"/>
              </a:ext>
            </a:extLst>
          </p:cNvPr>
          <p:cNvSpPr>
            <a:spLocks noGrp="1"/>
          </p:cNvSpPr>
          <p:nvPr>
            <p:ph type="sldNum" sz="quarter" idx="12"/>
          </p:nvPr>
        </p:nvSpPr>
        <p:spPr/>
        <p:txBody>
          <a:bodyPr/>
          <a:lstStyle/>
          <a:p>
            <a:fld id="{4284F903-39F6-7F40-986E-5F33C4BECFE0}" type="slidenum">
              <a:rPr lang="en-US" smtClean="0"/>
              <a:t>‹#›</a:t>
            </a:fld>
            <a:endParaRPr lang="en-US"/>
          </a:p>
        </p:txBody>
      </p:sp>
    </p:spTree>
    <p:extLst>
      <p:ext uri="{BB962C8B-B14F-4D97-AF65-F5344CB8AC3E}">
        <p14:creationId xmlns:p14="http://schemas.microsoft.com/office/powerpoint/2010/main" val="3722202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1249681"/>
            <a:ext cx="6400800" cy="2651759"/>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a:t>Click to edit Master subtitle style</a:t>
            </a:r>
          </a:p>
        </p:txBody>
      </p:sp>
      <p:sp>
        <p:nvSpPr>
          <p:cNvPr id="6" name="Title 1"/>
          <p:cNvSpPr>
            <a:spLocks noGrp="1"/>
          </p:cNvSpPr>
          <p:nvPr>
            <p:ph type="title"/>
          </p:nvPr>
        </p:nvSpPr>
        <p:spPr>
          <a:xfrm>
            <a:off x="0" y="132080"/>
            <a:ext cx="9144000" cy="1006507"/>
          </a:xfrm>
          <a:prstGeom prst="rect">
            <a:avLst/>
          </a:prstGeom>
          <a:noFill/>
        </p:spPr>
        <p:txBody>
          <a:bodyPr/>
          <a:lstStyle>
            <a:lvl1pPr>
              <a:defRPr>
                <a:solidFill>
                  <a:srgbClr val="002450"/>
                </a:solidFill>
              </a:defRPr>
            </a:lvl1pPr>
          </a:lstStyle>
          <a:p>
            <a:r>
              <a:rPr lang="en-US" dirty="0"/>
              <a:t>Click to edit Master title style</a:t>
            </a:r>
          </a:p>
        </p:txBody>
      </p:sp>
    </p:spTree>
    <p:extLst>
      <p:ext uri="{BB962C8B-B14F-4D97-AF65-F5344CB8AC3E}">
        <p14:creationId xmlns:p14="http://schemas.microsoft.com/office/powerpoint/2010/main" val="253873040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844550"/>
            <a:ext cx="7772400" cy="31472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376770596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1117600"/>
            <a:ext cx="3810000" cy="29362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117600"/>
            <a:ext cx="3810000" cy="29362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
        <p:nvSpPr>
          <p:cNvPr id="6" name="Title 1"/>
          <p:cNvSpPr>
            <a:spLocks noGrp="1"/>
          </p:cNvSpPr>
          <p:nvPr>
            <p:ph type="title"/>
          </p:nvPr>
        </p:nvSpPr>
        <p:spPr>
          <a:xfrm>
            <a:off x="0" y="127465"/>
            <a:ext cx="9144000" cy="695496"/>
          </a:xfrm>
          <a:prstGeom prst="rect">
            <a:avLst/>
          </a:prstGeom>
          <a:noFill/>
        </p:spPr>
        <p:txBody>
          <a:bodyPr/>
          <a:lstStyle>
            <a:lvl1pPr>
              <a:defRPr>
                <a:solidFill>
                  <a:srgbClr val="003465"/>
                </a:solidFill>
              </a:defRPr>
            </a:lvl1pPr>
          </a:lstStyle>
          <a:p>
            <a:r>
              <a:rPr lang="en-US" dirty="0"/>
              <a:t>Click to edit Master title style</a:t>
            </a:r>
          </a:p>
        </p:txBody>
      </p:sp>
    </p:spTree>
    <p:extLst>
      <p:ext uri="{BB962C8B-B14F-4D97-AF65-F5344CB8AC3E}">
        <p14:creationId xmlns:p14="http://schemas.microsoft.com/office/powerpoint/2010/main" val="22527680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3784"/>
            <a:ext cx="5486400" cy="425447"/>
          </a:xfrm>
          <a:prstGeom prst="rect">
            <a:avLst/>
          </a:prstGeom>
        </p:spPr>
        <p:txBody>
          <a:bodyPr anchor="b"/>
          <a:lstStyle>
            <a:lvl1pPr algn="l">
              <a:defRPr sz="2000" b="0" i="1"/>
            </a:lvl1pPr>
          </a:lstStyle>
          <a:p>
            <a:r>
              <a:rPr lang="en-US"/>
              <a:t>Click to edit Master title style</a:t>
            </a:r>
            <a:endParaRPr lang="en-US" dirty="0"/>
          </a:p>
        </p:txBody>
      </p:sp>
      <p:sp>
        <p:nvSpPr>
          <p:cNvPr id="3" name="Picture Placeholder 2"/>
          <p:cNvSpPr>
            <a:spLocks noGrp="1"/>
          </p:cNvSpPr>
          <p:nvPr>
            <p:ph type="pic" idx="1"/>
          </p:nvPr>
        </p:nvSpPr>
        <p:spPr>
          <a:xfrm>
            <a:off x="1792288" y="460007"/>
            <a:ext cx="5486400" cy="308895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Drag picture to placeholder or click icon to add</a:t>
            </a:r>
          </a:p>
        </p:txBody>
      </p:sp>
      <p:sp>
        <p:nvSpPr>
          <p:cNvPr id="4" name="Text Placeholder 3"/>
          <p:cNvSpPr>
            <a:spLocks noGrp="1"/>
          </p:cNvSpPr>
          <p:nvPr>
            <p:ph type="body" sz="half" idx="2"/>
          </p:nvPr>
        </p:nvSpPr>
        <p:spPr>
          <a:xfrm>
            <a:off x="1792288" y="4029231"/>
            <a:ext cx="5486400" cy="54497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264347959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27464"/>
            <a:ext cx="9144000" cy="1006507"/>
          </a:xfrm>
          <a:prstGeom prst="rect">
            <a:avLst/>
          </a:prstGeom>
          <a:noFill/>
        </p:spPr>
        <p:txBody>
          <a:bodyPr/>
          <a:lstStyle>
            <a:lvl1pPr>
              <a:defRPr>
                <a:solidFill>
                  <a:srgbClr val="002450"/>
                </a:solidFill>
              </a:defRPr>
            </a:lvl1pPr>
          </a:lstStyle>
          <a:p>
            <a:r>
              <a:rPr lang="en-US" dirty="0"/>
              <a:t>Click to edit Master title style</a:t>
            </a:r>
          </a:p>
        </p:txBody>
      </p:sp>
      <p:sp>
        <p:nvSpPr>
          <p:cNvPr id="3"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184647676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3377052"/>
      </p:ext>
    </p:extLst>
  </p:cSld>
  <p:clrMapOvr>
    <a:masterClrMapping/>
  </p:clrMapOvr>
  <p:extLst>
    <p:ext uri="{DCECCB84-F9BA-43D5-87BE-67443E8EF086}">
      <p15:sldGuideLst xmlns:p15="http://schemas.microsoft.com/office/powerpoint/2012/main">
        <p15:guide id="1" orient="horz" pos="1621">
          <p15:clr>
            <a:srgbClr val="FBAE40"/>
          </p15:clr>
        </p15:guide>
        <p15:guide id="2" pos="288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3784"/>
            <a:ext cx="5486400" cy="425447"/>
          </a:xfrm>
          <a:prstGeom prst="rect">
            <a:avLst/>
          </a:prstGeom>
        </p:spPr>
        <p:txBody>
          <a:bodyPr anchor="b"/>
          <a:lstStyle>
            <a:lvl1pPr algn="l">
              <a:defRPr sz="2000" b="0" i="1"/>
            </a:lvl1pPr>
          </a:lstStyle>
          <a:p>
            <a:r>
              <a:rPr lang="en-US"/>
              <a:t>Click to edit Master title style</a:t>
            </a:r>
            <a:endParaRPr lang="en-US" dirty="0"/>
          </a:p>
        </p:txBody>
      </p:sp>
      <p:sp>
        <p:nvSpPr>
          <p:cNvPr id="3" name="Picture Placeholder 2"/>
          <p:cNvSpPr>
            <a:spLocks noGrp="1"/>
          </p:cNvSpPr>
          <p:nvPr>
            <p:ph type="pic" idx="1"/>
          </p:nvPr>
        </p:nvSpPr>
        <p:spPr>
          <a:xfrm>
            <a:off x="1792288" y="460007"/>
            <a:ext cx="5486400" cy="308895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Drag picture to placeholder or click icon to add</a:t>
            </a:r>
          </a:p>
        </p:txBody>
      </p:sp>
      <p:sp>
        <p:nvSpPr>
          <p:cNvPr id="4" name="Text Placeholder 3"/>
          <p:cNvSpPr>
            <a:spLocks noGrp="1"/>
          </p:cNvSpPr>
          <p:nvPr>
            <p:ph type="body" sz="half" idx="2"/>
          </p:nvPr>
        </p:nvSpPr>
        <p:spPr>
          <a:xfrm>
            <a:off x="1792288" y="4029231"/>
            <a:ext cx="5486400" cy="54497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30951996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006507"/>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224325894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a:t>Click to edit Master title style</a:t>
            </a:r>
          </a:p>
        </p:txBody>
      </p:sp>
      <p:sp>
        <p:nvSpPr>
          <p:cNvPr id="3" name="Footer Placeholder 2"/>
          <p:cNvSpPr>
            <a:spLocks noGrp="1"/>
          </p:cNvSpPr>
          <p:nvPr>
            <p:ph type="ftr" sz="quarter" idx="10"/>
          </p:nvPr>
        </p:nvSpPr>
        <p:spPr>
          <a:xfrm>
            <a:off x="2897632" y="4593882"/>
            <a:ext cx="3903712" cy="417515"/>
          </a:xfrm>
          <a:prstGeom prst="rect">
            <a:avLst/>
          </a:prstGeom>
        </p:spPr>
        <p:txBody>
          <a:bodyPr/>
          <a:lstStyle/>
          <a:p>
            <a:endParaRPr lang="en-US" dirty="0"/>
          </a:p>
        </p:txBody>
      </p:sp>
    </p:spTree>
    <p:extLst>
      <p:ext uri="{BB962C8B-B14F-4D97-AF65-F5344CB8AC3E}">
        <p14:creationId xmlns:p14="http://schemas.microsoft.com/office/powerpoint/2010/main" val="181980968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dder/RCC">
    <p:spTree>
      <p:nvGrpSpPr>
        <p:cNvPr id="1" name=""/>
        <p:cNvGrpSpPr/>
        <p:nvPr/>
      </p:nvGrpSpPr>
      <p:grpSpPr>
        <a:xfrm>
          <a:off x="0" y="0"/>
          <a:ext cx="0" cy="0"/>
          <a:chOff x="0" y="0"/>
          <a:chExt cx="0" cy="0"/>
        </a:xfrm>
      </p:grpSpPr>
      <p:pic>
        <p:nvPicPr>
          <p:cNvPr id="7" name="Picture 6" descr="Graphical user interface, website&#10;&#10;Description automatically generated">
            <a:extLst>
              <a:ext uri="{FF2B5EF4-FFF2-40B4-BE49-F238E27FC236}">
                <a16:creationId xmlns:a16="http://schemas.microsoft.com/office/drawing/2014/main" id="{26B5E6D9-A130-A85C-4BEC-0AEA72687438}"/>
              </a:ext>
            </a:extLst>
          </p:cNvPr>
          <p:cNvPicPr>
            <a:picLocks noChangeAspect="1"/>
          </p:cNvPicPr>
          <p:nvPr userDrawn="1"/>
        </p:nvPicPr>
        <p:blipFill>
          <a:blip r:embed="rId2"/>
          <a:stretch>
            <a:fillRect/>
          </a:stretch>
        </p:blipFill>
        <p:spPr>
          <a:xfrm>
            <a:off x="7037" y="-1"/>
            <a:ext cx="9129925" cy="5148263"/>
          </a:xfrm>
          <a:prstGeom prst="rect">
            <a:avLst/>
          </a:prstGeom>
        </p:spPr>
      </p:pic>
    </p:spTree>
    <p:extLst>
      <p:ext uri="{BB962C8B-B14F-4D97-AF65-F5344CB8AC3E}">
        <p14:creationId xmlns:p14="http://schemas.microsoft.com/office/powerpoint/2010/main" val="425973260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Lung">
    <p:spTree>
      <p:nvGrpSpPr>
        <p:cNvPr id="1" name=""/>
        <p:cNvGrpSpPr/>
        <p:nvPr/>
      </p:nvGrpSpPr>
      <p:grpSpPr>
        <a:xfrm>
          <a:off x="0" y="0"/>
          <a:ext cx="0" cy="0"/>
          <a:chOff x="0" y="0"/>
          <a:chExt cx="0" cy="0"/>
        </a:xfrm>
      </p:grpSpPr>
      <p:pic>
        <p:nvPicPr>
          <p:cNvPr id="3" name="Picture 2" descr="Graphical user interface&#10;&#10;Description automatically generated">
            <a:extLst>
              <a:ext uri="{FF2B5EF4-FFF2-40B4-BE49-F238E27FC236}">
                <a16:creationId xmlns:a16="http://schemas.microsoft.com/office/drawing/2014/main" id="{31D1E0C4-497D-B719-A531-EF18537B06A7}"/>
              </a:ext>
            </a:extLst>
          </p:cNvPr>
          <p:cNvPicPr>
            <a:picLocks noChangeAspect="1"/>
          </p:cNvPicPr>
          <p:nvPr userDrawn="1"/>
        </p:nvPicPr>
        <p:blipFill>
          <a:blip r:embed="rId2"/>
          <a:stretch>
            <a:fillRect/>
          </a:stretch>
        </p:blipFill>
        <p:spPr>
          <a:xfrm>
            <a:off x="7037" y="0"/>
            <a:ext cx="9129925" cy="5148263"/>
          </a:xfrm>
          <a:prstGeom prst="rect">
            <a:avLst/>
          </a:prstGeom>
        </p:spPr>
      </p:pic>
    </p:spTree>
    <p:extLst>
      <p:ext uri="{BB962C8B-B14F-4D97-AF65-F5344CB8AC3E}">
        <p14:creationId xmlns:p14="http://schemas.microsoft.com/office/powerpoint/2010/main" val="72427441"/>
      </p:ext>
    </p:extLst>
  </p:cSld>
  <p:clrMapOvr>
    <a:masterClrMapping/>
  </p:clrMapOvr>
  <p:extLst>
    <p:ext uri="{DCECCB84-F9BA-43D5-87BE-67443E8EF086}">
      <p15:sldGuideLst xmlns:p15="http://schemas.microsoft.com/office/powerpoint/2012/main">
        <p15:guide id="1" orient="horz" pos="1621">
          <p15:clr>
            <a:srgbClr val="FBAE40"/>
          </p15:clr>
        </p15:guide>
        <p15:guide id="2" pos="288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eople">
    <p:spTree>
      <p:nvGrpSpPr>
        <p:cNvPr id="1" name=""/>
        <p:cNvGrpSpPr/>
        <p:nvPr/>
      </p:nvGrpSpPr>
      <p:grpSpPr>
        <a:xfrm>
          <a:off x="0" y="0"/>
          <a:ext cx="0" cy="0"/>
          <a:chOff x="0" y="0"/>
          <a:chExt cx="0" cy="0"/>
        </a:xfrm>
      </p:grpSpPr>
      <p:pic>
        <p:nvPicPr>
          <p:cNvPr id="3" name="Picture 2" descr="Graphical user interface&#10;&#10;Description automatically generated">
            <a:extLst>
              <a:ext uri="{FF2B5EF4-FFF2-40B4-BE49-F238E27FC236}">
                <a16:creationId xmlns:a16="http://schemas.microsoft.com/office/drawing/2014/main" id="{44DB8FDD-4B4D-2D77-1C61-26744F17FEFC}"/>
              </a:ext>
            </a:extLst>
          </p:cNvPr>
          <p:cNvPicPr>
            <a:picLocks noChangeAspect="1"/>
          </p:cNvPicPr>
          <p:nvPr userDrawn="1"/>
        </p:nvPicPr>
        <p:blipFill>
          <a:blip r:embed="rId2"/>
          <a:stretch>
            <a:fillRect/>
          </a:stretch>
        </p:blipFill>
        <p:spPr>
          <a:xfrm>
            <a:off x="0" y="-1"/>
            <a:ext cx="9129925" cy="5148263"/>
          </a:xfrm>
          <a:prstGeom prst="rect">
            <a:avLst/>
          </a:prstGeom>
        </p:spPr>
      </p:pic>
    </p:spTree>
    <p:extLst>
      <p:ext uri="{BB962C8B-B14F-4D97-AF65-F5344CB8AC3E}">
        <p14:creationId xmlns:p14="http://schemas.microsoft.com/office/powerpoint/2010/main" val="16827857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LL">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5B1B96D6-1054-EAFB-18A2-98214F3B8225}"/>
              </a:ext>
            </a:extLst>
          </p:cNvPr>
          <p:cNvPicPr>
            <a:picLocks noChangeAspect="1"/>
          </p:cNvPicPr>
          <p:nvPr userDrawn="1"/>
        </p:nvPicPr>
        <p:blipFill>
          <a:blip r:embed="rId2"/>
          <a:stretch>
            <a:fillRect/>
          </a:stretch>
        </p:blipFill>
        <p:spPr>
          <a:xfrm>
            <a:off x="-1" y="-12701"/>
            <a:ext cx="9129925" cy="5148263"/>
          </a:xfrm>
          <a:prstGeom prst="rect">
            <a:avLst/>
          </a:prstGeom>
        </p:spPr>
      </p:pic>
      <p:pic>
        <p:nvPicPr>
          <p:cNvPr id="5" name="Picture 4" descr="A close-up of a logo&#10;&#10;Description automatically generated">
            <a:extLst>
              <a:ext uri="{FF2B5EF4-FFF2-40B4-BE49-F238E27FC236}">
                <a16:creationId xmlns:a16="http://schemas.microsoft.com/office/drawing/2014/main" id="{AE94042B-A304-F0FE-5414-32D1EDAE8064}"/>
              </a:ext>
            </a:extLst>
          </p:cNvPr>
          <p:cNvPicPr>
            <a:picLocks noChangeAspect="1"/>
          </p:cNvPicPr>
          <p:nvPr userDrawn="1"/>
        </p:nvPicPr>
        <p:blipFill>
          <a:blip r:embed="rId3"/>
          <a:stretch>
            <a:fillRect/>
          </a:stretch>
        </p:blipFill>
        <p:spPr>
          <a:xfrm>
            <a:off x="6141720" y="4290060"/>
            <a:ext cx="2926641" cy="598912"/>
          </a:xfrm>
          <a:prstGeom prst="rect">
            <a:avLst/>
          </a:prstGeom>
        </p:spPr>
      </p:pic>
    </p:spTree>
    <p:extLst>
      <p:ext uri="{BB962C8B-B14F-4D97-AF65-F5344CB8AC3E}">
        <p14:creationId xmlns:p14="http://schemas.microsoft.com/office/powerpoint/2010/main" val="196308213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General1">
    <p:spTree>
      <p:nvGrpSpPr>
        <p:cNvPr id="1" name=""/>
        <p:cNvGrpSpPr/>
        <p:nvPr/>
      </p:nvGrpSpPr>
      <p:grpSpPr>
        <a:xfrm>
          <a:off x="0" y="0"/>
          <a:ext cx="0" cy="0"/>
          <a:chOff x="0" y="0"/>
          <a:chExt cx="0" cy="0"/>
        </a:xfrm>
      </p:grpSpPr>
      <p:pic>
        <p:nvPicPr>
          <p:cNvPr id="3" name="Picture 2" descr="A picture containing graphical user interface&#10;&#10;Description automatically generated">
            <a:extLst>
              <a:ext uri="{FF2B5EF4-FFF2-40B4-BE49-F238E27FC236}">
                <a16:creationId xmlns:a16="http://schemas.microsoft.com/office/drawing/2014/main" id="{6E77DDD1-27EC-62E0-3AE9-D48E2F8586E0}"/>
              </a:ext>
            </a:extLst>
          </p:cNvPr>
          <p:cNvPicPr>
            <a:picLocks noChangeAspect="1"/>
          </p:cNvPicPr>
          <p:nvPr userDrawn="1"/>
        </p:nvPicPr>
        <p:blipFill>
          <a:blip r:embed="rId2"/>
          <a:stretch>
            <a:fillRect/>
          </a:stretch>
        </p:blipFill>
        <p:spPr>
          <a:xfrm>
            <a:off x="-1" y="0"/>
            <a:ext cx="9144001" cy="5148263"/>
          </a:xfrm>
          <a:prstGeom prst="rect">
            <a:avLst/>
          </a:prstGeom>
        </p:spPr>
      </p:pic>
    </p:spTree>
    <p:extLst>
      <p:ext uri="{BB962C8B-B14F-4D97-AF65-F5344CB8AC3E}">
        <p14:creationId xmlns:p14="http://schemas.microsoft.com/office/powerpoint/2010/main" val="18687730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006507"/>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121236512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eneral 2">
    <p:spTree>
      <p:nvGrpSpPr>
        <p:cNvPr id="1" name=""/>
        <p:cNvGrpSpPr/>
        <p:nvPr/>
      </p:nvGrpSpPr>
      <p:grpSpPr>
        <a:xfrm>
          <a:off x="0" y="0"/>
          <a:ext cx="0" cy="0"/>
          <a:chOff x="0" y="0"/>
          <a:chExt cx="0" cy="0"/>
        </a:xfrm>
      </p:grpSpPr>
      <p:pic>
        <p:nvPicPr>
          <p:cNvPr id="3" name="Picture 2" descr="Graphical user interface&#10;&#10;Description automatically generated with medium confidence">
            <a:extLst>
              <a:ext uri="{FF2B5EF4-FFF2-40B4-BE49-F238E27FC236}">
                <a16:creationId xmlns:a16="http://schemas.microsoft.com/office/drawing/2014/main" id="{C8ED179C-DAF3-58C7-AF60-40726C5214A6}"/>
              </a:ext>
            </a:extLst>
          </p:cNvPr>
          <p:cNvPicPr>
            <a:picLocks noChangeAspect="1"/>
          </p:cNvPicPr>
          <p:nvPr userDrawn="1"/>
        </p:nvPicPr>
        <p:blipFill>
          <a:blip r:embed="rId2"/>
          <a:stretch>
            <a:fillRect/>
          </a:stretch>
        </p:blipFill>
        <p:spPr>
          <a:xfrm>
            <a:off x="0" y="-1"/>
            <a:ext cx="9129925" cy="5148263"/>
          </a:xfrm>
          <a:prstGeom prst="rect">
            <a:avLst/>
          </a:prstGeom>
        </p:spPr>
      </p:pic>
    </p:spTree>
    <p:extLst>
      <p:ext uri="{BB962C8B-B14F-4D97-AF65-F5344CB8AC3E}">
        <p14:creationId xmlns:p14="http://schemas.microsoft.com/office/powerpoint/2010/main" val="293644757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OV">
    <p:spTree>
      <p:nvGrpSpPr>
        <p:cNvPr id="1" name=""/>
        <p:cNvGrpSpPr/>
        <p:nvPr/>
      </p:nvGrpSpPr>
      <p:grpSpPr>
        <a:xfrm>
          <a:off x="0" y="0"/>
          <a:ext cx="0" cy="0"/>
          <a:chOff x="0" y="0"/>
          <a:chExt cx="0" cy="0"/>
        </a:xfrm>
      </p:grpSpPr>
      <p:pic>
        <p:nvPicPr>
          <p:cNvPr id="3" name="Picture 2" descr="Graphical user interface&#10;&#10;Description automatically generated with medium confidence">
            <a:extLst>
              <a:ext uri="{FF2B5EF4-FFF2-40B4-BE49-F238E27FC236}">
                <a16:creationId xmlns:a16="http://schemas.microsoft.com/office/drawing/2014/main" id="{9F4D702C-5DAD-37D9-1048-A82F5E818EC7}"/>
              </a:ext>
            </a:extLst>
          </p:cNvPr>
          <p:cNvPicPr>
            <a:picLocks noChangeAspect="1"/>
          </p:cNvPicPr>
          <p:nvPr userDrawn="1"/>
        </p:nvPicPr>
        <p:blipFill>
          <a:blip r:embed="rId2"/>
          <a:stretch>
            <a:fillRect/>
          </a:stretch>
        </p:blipFill>
        <p:spPr>
          <a:xfrm>
            <a:off x="0" y="-1"/>
            <a:ext cx="9129925" cy="5148263"/>
          </a:xfrm>
          <a:prstGeom prst="rect">
            <a:avLst/>
          </a:prstGeom>
        </p:spPr>
      </p:pic>
    </p:spTree>
    <p:extLst>
      <p:ext uri="{BB962C8B-B14F-4D97-AF65-F5344CB8AC3E}">
        <p14:creationId xmlns:p14="http://schemas.microsoft.com/office/powerpoint/2010/main" val="189763711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reast">
    <p:spTree>
      <p:nvGrpSpPr>
        <p:cNvPr id="1" name=""/>
        <p:cNvGrpSpPr/>
        <p:nvPr/>
      </p:nvGrpSpPr>
      <p:grpSpPr>
        <a:xfrm>
          <a:off x="0" y="0"/>
          <a:ext cx="0" cy="0"/>
          <a:chOff x="0" y="0"/>
          <a:chExt cx="0" cy="0"/>
        </a:xfrm>
      </p:grpSpPr>
      <p:pic>
        <p:nvPicPr>
          <p:cNvPr id="3" name="Picture 2" descr="Graphical user interface&#10;&#10;Description automatically generated">
            <a:extLst>
              <a:ext uri="{FF2B5EF4-FFF2-40B4-BE49-F238E27FC236}">
                <a16:creationId xmlns:a16="http://schemas.microsoft.com/office/drawing/2014/main" id="{4CB0EEE4-9DF7-C036-5017-BB6D67525706}"/>
              </a:ext>
            </a:extLst>
          </p:cNvPr>
          <p:cNvPicPr>
            <a:picLocks noChangeAspect="1"/>
          </p:cNvPicPr>
          <p:nvPr userDrawn="1"/>
        </p:nvPicPr>
        <p:blipFill>
          <a:blip r:embed="rId2"/>
          <a:stretch>
            <a:fillRect/>
          </a:stretch>
        </p:blipFill>
        <p:spPr>
          <a:xfrm>
            <a:off x="14075" y="12699"/>
            <a:ext cx="9129925" cy="5148263"/>
          </a:xfrm>
          <a:prstGeom prst="rect">
            <a:avLst/>
          </a:prstGeom>
        </p:spPr>
      </p:pic>
    </p:spTree>
    <p:extLst>
      <p:ext uri="{BB962C8B-B14F-4D97-AF65-F5344CB8AC3E}">
        <p14:creationId xmlns:p14="http://schemas.microsoft.com/office/powerpoint/2010/main" val="293876920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GI">
    <p:spTree>
      <p:nvGrpSpPr>
        <p:cNvPr id="1" name=""/>
        <p:cNvGrpSpPr/>
        <p:nvPr/>
      </p:nvGrpSpPr>
      <p:grpSpPr>
        <a:xfrm>
          <a:off x="0" y="0"/>
          <a:ext cx="0" cy="0"/>
          <a:chOff x="0" y="0"/>
          <a:chExt cx="0" cy="0"/>
        </a:xfrm>
      </p:grpSpPr>
      <p:pic>
        <p:nvPicPr>
          <p:cNvPr id="3" name="Picture 2" descr="Calendar&#10;&#10;Description automatically generated">
            <a:extLst>
              <a:ext uri="{FF2B5EF4-FFF2-40B4-BE49-F238E27FC236}">
                <a16:creationId xmlns:a16="http://schemas.microsoft.com/office/drawing/2014/main" id="{7C270E77-EA86-094A-28E0-3F97BD736AD3}"/>
              </a:ext>
            </a:extLst>
          </p:cNvPr>
          <p:cNvPicPr>
            <a:picLocks noChangeAspect="1"/>
          </p:cNvPicPr>
          <p:nvPr userDrawn="1"/>
        </p:nvPicPr>
        <p:blipFill>
          <a:blip r:embed="rId2"/>
          <a:stretch>
            <a:fillRect/>
          </a:stretch>
        </p:blipFill>
        <p:spPr>
          <a:xfrm>
            <a:off x="14075" y="-1"/>
            <a:ext cx="9129925" cy="5148263"/>
          </a:xfrm>
          <a:prstGeom prst="rect">
            <a:avLst/>
          </a:prstGeom>
        </p:spPr>
      </p:pic>
    </p:spTree>
    <p:extLst>
      <p:ext uri="{BB962C8B-B14F-4D97-AF65-F5344CB8AC3E}">
        <p14:creationId xmlns:p14="http://schemas.microsoft.com/office/powerpoint/2010/main" val="86677256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MM">
    <p:spTree>
      <p:nvGrpSpPr>
        <p:cNvPr id="1" name=""/>
        <p:cNvGrpSpPr/>
        <p:nvPr/>
      </p:nvGrpSpPr>
      <p:grpSpPr>
        <a:xfrm>
          <a:off x="0" y="0"/>
          <a:ext cx="0" cy="0"/>
          <a:chOff x="0" y="0"/>
          <a:chExt cx="0" cy="0"/>
        </a:xfrm>
      </p:grpSpPr>
      <p:pic>
        <p:nvPicPr>
          <p:cNvPr id="6" name="Picture 5" descr="A close-up of a blue and white card&#10;&#10;Description automatically generated">
            <a:extLst>
              <a:ext uri="{FF2B5EF4-FFF2-40B4-BE49-F238E27FC236}">
                <a16:creationId xmlns:a16="http://schemas.microsoft.com/office/drawing/2014/main" id="{B8F1D679-6C5D-ADD5-C9F6-A2E76137E187}"/>
              </a:ext>
            </a:extLst>
          </p:cNvPr>
          <p:cNvPicPr>
            <a:picLocks noChangeAspect="1"/>
          </p:cNvPicPr>
          <p:nvPr userDrawn="1"/>
        </p:nvPicPr>
        <p:blipFill>
          <a:blip r:embed="rId2"/>
          <a:stretch>
            <a:fillRect/>
          </a:stretch>
        </p:blipFill>
        <p:spPr>
          <a:xfrm>
            <a:off x="0" y="0"/>
            <a:ext cx="9144000" cy="5156199"/>
          </a:xfrm>
          <a:prstGeom prst="rect">
            <a:avLst/>
          </a:prstGeom>
        </p:spPr>
      </p:pic>
    </p:spTree>
    <p:extLst>
      <p:ext uri="{BB962C8B-B14F-4D97-AF65-F5344CB8AC3E}">
        <p14:creationId xmlns:p14="http://schemas.microsoft.com/office/powerpoint/2010/main" val="162835642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dder/RCC">
    <p:spTree>
      <p:nvGrpSpPr>
        <p:cNvPr id="1" name=""/>
        <p:cNvGrpSpPr/>
        <p:nvPr/>
      </p:nvGrpSpPr>
      <p:grpSpPr>
        <a:xfrm>
          <a:off x="0" y="0"/>
          <a:ext cx="0" cy="0"/>
          <a:chOff x="0" y="0"/>
          <a:chExt cx="0" cy="0"/>
        </a:xfrm>
      </p:grpSpPr>
      <p:pic>
        <p:nvPicPr>
          <p:cNvPr id="7" name="Picture 6" descr="Graphical user interface, website&#10;&#10;Description automatically generated">
            <a:extLst>
              <a:ext uri="{FF2B5EF4-FFF2-40B4-BE49-F238E27FC236}">
                <a16:creationId xmlns:a16="http://schemas.microsoft.com/office/drawing/2014/main" id="{26B5E6D9-A130-A85C-4BEC-0AEA72687438}"/>
              </a:ext>
            </a:extLst>
          </p:cNvPr>
          <p:cNvPicPr>
            <a:picLocks noChangeAspect="1"/>
          </p:cNvPicPr>
          <p:nvPr userDrawn="1"/>
        </p:nvPicPr>
        <p:blipFill>
          <a:blip r:embed="rId2"/>
          <a:stretch>
            <a:fillRect/>
          </a:stretch>
        </p:blipFill>
        <p:spPr>
          <a:xfrm>
            <a:off x="7037" y="-1"/>
            <a:ext cx="9129925" cy="5148263"/>
          </a:xfrm>
          <a:prstGeom prst="rect">
            <a:avLst/>
          </a:prstGeom>
        </p:spPr>
      </p:pic>
    </p:spTree>
    <p:extLst>
      <p:ext uri="{BB962C8B-B14F-4D97-AF65-F5344CB8AC3E}">
        <p14:creationId xmlns:p14="http://schemas.microsoft.com/office/powerpoint/2010/main" val="212371957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ung">
    <p:spTree>
      <p:nvGrpSpPr>
        <p:cNvPr id="1" name=""/>
        <p:cNvGrpSpPr/>
        <p:nvPr/>
      </p:nvGrpSpPr>
      <p:grpSpPr>
        <a:xfrm>
          <a:off x="0" y="0"/>
          <a:ext cx="0" cy="0"/>
          <a:chOff x="0" y="0"/>
          <a:chExt cx="0" cy="0"/>
        </a:xfrm>
      </p:grpSpPr>
      <p:pic>
        <p:nvPicPr>
          <p:cNvPr id="3" name="Picture 2" descr="Graphical user interface&#10;&#10;Description automatically generated">
            <a:extLst>
              <a:ext uri="{FF2B5EF4-FFF2-40B4-BE49-F238E27FC236}">
                <a16:creationId xmlns:a16="http://schemas.microsoft.com/office/drawing/2014/main" id="{31D1E0C4-497D-B719-A531-EF18537B06A7}"/>
              </a:ext>
            </a:extLst>
          </p:cNvPr>
          <p:cNvPicPr>
            <a:picLocks noChangeAspect="1"/>
          </p:cNvPicPr>
          <p:nvPr userDrawn="1"/>
        </p:nvPicPr>
        <p:blipFill>
          <a:blip r:embed="rId2"/>
          <a:stretch>
            <a:fillRect/>
          </a:stretch>
        </p:blipFill>
        <p:spPr>
          <a:xfrm>
            <a:off x="7037" y="0"/>
            <a:ext cx="9129925" cy="5148263"/>
          </a:xfrm>
          <a:prstGeom prst="rect">
            <a:avLst/>
          </a:prstGeom>
        </p:spPr>
      </p:pic>
      <p:pic>
        <p:nvPicPr>
          <p:cNvPr id="8" name="Picture 7">
            <a:extLst>
              <a:ext uri="{FF2B5EF4-FFF2-40B4-BE49-F238E27FC236}">
                <a16:creationId xmlns:a16="http://schemas.microsoft.com/office/drawing/2014/main" id="{FFE5E9E4-40A7-9328-8756-BAF2F49F1352}"/>
              </a:ext>
            </a:extLst>
          </p:cNvPr>
          <p:cNvPicPr>
            <a:picLocks noChangeAspect="1"/>
          </p:cNvPicPr>
          <p:nvPr userDrawn="1"/>
        </p:nvPicPr>
        <p:blipFill>
          <a:blip r:embed="rId3"/>
          <a:stretch>
            <a:fillRect/>
          </a:stretch>
        </p:blipFill>
        <p:spPr>
          <a:xfrm>
            <a:off x="5501624" y="4082590"/>
            <a:ext cx="3741436" cy="1173784"/>
          </a:xfrm>
          <a:prstGeom prst="rect">
            <a:avLst/>
          </a:prstGeom>
        </p:spPr>
      </p:pic>
    </p:spTree>
    <p:extLst>
      <p:ext uri="{BB962C8B-B14F-4D97-AF65-F5344CB8AC3E}">
        <p14:creationId xmlns:p14="http://schemas.microsoft.com/office/powerpoint/2010/main" val="2874551253"/>
      </p:ext>
    </p:extLst>
  </p:cSld>
  <p:clrMapOvr>
    <a:masterClrMapping/>
  </p:clrMapOvr>
  <p:extLst>
    <p:ext uri="{DCECCB84-F9BA-43D5-87BE-67443E8EF086}">
      <p15:sldGuideLst xmlns:p15="http://schemas.microsoft.com/office/powerpoint/2012/main">
        <p15:guide id="1" orient="horz" pos="1621">
          <p15:clr>
            <a:srgbClr val="FBAE40"/>
          </p15:clr>
        </p15:guide>
        <p15:guide id="2" pos="288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eople">
    <p:spTree>
      <p:nvGrpSpPr>
        <p:cNvPr id="1" name=""/>
        <p:cNvGrpSpPr/>
        <p:nvPr/>
      </p:nvGrpSpPr>
      <p:grpSpPr>
        <a:xfrm>
          <a:off x="0" y="0"/>
          <a:ext cx="0" cy="0"/>
          <a:chOff x="0" y="0"/>
          <a:chExt cx="0" cy="0"/>
        </a:xfrm>
      </p:grpSpPr>
      <p:pic>
        <p:nvPicPr>
          <p:cNvPr id="3" name="Picture 2" descr="Graphical user interface&#10;&#10;Description automatically generated">
            <a:extLst>
              <a:ext uri="{FF2B5EF4-FFF2-40B4-BE49-F238E27FC236}">
                <a16:creationId xmlns:a16="http://schemas.microsoft.com/office/drawing/2014/main" id="{44DB8FDD-4B4D-2D77-1C61-26744F17FEFC}"/>
              </a:ext>
            </a:extLst>
          </p:cNvPr>
          <p:cNvPicPr>
            <a:picLocks noChangeAspect="1"/>
          </p:cNvPicPr>
          <p:nvPr userDrawn="1"/>
        </p:nvPicPr>
        <p:blipFill>
          <a:blip r:embed="rId2"/>
          <a:stretch>
            <a:fillRect/>
          </a:stretch>
        </p:blipFill>
        <p:spPr>
          <a:xfrm>
            <a:off x="0" y="-1"/>
            <a:ext cx="9129925" cy="5148263"/>
          </a:xfrm>
          <a:prstGeom prst="rect">
            <a:avLst/>
          </a:prstGeom>
        </p:spPr>
      </p:pic>
    </p:spTree>
    <p:extLst>
      <p:ext uri="{BB962C8B-B14F-4D97-AF65-F5344CB8AC3E}">
        <p14:creationId xmlns:p14="http://schemas.microsoft.com/office/powerpoint/2010/main" val="365944046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LL">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5B1B96D6-1054-EAFB-18A2-98214F3B8225}"/>
              </a:ext>
            </a:extLst>
          </p:cNvPr>
          <p:cNvPicPr>
            <a:picLocks noChangeAspect="1"/>
          </p:cNvPicPr>
          <p:nvPr userDrawn="1"/>
        </p:nvPicPr>
        <p:blipFill>
          <a:blip r:embed="rId2"/>
          <a:stretch>
            <a:fillRect/>
          </a:stretch>
        </p:blipFill>
        <p:spPr>
          <a:xfrm>
            <a:off x="-1" y="-12701"/>
            <a:ext cx="9129925" cy="5148263"/>
          </a:xfrm>
          <a:prstGeom prst="rect">
            <a:avLst/>
          </a:prstGeom>
        </p:spPr>
      </p:pic>
    </p:spTree>
    <p:extLst>
      <p:ext uri="{BB962C8B-B14F-4D97-AF65-F5344CB8AC3E}">
        <p14:creationId xmlns:p14="http://schemas.microsoft.com/office/powerpoint/2010/main" val="44339244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General1">
    <p:spTree>
      <p:nvGrpSpPr>
        <p:cNvPr id="1" name=""/>
        <p:cNvGrpSpPr/>
        <p:nvPr/>
      </p:nvGrpSpPr>
      <p:grpSpPr>
        <a:xfrm>
          <a:off x="0" y="0"/>
          <a:ext cx="0" cy="0"/>
          <a:chOff x="0" y="0"/>
          <a:chExt cx="0" cy="0"/>
        </a:xfrm>
      </p:grpSpPr>
      <p:pic>
        <p:nvPicPr>
          <p:cNvPr id="3" name="Picture 2" descr="A picture containing graphical user interface&#10;&#10;Description automatically generated">
            <a:extLst>
              <a:ext uri="{FF2B5EF4-FFF2-40B4-BE49-F238E27FC236}">
                <a16:creationId xmlns:a16="http://schemas.microsoft.com/office/drawing/2014/main" id="{6E77DDD1-27EC-62E0-3AE9-D48E2F8586E0}"/>
              </a:ext>
            </a:extLst>
          </p:cNvPr>
          <p:cNvPicPr>
            <a:picLocks noChangeAspect="1"/>
          </p:cNvPicPr>
          <p:nvPr userDrawn="1"/>
        </p:nvPicPr>
        <p:blipFill>
          <a:blip r:embed="rId2"/>
          <a:stretch>
            <a:fillRect/>
          </a:stretch>
        </p:blipFill>
        <p:spPr>
          <a:xfrm>
            <a:off x="-1" y="0"/>
            <a:ext cx="9144001" cy="5148263"/>
          </a:xfrm>
          <a:prstGeom prst="rect">
            <a:avLst/>
          </a:prstGeom>
        </p:spPr>
      </p:pic>
    </p:spTree>
    <p:extLst>
      <p:ext uri="{BB962C8B-B14F-4D97-AF65-F5344CB8AC3E}">
        <p14:creationId xmlns:p14="http://schemas.microsoft.com/office/powerpoint/2010/main" val="33553056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a:t>Click to edit Master title style</a:t>
            </a:r>
          </a:p>
        </p:txBody>
      </p:sp>
      <p:sp>
        <p:nvSpPr>
          <p:cNvPr id="3" name="Footer Placeholder 2"/>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53987106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General 2">
    <p:spTree>
      <p:nvGrpSpPr>
        <p:cNvPr id="1" name=""/>
        <p:cNvGrpSpPr/>
        <p:nvPr/>
      </p:nvGrpSpPr>
      <p:grpSpPr>
        <a:xfrm>
          <a:off x="0" y="0"/>
          <a:ext cx="0" cy="0"/>
          <a:chOff x="0" y="0"/>
          <a:chExt cx="0" cy="0"/>
        </a:xfrm>
      </p:grpSpPr>
      <p:pic>
        <p:nvPicPr>
          <p:cNvPr id="3" name="Picture 2" descr="Graphical user interface&#10;&#10;Description automatically generated with medium confidence">
            <a:extLst>
              <a:ext uri="{FF2B5EF4-FFF2-40B4-BE49-F238E27FC236}">
                <a16:creationId xmlns:a16="http://schemas.microsoft.com/office/drawing/2014/main" id="{C8ED179C-DAF3-58C7-AF60-40726C5214A6}"/>
              </a:ext>
            </a:extLst>
          </p:cNvPr>
          <p:cNvPicPr>
            <a:picLocks noChangeAspect="1"/>
          </p:cNvPicPr>
          <p:nvPr userDrawn="1"/>
        </p:nvPicPr>
        <p:blipFill>
          <a:blip r:embed="rId2"/>
          <a:stretch>
            <a:fillRect/>
          </a:stretch>
        </p:blipFill>
        <p:spPr>
          <a:xfrm>
            <a:off x="0" y="-1"/>
            <a:ext cx="9129925" cy="5148263"/>
          </a:xfrm>
          <a:prstGeom prst="rect">
            <a:avLst/>
          </a:prstGeom>
        </p:spPr>
      </p:pic>
    </p:spTree>
    <p:extLst>
      <p:ext uri="{BB962C8B-B14F-4D97-AF65-F5344CB8AC3E}">
        <p14:creationId xmlns:p14="http://schemas.microsoft.com/office/powerpoint/2010/main" val="194423907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V">
    <p:spTree>
      <p:nvGrpSpPr>
        <p:cNvPr id="1" name=""/>
        <p:cNvGrpSpPr/>
        <p:nvPr/>
      </p:nvGrpSpPr>
      <p:grpSpPr>
        <a:xfrm>
          <a:off x="0" y="0"/>
          <a:ext cx="0" cy="0"/>
          <a:chOff x="0" y="0"/>
          <a:chExt cx="0" cy="0"/>
        </a:xfrm>
      </p:grpSpPr>
      <p:pic>
        <p:nvPicPr>
          <p:cNvPr id="3" name="Picture 2" descr="Graphical user interface&#10;&#10;Description automatically generated with medium confidence">
            <a:extLst>
              <a:ext uri="{FF2B5EF4-FFF2-40B4-BE49-F238E27FC236}">
                <a16:creationId xmlns:a16="http://schemas.microsoft.com/office/drawing/2014/main" id="{9F4D702C-5DAD-37D9-1048-A82F5E818EC7}"/>
              </a:ext>
            </a:extLst>
          </p:cNvPr>
          <p:cNvPicPr>
            <a:picLocks noChangeAspect="1"/>
          </p:cNvPicPr>
          <p:nvPr userDrawn="1"/>
        </p:nvPicPr>
        <p:blipFill>
          <a:blip r:embed="rId2"/>
          <a:stretch>
            <a:fillRect/>
          </a:stretch>
        </p:blipFill>
        <p:spPr>
          <a:xfrm>
            <a:off x="0" y="-1"/>
            <a:ext cx="9129925" cy="5148263"/>
          </a:xfrm>
          <a:prstGeom prst="rect">
            <a:avLst/>
          </a:prstGeom>
        </p:spPr>
      </p:pic>
    </p:spTree>
    <p:extLst>
      <p:ext uri="{BB962C8B-B14F-4D97-AF65-F5344CB8AC3E}">
        <p14:creationId xmlns:p14="http://schemas.microsoft.com/office/powerpoint/2010/main" val="276824665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reast">
    <p:spTree>
      <p:nvGrpSpPr>
        <p:cNvPr id="1" name=""/>
        <p:cNvGrpSpPr/>
        <p:nvPr/>
      </p:nvGrpSpPr>
      <p:grpSpPr>
        <a:xfrm>
          <a:off x="0" y="0"/>
          <a:ext cx="0" cy="0"/>
          <a:chOff x="0" y="0"/>
          <a:chExt cx="0" cy="0"/>
        </a:xfrm>
      </p:grpSpPr>
      <p:pic>
        <p:nvPicPr>
          <p:cNvPr id="3" name="Picture 2" descr="Graphical user interface&#10;&#10;Description automatically generated">
            <a:extLst>
              <a:ext uri="{FF2B5EF4-FFF2-40B4-BE49-F238E27FC236}">
                <a16:creationId xmlns:a16="http://schemas.microsoft.com/office/drawing/2014/main" id="{4CB0EEE4-9DF7-C036-5017-BB6D67525706}"/>
              </a:ext>
            </a:extLst>
          </p:cNvPr>
          <p:cNvPicPr>
            <a:picLocks noChangeAspect="1"/>
          </p:cNvPicPr>
          <p:nvPr userDrawn="1"/>
        </p:nvPicPr>
        <p:blipFill>
          <a:blip r:embed="rId2"/>
          <a:stretch>
            <a:fillRect/>
          </a:stretch>
        </p:blipFill>
        <p:spPr>
          <a:xfrm>
            <a:off x="14075" y="12699"/>
            <a:ext cx="9129925" cy="5148263"/>
          </a:xfrm>
          <a:prstGeom prst="rect">
            <a:avLst/>
          </a:prstGeom>
        </p:spPr>
      </p:pic>
    </p:spTree>
    <p:extLst>
      <p:ext uri="{BB962C8B-B14F-4D97-AF65-F5344CB8AC3E}">
        <p14:creationId xmlns:p14="http://schemas.microsoft.com/office/powerpoint/2010/main" val="255275848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GI">
    <p:spTree>
      <p:nvGrpSpPr>
        <p:cNvPr id="1" name=""/>
        <p:cNvGrpSpPr/>
        <p:nvPr/>
      </p:nvGrpSpPr>
      <p:grpSpPr>
        <a:xfrm>
          <a:off x="0" y="0"/>
          <a:ext cx="0" cy="0"/>
          <a:chOff x="0" y="0"/>
          <a:chExt cx="0" cy="0"/>
        </a:xfrm>
      </p:grpSpPr>
      <p:pic>
        <p:nvPicPr>
          <p:cNvPr id="3" name="Picture 2" descr="Calendar&#10;&#10;Description automatically generated">
            <a:extLst>
              <a:ext uri="{FF2B5EF4-FFF2-40B4-BE49-F238E27FC236}">
                <a16:creationId xmlns:a16="http://schemas.microsoft.com/office/drawing/2014/main" id="{7C270E77-EA86-094A-28E0-3F97BD736AD3}"/>
              </a:ext>
            </a:extLst>
          </p:cNvPr>
          <p:cNvPicPr>
            <a:picLocks noChangeAspect="1"/>
          </p:cNvPicPr>
          <p:nvPr userDrawn="1"/>
        </p:nvPicPr>
        <p:blipFill>
          <a:blip r:embed="rId2"/>
          <a:stretch>
            <a:fillRect/>
          </a:stretch>
        </p:blipFill>
        <p:spPr>
          <a:xfrm>
            <a:off x="14075" y="-1"/>
            <a:ext cx="9129925" cy="5148263"/>
          </a:xfrm>
          <a:prstGeom prst="rect">
            <a:avLst/>
          </a:prstGeom>
        </p:spPr>
      </p:pic>
    </p:spTree>
    <p:extLst>
      <p:ext uri="{BB962C8B-B14F-4D97-AF65-F5344CB8AC3E}">
        <p14:creationId xmlns:p14="http://schemas.microsoft.com/office/powerpoint/2010/main" val="204857098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MM">
    <p:spTree>
      <p:nvGrpSpPr>
        <p:cNvPr id="1" name=""/>
        <p:cNvGrpSpPr/>
        <p:nvPr/>
      </p:nvGrpSpPr>
      <p:grpSpPr>
        <a:xfrm>
          <a:off x="0" y="0"/>
          <a:ext cx="0" cy="0"/>
          <a:chOff x="0" y="0"/>
          <a:chExt cx="0" cy="0"/>
        </a:xfrm>
      </p:grpSpPr>
      <p:pic>
        <p:nvPicPr>
          <p:cNvPr id="6" name="Picture 5" descr="A close-up of a blue and white card&#10;&#10;Description automatically generated">
            <a:extLst>
              <a:ext uri="{FF2B5EF4-FFF2-40B4-BE49-F238E27FC236}">
                <a16:creationId xmlns:a16="http://schemas.microsoft.com/office/drawing/2014/main" id="{B8F1D679-6C5D-ADD5-C9F6-A2E76137E187}"/>
              </a:ext>
            </a:extLst>
          </p:cNvPr>
          <p:cNvPicPr>
            <a:picLocks noChangeAspect="1"/>
          </p:cNvPicPr>
          <p:nvPr userDrawn="1"/>
        </p:nvPicPr>
        <p:blipFill>
          <a:blip r:embed="rId2"/>
          <a:stretch>
            <a:fillRect/>
          </a:stretch>
        </p:blipFill>
        <p:spPr>
          <a:xfrm>
            <a:off x="0" y="0"/>
            <a:ext cx="9144000" cy="5156199"/>
          </a:xfrm>
          <a:prstGeom prst="rect">
            <a:avLst/>
          </a:prstGeom>
        </p:spPr>
      </p:pic>
    </p:spTree>
    <p:extLst>
      <p:ext uri="{BB962C8B-B14F-4D97-AF65-F5344CB8AC3E}">
        <p14:creationId xmlns:p14="http://schemas.microsoft.com/office/powerpoint/2010/main" val="39294678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1249681"/>
            <a:ext cx="6400800" cy="2651759"/>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a:t>Click to edit Master subtitle style</a:t>
            </a:r>
          </a:p>
        </p:txBody>
      </p:sp>
      <p:sp>
        <p:nvSpPr>
          <p:cNvPr id="6" name="Title 1"/>
          <p:cNvSpPr>
            <a:spLocks noGrp="1"/>
          </p:cNvSpPr>
          <p:nvPr>
            <p:ph type="title"/>
          </p:nvPr>
        </p:nvSpPr>
        <p:spPr>
          <a:xfrm>
            <a:off x="0" y="132080"/>
            <a:ext cx="9144000" cy="1006507"/>
          </a:xfrm>
          <a:prstGeom prst="rect">
            <a:avLst/>
          </a:prstGeom>
          <a:noFill/>
        </p:spPr>
        <p:txBody>
          <a:bodyPr/>
          <a:lstStyle>
            <a:lvl1pPr>
              <a:defRPr>
                <a:solidFill>
                  <a:srgbClr val="002450"/>
                </a:solidFill>
              </a:defRPr>
            </a:lvl1pPr>
          </a:lstStyle>
          <a:p>
            <a:r>
              <a:rPr lang="en-US" dirty="0"/>
              <a:t>Click to edit Master title style</a:t>
            </a:r>
          </a:p>
        </p:txBody>
      </p:sp>
    </p:spTree>
    <p:extLst>
      <p:ext uri="{BB962C8B-B14F-4D97-AF65-F5344CB8AC3E}">
        <p14:creationId xmlns:p14="http://schemas.microsoft.com/office/powerpoint/2010/main" val="48776232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844550"/>
            <a:ext cx="7772400" cy="31472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138658989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1117600"/>
            <a:ext cx="3810000" cy="29362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117600"/>
            <a:ext cx="3810000" cy="29362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
        <p:nvSpPr>
          <p:cNvPr id="6" name="Title 1"/>
          <p:cNvSpPr>
            <a:spLocks noGrp="1"/>
          </p:cNvSpPr>
          <p:nvPr>
            <p:ph type="title"/>
          </p:nvPr>
        </p:nvSpPr>
        <p:spPr>
          <a:xfrm>
            <a:off x="0" y="127465"/>
            <a:ext cx="9144000" cy="695496"/>
          </a:xfrm>
          <a:prstGeom prst="rect">
            <a:avLst/>
          </a:prstGeom>
          <a:noFill/>
        </p:spPr>
        <p:txBody>
          <a:bodyPr/>
          <a:lstStyle>
            <a:lvl1pPr>
              <a:defRPr>
                <a:solidFill>
                  <a:srgbClr val="003465"/>
                </a:solidFill>
              </a:defRPr>
            </a:lvl1pPr>
          </a:lstStyle>
          <a:p>
            <a:r>
              <a:rPr lang="en-US" dirty="0"/>
              <a:t>Click to edit Master title style</a:t>
            </a:r>
          </a:p>
        </p:txBody>
      </p:sp>
    </p:spTree>
    <p:extLst>
      <p:ext uri="{BB962C8B-B14F-4D97-AF65-F5344CB8AC3E}">
        <p14:creationId xmlns:p14="http://schemas.microsoft.com/office/powerpoint/2010/main" val="400244052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27464"/>
            <a:ext cx="9144000" cy="1006507"/>
          </a:xfrm>
          <a:prstGeom prst="rect">
            <a:avLst/>
          </a:prstGeom>
          <a:noFill/>
        </p:spPr>
        <p:txBody>
          <a:bodyPr/>
          <a:lstStyle>
            <a:lvl1pPr>
              <a:defRPr>
                <a:solidFill>
                  <a:srgbClr val="002450"/>
                </a:solidFill>
              </a:defRPr>
            </a:lvl1pPr>
          </a:lstStyle>
          <a:p>
            <a:r>
              <a:rPr lang="en-US" dirty="0"/>
              <a:t>Click to edit Master title style</a:t>
            </a:r>
          </a:p>
        </p:txBody>
      </p:sp>
      <p:sp>
        <p:nvSpPr>
          <p:cNvPr id="3"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279011257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3535817"/>
      </p:ext>
    </p:extLst>
  </p:cSld>
  <p:clrMapOvr>
    <a:masterClrMapping/>
  </p:clrMapOvr>
  <p:extLst>
    <p:ext uri="{DCECCB84-F9BA-43D5-87BE-67443E8EF086}">
      <p15:sldGuideLst xmlns:p15="http://schemas.microsoft.com/office/powerpoint/2012/main">
        <p15:guide id="1" orient="horz" pos="1621">
          <p15:clr>
            <a:srgbClr val="FBAE40"/>
          </p15:clr>
        </p15:guide>
        <p15:guide id="2" pos="288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FA4820-497A-435A-90B3-6762B16EE5B3}"/>
              </a:ext>
            </a:extLst>
          </p:cNvPr>
          <p:cNvSpPr>
            <a:spLocks noGrp="1"/>
          </p:cNvSpPr>
          <p:nvPr>
            <p:ph type="ctrTitle"/>
          </p:nvPr>
        </p:nvSpPr>
        <p:spPr>
          <a:xfrm>
            <a:off x="1143000" y="842963"/>
            <a:ext cx="6858000" cy="1792287"/>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0472A25-1FDC-4FB8-B1B0-354411B362D8}"/>
              </a:ext>
            </a:extLst>
          </p:cNvPr>
          <p:cNvSpPr>
            <a:spLocks noGrp="1"/>
          </p:cNvSpPr>
          <p:nvPr>
            <p:ph type="subTitle" idx="1"/>
          </p:nvPr>
        </p:nvSpPr>
        <p:spPr>
          <a:xfrm>
            <a:off x="1143000" y="2703513"/>
            <a:ext cx="6858000" cy="124301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7E54908-8498-4367-941A-314BEAE435AA}"/>
              </a:ext>
            </a:extLst>
          </p:cNvPr>
          <p:cNvSpPr>
            <a:spLocks noGrp="1"/>
          </p:cNvSpPr>
          <p:nvPr>
            <p:ph type="dt" sz="half" idx="10"/>
          </p:nvPr>
        </p:nvSpPr>
        <p:spPr/>
        <p:txBody>
          <a:bodyPr/>
          <a:lstStyle/>
          <a:p>
            <a:fld id="{AF14DFFF-BE29-4D39-830D-DDE47C3C97AE}" type="datetimeFigureOut">
              <a:rPr lang="en-US" smtClean="0"/>
              <a:t>5/10/2024</a:t>
            </a:fld>
            <a:endParaRPr lang="en-US"/>
          </a:p>
        </p:txBody>
      </p:sp>
      <p:sp>
        <p:nvSpPr>
          <p:cNvPr id="5" name="Footer Placeholder 4">
            <a:extLst>
              <a:ext uri="{FF2B5EF4-FFF2-40B4-BE49-F238E27FC236}">
                <a16:creationId xmlns:a16="http://schemas.microsoft.com/office/drawing/2014/main" id="{AE7E209F-D2FC-42F6-8E13-54CC3BAEC1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4B8C71-F5A9-4EF2-A230-87C227D78DD5}"/>
              </a:ext>
            </a:extLst>
          </p:cNvPr>
          <p:cNvSpPr>
            <a:spLocks noGrp="1"/>
          </p:cNvSpPr>
          <p:nvPr>
            <p:ph type="sldNum" sz="quarter" idx="12"/>
          </p:nvPr>
        </p:nvSpPr>
        <p:spPr/>
        <p:txBody>
          <a:bodyPr/>
          <a:lstStyle/>
          <a:p>
            <a:fld id="{2D994E03-0F88-49B3-B680-88EAF0B5195C}" type="slidenum">
              <a:rPr lang="en-US" smtClean="0"/>
              <a:t>‹#›</a:t>
            </a:fld>
            <a:endParaRPr lang="en-US"/>
          </a:p>
        </p:txBody>
      </p:sp>
    </p:spTree>
    <p:extLst>
      <p:ext uri="{BB962C8B-B14F-4D97-AF65-F5344CB8AC3E}">
        <p14:creationId xmlns:p14="http://schemas.microsoft.com/office/powerpoint/2010/main" val="319031834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3784"/>
            <a:ext cx="5486400" cy="425447"/>
          </a:xfrm>
          <a:prstGeom prst="rect">
            <a:avLst/>
          </a:prstGeom>
        </p:spPr>
        <p:txBody>
          <a:bodyPr anchor="b"/>
          <a:lstStyle>
            <a:lvl1pPr algn="l">
              <a:defRPr sz="2000" b="0" i="1"/>
            </a:lvl1pPr>
          </a:lstStyle>
          <a:p>
            <a:r>
              <a:rPr lang="en-US"/>
              <a:t>Click to edit Master title style</a:t>
            </a:r>
            <a:endParaRPr lang="en-US" dirty="0"/>
          </a:p>
        </p:txBody>
      </p:sp>
      <p:sp>
        <p:nvSpPr>
          <p:cNvPr id="3" name="Picture Placeholder 2"/>
          <p:cNvSpPr>
            <a:spLocks noGrp="1"/>
          </p:cNvSpPr>
          <p:nvPr>
            <p:ph type="pic" idx="1"/>
          </p:nvPr>
        </p:nvSpPr>
        <p:spPr>
          <a:xfrm>
            <a:off x="1792288" y="460007"/>
            <a:ext cx="5486400" cy="308895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Drag picture to placeholder or click icon to add</a:t>
            </a:r>
          </a:p>
        </p:txBody>
      </p:sp>
      <p:sp>
        <p:nvSpPr>
          <p:cNvPr id="4" name="Text Placeholder 3"/>
          <p:cNvSpPr>
            <a:spLocks noGrp="1"/>
          </p:cNvSpPr>
          <p:nvPr>
            <p:ph type="body" sz="half" idx="2"/>
          </p:nvPr>
        </p:nvSpPr>
        <p:spPr>
          <a:xfrm>
            <a:off x="1792288" y="4029231"/>
            <a:ext cx="5486400" cy="54497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102874963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006507"/>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5076056" y="4628260"/>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Tree>
    <p:extLst>
      <p:ext uri="{BB962C8B-B14F-4D97-AF65-F5344CB8AC3E}">
        <p14:creationId xmlns:p14="http://schemas.microsoft.com/office/powerpoint/2010/main" val="421563403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a:t>Click to edit Master title style</a:t>
            </a:r>
          </a:p>
        </p:txBody>
      </p:sp>
      <p:sp>
        <p:nvSpPr>
          <p:cNvPr id="3" name="Footer Placeholder 2"/>
          <p:cNvSpPr>
            <a:spLocks noGrp="1"/>
          </p:cNvSpPr>
          <p:nvPr>
            <p:ph type="ftr" sz="quarter" idx="10"/>
          </p:nvPr>
        </p:nvSpPr>
        <p:spPr>
          <a:xfrm>
            <a:off x="2897632" y="4593882"/>
            <a:ext cx="3903712" cy="417515"/>
          </a:xfrm>
          <a:prstGeom prst="rect">
            <a:avLst/>
          </a:prstGeom>
        </p:spPr>
        <p:txBody>
          <a:bodyPr/>
          <a:lstStyle/>
          <a:p>
            <a:endParaRPr lang="en-US" dirty="0"/>
          </a:p>
        </p:txBody>
      </p:sp>
    </p:spTree>
    <p:extLst>
      <p:ext uri="{BB962C8B-B14F-4D97-AF65-F5344CB8AC3E}">
        <p14:creationId xmlns:p14="http://schemas.microsoft.com/office/powerpoint/2010/main" val="183790551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dder/RCC">
    <p:spTree>
      <p:nvGrpSpPr>
        <p:cNvPr id="1" name=""/>
        <p:cNvGrpSpPr/>
        <p:nvPr/>
      </p:nvGrpSpPr>
      <p:grpSpPr>
        <a:xfrm>
          <a:off x="0" y="0"/>
          <a:ext cx="0" cy="0"/>
          <a:chOff x="0" y="0"/>
          <a:chExt cx="0" cy="0"/>
        </a:xfrm>
      </p:grpSpPr>
      <p:pic>
        <p:nvPicPr>
          <p:cNvPr id="7" name="Picture 6" descr="Graphical user interface, website&#10;&#10;Description automatically generated">
            <a:extLst>
              <a:ext uri="{FF2B5EF4-FFF2-40B4-BE49-F238E27FC236}">
                <a16:creationId xmlns:a16="http://schemas.microsoft.com/office/drawing/2014/main" id="{26B5E6D9-A130-A85C-4BEC-0AEA72687438}"/>
              </a:ext>
            </a:extLst>
          </p:cNvPr>
          <p:cNvPicPr>
            <a:picLocks noChangeAspect="1"/>
          </p:cNvPicPr>
          <p:nvPr userDrawn="1"/>
        </p:nvPicPr>
        <p:blipFill>
          <a:blip r:embed="rId2"/>
          <a:stretch>
            <a:fillRect/>
          </a:stretch>
        </p:blipFill>
        <p:spPr>
          <a:xfrm>
            <a:off x="7037" y="-1"/>
            <a:ext cx="9129925" cy="5148263"/>
          </a:xfrm>
          <a:prstGeom prst="rect">
            <a:avLst/>
          </a:prstGeom>
        </p:spPr>
      </p:pic>
    </p:spTree>
    <p:extLst>
      <p:ext uri="{BB962C8B-B14F-4D97-AF65-F5344CB8AC3E}">
        <p14:creationId xmlns:p14="http://schemas.microsoft.com/office/powerpoint/2010/main" val="246936478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Lung">
    <p:spTree>
      <p:nvGrpSpPr>
        <p:cNvPr id="1" name=""/>
        <p:cNvGrpSpPr/>
        <p:nvPr/>
      </p:nvGrpSpPr>
      <p:grpSpPr>
        <a:xfrm>
          <a:off x="0" y="0"/>
          <a:ext cx="0" cy="0"/>
          <a:chOff x="0" y="0"/>
          <a:chExt cx="0" cy="0"/>
        </a:xfrm>
      </p:grpSpPr>
      <p:pic>
        <p:nvPicPr>
          <p:cNvPr id="3" name="Picture 2" descr="Graphical user interface&#10;&#10;Description automatically generated">
            <a:extLst>
              <a:ext uri="{FF2B5EF4-FFF2-40B4-BE49-F238E27FC236}">
                <a16:creationId xmlns:a16="http://schemas.microsoft.com/office/drawing/2014/main" id="{31D1E0C4-497D-B719-A531-EF18537B06A7}"/>
              </a:ext>
            </a:extLst>
          </p:cNvPr>
          <p:cNvPicPr>
            <a:picLocks noChangeAspect="1"/>
          </p:cNvPicPr>
          <p:nvPr userDrawn="1"/>
        </p:nvPicPr>
        <p:blipFill>
          <a:blip r:embed="rId2"/>
          <a:stretch>
            <a:fillRect/>
          </a:stretch>
        </p:blipFill>
        <p:spPr>
          <a:xfrm>
            <a:off x="7037" y="0"/>
            <a:ext cx="9129925" cy="5148263"/>
          </a:xfrm>
          <a:prstGeom prst="rect">
            <a:avLst/>
          </a:prstGeom>
        </p:spPr>
      </p:pic>
    </p:spTree>
    <p:extLst>
      <p:ext uri="{BB962C8B-B14F-4D97-AF65-F5344CB8AC3E}">
        <p14:creationId xmlns:p14="http://schemas.microsoft.com/office/powerpoint/2010/main" val="1023478933"/>
      </p:ext>
    </p:extLst>
  </p:cSld>
  <p:clrMapOvr>
    <a:masterClrMapping/>
  </p:clrMapOvr>
  <p:extLst>
    <p:ext uri="{DCECCB84-F9BA-43D5-87BE-67443E8EF086}">
      <p15:sldGuideLst xmlns:p15="http://schemas.microsoft.com/office/powerpoint/2012/main">
        <p15:guide id="1" orient="horz" pos="1621">
          <p15:clr>
            <a:srgbClr val="FBAE40"/>
          </p15:clr>
        </p15:guide>
        <p15:guide id="2" pos="288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eople">
    <p:spTree>
      <p:nvGrpSpPr>
        <p:cNvPr id="1" name=""/>
        <p:cNvGrpSpPr/>
        <p:nvPr/>
      </p:nvGrpSpPr>
      <p:grpSpPr>
        <a:xfrm>
          <a:off x="0" y="0"/>
          <a:ext cx="0" cy="0"/>
          <a:chOff x="0" y="0"/>
          <a:chExt cx="0" cy="0"/>
        </a:xfrm>
      </p:grpSpPr>
      <p:pic>
        <p:nvPicPr>
          <p:cNvPr id="3" name="Picture 2" descr="Graphical user interface&#10;&#10;Description automatically generated">
            <a:extLst>
              <a:ext uri="{FF2B5EF4-FFF2-40B4-BE49-F238E27FC236}">
                <a16:creationId xmlns:a16="http://schemas.microsoft.com/office/drawing/2014/main" id="{44DB8FDD-4B4D-2D77-1C61-26744F17FEFC}"/>
              </a:ext>
            </a:extLst>
          </p:cNvPr>
          <p:cNvPicPr>
            <a:picLocks noChangeAspect="1"/>
          </p:cNvPicPr>
          <p:nvPr userDrawn="1"/>
        </p:nvPicPr>
        <p:blipFill>
          <a:blip r:embed="rId2"/>
          <a:stretch>
            <a:fillRect/>
          </a:stretch>
        </p:blipFill>
        <p:spPr>
          <a:xfrm>
            <a:off x="0" y="-1"/>
            <a:ext cx="9129925" cy="5148263"/>
          </a:xfrm>
          <a:prstGeom prst="rect">
            <a:avLst/>
          </a:prstGeom>
        </p:spPr>
      </p:pic>
    </p:spTree>
    <p:extLst>
      <p:ext uri="{BB962C8B-B14F-4D97-AF65-F5344CB8AC3E}">
        <p14:creationId xmlns:p14="http://schemas.microsoft.com/office/powerpoint/2010/main" val="149088654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LL">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5B1B96D6-1054-EAFB-18A2-98214F3B8225}"/>
              </a:ext>
            </a:extLst>
          </p:cNvPr>
          <p:cNvPicPr>
            <a:picLocks noChangeAspect="1"/>
          </p:cNvPicPr>
          <p:nvPr userDrawn="1"/>
        </p:nvPicPr>
        <p:blipFill>
          <a:blip r:embed="rId2"/>
          <a:stretch>
            <a:fillRect/>
          </a:stretch>
        </p:blipFill>
        <p:spPr>
          <a:xfrm>
            <a:off x="-1" y="-12701"/>
            <a:ext cx="9129925" cy="5148263"/>
          </a:xfrm>
          <a:prstGeom prst="rect">
            <a:avLst/>
          </a:prstGeom>
        </p:spPr>
      </p:pic>
    </p:spTree>
    <p:extLst>
      <p:ext uri="{BB962C8B-B14F-4D97-AF65-F5344CB8AC3E}">
        <p14:creationId xmlns:p14="http://schemas.microsoft.com/office/powerpoint/2010/main" val="407043243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eneral1">
    <p:spTree>
      <p:nvGrpSpPr>
        <p:cNvPr id="1" name=""/>
        <p:cNvGrpSpPr/>
        <p:nvPr/>
      </p:nvGrpSpPr>
      <p:grpSpPr>
        <a:xfrm>
          <a:off x="0" y="0"/>
          <a:ext cx="0" cy="0"/>
          <a:chOff x="0" y="0"/>
          <a:chExt cx="0" cy="0"/>
        </a:xfrm>
      </p:grpSpPr>
      <p:pic>
        <p:nvPicPr>
          <p:cNvPr id="3" name="Picture 2" descr="A picture containing graphical user interface&#10;&#10;Description automatically generated">
            <a:extLst>
              <a:ext uri="{FF2B5EF4-FFF2-40B4-BE49-F238E27FC236}">
                <a16:creationId xmlns:a16="http://schemas.microsoft.com/office/drawing/2014/main" id="{6E77DDD1-27EC-62E0-3AE9-D48E2F8586E0}"/>
              </a:ext>
            </a:extLst>
          </p:cNvPr>
          <p:cNvPicPr>
            <a:picLocks noChangeAspect="1"/>
          </p:cNvPicPr>
          <p:nvPr userDrawn="1"/>
        </p:nvPicPr>
        <p:blipFill>
          <a:blip r:embed="rId2"/>
          <a:stretch>
            <a:fillRect/>
          </a:stretch>
        </p:blipFill>
        <p:spPr>
          <a:xfrm>
            <a:off x="-1" y="0"/>
            <a:ext cx="9144001" cy="5148263"/>
          </a:xfrm>
          <a:prstGeom prst="rect">
            <a:avLst/>
          </a:prstGeom>
        </p:spPr>
      </p:pic>
    </p:spTree>
    <p:extLst>
      <p:ext uri="{BB962C8B-B14F-4D97-AF65-F5344CB8AC3E}">
        <p14:creationId xmlns:p14="http://schemas.microsoft.com/office/powerpoint/2010/main" val="288470044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General 2">
    <p:spTree>
      <p:nvGrpSpPr>
        <p:cNvPr id="1" name=""/>
        <p:cNvGrpSpPr/>
        <p:nvPr/>
      </p:nvGrpSpPr>
      <p:grpSpPr>
        <a:xfrm>
          <a:off x="0" y="0"/>
          <a:ext cx="0" cy="0"/>
          <a:chOff x="0" y="0"/>
          <a:chExt cx="0" cy="0"/>
        </a:xfrm>
      </p:grpSpPr>
      <p:pic>
        <p:nvPicPr>
          <p:cNvPr id="3" name="Picture 2" descr="Graphical user interface&#10;&#10;Description automatically generated with medium confidence">
            <a:extLst>
              <a:ext uri="{FF2B5EF4-FFF2-40B4-BE49-F238E27FC236}">
                <a16:creationId xmlns:a16="http://schemas.microsoft.com/office/drawing/2014/main" id="{C8ED179C-DAF3-58C7-AF60-40726C5214A6}"/>
              </a:ext>
            </a:extLst>
          </p:cNvPr>
          <p:cNvPicPr>
            <a:picLocks noChangeAspect="1"/>
          </p:cNvPicPr>
          <p:nvPr userDrawn="1"/>
        </p:nvPicPr>
        <p:blipFill>
          <a:blip r:embed="rId2"/>
          <a:stretch>
            <a:fillRect/>
          </a:stretch>
        </p:blipFill>
        <p:spPr>
          <a:xfrm>
            <a:off x="0" y="-1"/>
            <a:ext cx="9129925" cy="5148263"/>
          </a:xfrm>
          <a:prstGeom prst="rect">
            <a:avLst/>
          </a:prstGeom>
        </p:spPr>
      </p:pic>
    </p:spTree>
    <p:extLst>
      <p:ext uri="{BB962C8B-B14F-4D97-AF65-F5344CB8AC3E}">
        <p14:creationId xmlns:p14="http://schemas.microsoft.com/office/powerpoint/2010/main" val="116562193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OV">
    <p:spTree>
      <p:nvGrpSpPr>
        <p:cNvPr id="1" name=""/>
        <p:cNvGrpSpPr/>
        <p:nvPr/>
      </p:nvGrpSpPr>
      <p:grpSpPr>
        <a:xfrm>
          <a:off x="0" y="0"/>
          <a:ext cx="0" cy="0"/>
          <a:chOff x="0" y="0"/>
          <a:chExt cx="0" cy="0"/>
        </a:xfrm>
      </p:grpSpPr>
      <p:pic>
        <p:nvPicPr>
          <p:cNvPr id="3" name="Picture 2" descr="Graphical user interface&#10;&#10;Description automatically generated with medium confidence">
            <a:extLst>
              <a:ext uri="{FF2B5EF4-FFF2-40B4-BE49-F238E27FC236}">
                <a16:creationId xmlns:a16="http://schemas.microsoft.com/office/drawing/2014/main" id="{9F4D702C-5DAD-37D9-1048-A82F5E818EC7}"/>
              </a:ext>
            </a:extLst>
          </p:cNvPr>
          <p:cNvPicPr>
            <a:picLocks noChangeAspect="1"/>
          </p:cNvPicPr>
          <p:nvPr userDrawn="1"/>
        </p:nvPicPr>
        <p:blipFill>
          <a:blip r:embed="rId2"/>
          <a:stretch>
            <a:fillRect/>
          </a:stretch>
        </p:blipFill>
        <p:spPr>
          <a:xfrm>
            <a:off x="0" y="-1"/>
            <a:ext cx="9129925" cy="5148263"/>
          </a:xfrm>
          <a:prstGeom prst="rect">
            <a:avLst/>
          </a:prstGeom>
        </p:spPr>
      </p:pic>
    </p:spTree>
    <p:extLst>
      <p:ext uri="{BB962C8B-B14F-4D97-AF65-F5344CB8AC3E}">
        <p14:creationId xmlns:p14="http://schemas.microsoft.com/office/powerpoint/2010/main" val="20366955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g"/><Relationship Id="rId5" Type="http://schemas.openxmlformats.org/officeDocument/2006/relationships/slideLayout" Target="../slideLayouts/slideLayout5.xml"/><Relationship Id="rId10" Type="http://schemas.openxmlformats.org/officeDocument/2006/relationships/image" Target="../media/image1.jp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theme" Target="../theme/theme10.xml"/><Relationship Id="rId5" Type="http://schemas.openxmlformats.org/officeDocument/2006/relationships/slideLayout" Target="../slideLayouts/slideLayout97.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0.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theme" Target="../theme/theme11.xml"/><Relationship Id="rId5" Type="http://schemas.openxmlformats.org/officeDocument/2006/relationships/slideLayout" Target="../slideLayouts/slideLayout107.x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0.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image" Target="../media/image21.jpg"/><Relationship Id="rId5" Type="http://schemas.openxmlformats.org/officeDocument/2006/relationships/slideLayout" Target="../slideLayouts/slideLayout117.xml"/><Relationship Id="rId10" Type="http://schemas.openxmlformats.org/officeDocument/2006/relationships/image" Target="../media/image1.jpg"/><Relationship Id="rId4" Type="http://schemas.openxmlformats.org/officeDocument/2006/relationships/slideLayout" Target="../slideLayouts/slideLayout116.xml"/><Relationship Id="rId9"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8.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heme" Target="../theme/theme13.xml"/><Relationship Id="rId5" Type="http://schemas.openxmlformats.org/officeDocument/2006/relationships/slideLayout" Target="../slideLayouts/slideLayout125.xml"/><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38.xml"/><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theme" Target="../theme/theme14.xml"/><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49.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theme" Target="../theme/theme15.xml"/><Relationship Id="rId5" Type="http://schemas.openxmlformats.org/officeDocument/2006/relationships/slideLayout" Target="../slideLayouts/slideLayout14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59.xml"/><Relationship Id="rId3" Type="http://schemas.openxmlformats.org/officeDocument/2006/relationships/slideLayout" Target="../slideLayouts/slideLayout154.xml"/><Relationship Id="rId7" Type="http://schemas.openxmlformats.org/officeDocument/2006/relationships/slideLayout" Target="../slideLayouts/slideLayout158.xml"/><Relationship Id="rId2" Type="http://schemas.openxmlformats.org/officeDocument/2006/relationships/slideLayout" Target="../slideLayouts/slideLayout153.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image" Target="../media/image3.jpg"/><Relationship Id="rId5" Type="http://schemas.openxmlformats.org/officeDocument/2006/relationships/slideLayout" Target="../slideLayouts/slideLayout156.xml"/><Relationship Id="rId10" Type="http://schemas.openxmlformats.org/officeDocument/2006/relationships/image" Target="../media/image24.jpg"/><Relationship Id="rId4" Type="http://schemas.openxmlformats.org/officeDocument/2006/relationships/slideLayout" Target="../slideLayouts/slideLayout155.xml"/><Relationship Id="rId9"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theme" Target="../theme/theme17.x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10" Type="http://schemas.openxmlformats.org/officeDocument/2006/relationships/slideLayout" Target="../slideLayouts/slideLayout169.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84.xml"/><Relationship Id="rId3" Type="http://schemas.openxmlformats.org/officeDocument/2006/relationships/slideLayout" Target="../slideLayouts/slideLayout179.xml"/><Relationship Id="rId7" Type="http://schemas.openxmlformats.org/officeDocument/2006/relationships/slideLayout" Target="../slideLayouts/slideLayout183.xml"/><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theme" Target="../theme/theme18.xml"/><Relationship Id="rId5" Type="http://schemas.openxmlformats.org/officeDocument/2006/relationships/slideLayout" Target="../slideLayouts/slideLayout181.xml"/><Relationship Id="rId10" Type="http://schemas.openxmlformats.org/officeDocument/2006/relationships/slideLayout" Target="../slideLayouts/slideLayout186.xml"/><Relationship Id="rId4" Type="http://schemas.openxmlformats.org/officeDocument/2006/relationships/slideLayout" Target="../slideLayouts/slideLayout180.xml"/><Relationship Id="rId9" Type="http://schemas.openxmlformats.org/officeDocument/2006/relationships/slideLayout" Target="../slideLayouts/slideLayout18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94.xml"/><Relationship Id="rId3" Type="http://schemas.openxmlformats.org/officeDocument/2006/relationships/slideLayout" Target="../slideLayouts/slideLayout189.xml"/><Relationship Id="rId7" Type="http://schemas.openxmlformats.org/officeDocument/2006/relationships/slideLayout" Target="../slideLayouts/slideLayout193.xml"/><Relationship Id="rId2" Type="http://schemas.openxmlformats.org/officeDocument/2006/relationships/slideLayout" Target="../slideLayouts/slideLayout188.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image" Target="../media/image3.jpg"/><Relationship Id="rId5" Type="http://schemas.openxmlformats.org/officeDocument/2006/relationships/slideLayout" Target="../slideLayouts/slideLayout191.xml"/><Relationship Id="rId10" Type="http://schemas.openxmlformats.org/officeDocument/2006/relationships/image" Target="../media/image1.jpg"/><Relationship Id="rId4" Type="http://schemas.openxmlformats.org/officeDocument/2006/relationships/slideLayout" Target="../slideLayouts/slideLayout190.xml"/><Relationship Id="rId9"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image" Target="../media/image3.jp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image" Target="../media/image1.jpg"/><Relationship Id="rId2" Type="http://schemas.openxmlformats.org/officeDocument/2006/relationships/slideLayout" Target="../slideLayouts/slideLayout32.xml"/><Relationship Id="rId16" Type="http://schemas.openxmlformats.org/officeDocument/2006/relationships/theme" Target="../theme/theme4.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6.jpeg"/><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image" Target="../media/image7.png"/><Relationship Id="rId5" Type="http://schemas.openxmlformats.org/officeDocument/2006/relationships/slideLayout" Target="../slideLayouts/slideLayout61.xml"/><Relationship Id="rId10" Type="http://schemas.openxmlformats.org/officeDocument/2006/relationships/image" Target="../media/image1.jpg"/><Relationship Id="rId4" Type="http://schemas.openxmlformats.org/officeDocument/2006/relationships/slideLayout" Target="../slideLayouts/slideLayout60.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heme" Target="../theme/theme7.xml"/><Relationship Id="rId5" Type="http://schemas.openxmlformats.org/officeDocument/2006/relationships/slideLayout" Target="../slideLayouts/slideLayout6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2.xml"/><Relationship Id="rId3" Type="http://schemas.openxmlformats.org/officeDocument/2006/relationships/slideLayout" Target="../slideLayouts/slideLayout77.xml"/><Relationship Id="rId7" Type="http://schemas.openxmlformats.org/officeDocument/2006/relationships/slideLayout" Target="../slideLayouts/slideLayout81.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theme" Target="../theme/theme8.xml"/><Relationship Id="rId5" Type="http://schemas.openxmlformats.org/officeDocument/2006/relationships/slideLayout" Target="../slideLayouts/slideLayout7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image" Target="../media/image18.png"/><Relationship Id="rId5" Type="http://schemas.openxmlformats.org/officeDocument/2006/relationships/slideLayout" Target="../slideLayouts/slideLayout89.xml"/><Relationship Id="rId10" Type="http://schemas.openxmlformats.org/officeDocument/2006/relationships/image" Target="../media/image1.jpg"/><Relationship Id="rId4" Type="http://schemas.openxmlformats.org/officeDocument/2006/relationships/slideLayout" Target="../slideLayouts/slideLayout88.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4" name="Picture 13" descr="Graphical user interface, application&#10;&#10;Description automatically generated with medium confidence">
            <a:extLst>
              <a:ext uri="{FF2B5EF4-FFF2-40B4-BE49-F238E27FC236}">
                <a16:creationId xmlns:a16="http://schemas.microsoft.com/office/drawing/2014/main" id="{881B161A-BAD2-4FED-9737-E079EBD43CA4}"/>
              </a:ext>
            </a:extLst>
          </p:cNvPr>
          <p:cNvPicPr>
            <a:picLocks noChangeAspect="1"/>
          </p:cNvPicPr>
          <p:nvPr userDrawn="1"/>
        </p:nvPicPr>
        <p:blipFill>
          <a:blip r:embed="rId10"/>
          <a:stretch>
            <a:fillRect/>
          </a:stretch>
        </p:blipFill>
        <p:spPr>
          <a:xfrm>
            <a:off x="-16273" y="-40426"/>
            <a:ext cx="9215692" cy="5196626"/>
          </a:xfrm>
          <a:prstGeom prst="rect">
            <a:avLst/>
          </a:prstGeom>
        </p:spPr>
      </p:pic>
      <p:sp>
        <p:nvSpPr>
          <p:cNvPr id="1028" name="Rectangle 3"/>
          <p:cNvSpPr>
            <a:spLocks noGrp="1" noChangeArrowheads="1"/>
          </p:cNvSpPr>
          <p:nvPr>
            <p:ph type="body" idx="1"/>
          </p:nvPr>
        </p:nvSpPr>
        <p:spPr bwMode="auto">
          <a:xfrm>
            <a:off x="685800" y="1372870"/>
            <a:ext cx="7772400" cy="2742388"/>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3"/>
          </p:nvPr>
        </p:nvSpPr>
        <p:spPr>
          <a:xfrm>
            <a:off x="2897632" y="4593882"/>
            <a:ext cx="3903712" cy="417515"/>
          </a:xfrm>
          <a:prstGeom prst="rect">
            <a:avLst/>
          </a:prstGeom>
        </p:spPr>
        <p:txBody>
          <a:bodyPr vert="horz" lIns="91440" tIns="45720" rIns="91440" bIns="45720" rtlCol="0" anchor="ctr"/>
          <a:lstStyle>
            <a:lvl1pPr algn="ctr">
              <a:defRPr sz="1200">
                <a:solidFill>
                  <a:srgbClr val="800000"/>
                </a:solidFill>
              </a:defRPr>
            </a:lvl1pPr>
          </a:lstStyle>
          <a:p>
            <a:endParaRPr lang="en-US" dirty="0"/>
          </a:p>
        </p:txBody>
      </p:sp>
      <p:sp>
        <p:nvSpPr>
          <p:cNvPr id="5" name="TextBox 4"/>
          <p:cNvSpPr txBox="1"/>
          <p:nvPr userDrawn="1"/>
        </p:nvSpPr>
        <p:spPr>
          <a:xfrm>
            <a:off x="6872288" y="5943600"/>
            <a:ext cx="269626" cy="461665"/>
          </a:xfrm>
          <a:prstGeom prst="rect">
            <a:avLst/>
          </a:prstGeom>
          <a:noFill/>
        </p:spPr>
        <p:txBody>
          <a:bodyPr wrap="none" rtlCol="0">
            <a:spAutoFit/>
          </a:bodyPr>
          <a:lstStyle/>
          <a:p>
            <a:r>
              <a:rPr lang="en-US" dirty="0"/>
              <a:t> </a:t>
            </a:r>
          </a:p>
        </p:txBody>
      </p:sp>
      <p:cxnSp>
        <p:nvCxnSpPr>
          <p:cNvPr id="8" name="Straight Connector 7">
            <a:extLst>
              <a:ext uri="{FF2B5EF4-FFF2-40B4-BE49-F238E27FC236}">
                <a16:creationId xmlns:a16="http://schemas.microsoft.com/office/drawing/2014/main" id="{5F391403-AA08-384C-BF6A-9AE5185F6540}"/>
              </a:ext>
            </a:extLst>
          </p:cNvPr>
          <p:cNvCxnSpPr/>
          <p:nvPr userDrawn="1"/>
        </p:nvCxnSpPr>
        <p:spPr>
          <a:xfrm>
            <a:off x="0" y="4309607"/>
            <a:ext cx="9144000" cy="0"/>
          </a:xfrm>
          <a:prstGeom prst="line">
            <a:avLst/>
          </a:prstGeom>
          <a:ln w="28575">
            <a:solidFill>
              <a:srgbClr val="003767"/>
            </a:solidFill>
          </a:ln>
        </p:spPr>
        <p:style>
          <a:lnRef idx="1">
            <a:schemeClr val="accent1"/>
          </a:lnRef>
          <a:fillRef idx="0">
            <a:schemeClr val="accent1"/>
          </a:fillRef>
          <a:effectRef idx="0">
            <a:schemeClr val="accent1"/>
          </a:effectRef>
          <a:fontRef idx="minor">
            <a:schemeClr val="tx1"/>
          </a:fontRef>
        </p:style>
      </p:cxnSp>
      <p:pic>
        <p:nvPicPr>
          <p:cNvPr id="4" name="Picture 3" descr="A close-up of a logo&#10;&#10;Description automatically generated">
            <a:extLst>
              <a:ext uri="{FF2B5EF4-FFF2-40B4-BE49-F238E27FC236}">
                <a16:creationId xmlns:a16="http://schemas.microsoft.com/office/drawing/2014/main" id="{DC3CBACE-134A-763B-B21D-A44705880125}"/>
              </a:ext>
            </a:extLst>
          </p:cNvPr>
          <p:cNvPicPr>
            <a:picLocks noChangeAspect="1"/>
          </p:cNvPicPr>
          <p:nvPr userDrawn="1"/>
        </p:nvPicPr>
        <p:blipFill>
          <a:blip r:embed="rId11"/>
          <a:stretch>
            <a:fillRect/>
          </a:stretch>
        </p:blipFill>
        <p:spPr>
          <a:xfrm>
            <a:off x="6075194" y="4461235"/>
            <a:ext cx="3068806" cy="628005"/>
          </a:xfrm>
          <a:prstGeom prst="rect">
            <a:avLst/>
          </a:prstGeom>
        </p:spPr>
      </p:pic>
    </p:spTree>
    <p:extLst>
      <p:ext uri="{BB962C8B-B14F-4D97-AF65-F5344CB8AC3E}">
        <p14:creationId xmlns:p14="http://schemas.microsoft.com/office/powerpoint/2010/main" val="1070809925"/>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6" r:id="rId7"/>
    <p:sldLayoutId id="2147483667" r:id="rId8"/>
  </p:sldLayoutIdLst>
  <p:txStyles>
    <p:titleStyle>
      <a:lvl1pPr algn="ctr" rtl="0" eaLnBrk="1" fontAlgn="base" hangingPunct="1">
        <a:spcBef>
          <a:spcPct val="0"/>
        </a:spcBef>
        <a:spcAft>
          <a:spcPct val="0"/>
        </a:spcAft>
        <a:defRPr sz="3600" i="0">
          <a:solidFill>
            <a:schemeClr val="bg1"/>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p:titleStyle>
    <p:body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5172625"/>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0819068"/>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descr="Graphical user interface, application&#10;&#10;Description automatically generated with medium confidence">
            <a:extLst>
              <a:ext uri="{FF2B5EF4-FFF2-40B4-BE49-F238E27FC236}">
                <a16:creationId xmlns:a16="http://schemas.microsoft.com/office/drawing/2014/main" id="{4E353A3F-6669-74D7-5DD1-78C6CF0FCD19}"/>
              </a:ext>
            </a:extLst>
          </p:cNvPr>
          <p:cNvPicPr>
            <a:picLocks noChangeAspect="1"/>
          </p:cNvPicPr>
          <p:nvPr userDrawn="1"/>
        </p:nvPicPr>
        <p:blipFill>
          <a:blip r:embed="rId10"/>
          <a:stretch>
            <a:fillRect/>
          </a:stretch>
        </p:blipFill>
        <p:spPr>
          <a:xfrm>
            <a:off x="-71692" y="0"/>
            <a:ext cx="9215692" cy="5196626"/>
          </a:xfrm>
          <a:prstGeom prst="rect">
            <a:avLst/>
          </a:prstGeom>
        </p:spPr>
      </p:pic>
      <p:sp>
        <p:nvSpPr>
          <p:cNvPr id="1028" name="Rectangle 3"/>
          <p:cNvSpPr>
            <a:spLocks noGrp="1" noChangeArrowheads="1"/>
          </p:cNvSpPr>
          <p:nvPr>
            <p:ph type="body" idx="1"/>
          </p:nvPr>
        </p:nvSpPr>
        <p:spPr bwMode="auto">
          <a:xfrm>
            <a:off x="685800" y="1372870"/>
            <a:ext cx="7772400" cy="2742388"/>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6872288" y="5943600"/>
            <a:ext cx="269626" cy="461665"/>
          </a:xfrm>
          <a:prstGeom prst="rect">
            <a:avLst/>
          </a:prstGeom>
          <a:noFill/>
        </p:spPr>
        <p:txBody>
          <a:bodyPr wrap="none" rtlCol="0">
            <a:spAutoFit/>
          </a:bodyPr>
          <a:lstStyle/>
          <a:p>
            <a:r>
              <a:rPr lang="en-US" dirty="0"/>
              <a:t> </a:t>
            </a:r>
          </a:p>
        </p:txBody>
      </p:sp>
      <p:pic>
        <p:nvPicPr>
          <p:cNvPr id="3" name="Picture 2" descr="A close-up of a logo&#10;&#10;Description automatically generated">
            <a:extLst>
              <a:ext uri="{FF2B5EF4-FFF2-40B4-BE49-F238E27FC236}">
                <a16:creationId xmlns:a16="http://schemas.microsoft.com/office/drawing/2014/main" id="{7F7AD78E-C438-8DBB-B071-2F2E0A2E597F}"/>
              </a:ext>
            </a:extLst>
          </p:cNvPr>
          <p:cNvPicPr>
            <a:picLocks noChangeAspect="1"/>
          </p:cNvPicPr>
          <p:nvPr userDrawn="1"/>
        </p:nvPicPr>
        <p:blipFill rotWithShape="1">
          <a:blip r:embed="rId11"/>
          <a:srcRect l="14877" t="19927" r="10762" b="19477"/>
          <a:stretch/>
        </p:blipFill>
        <p:spPr>
          <a:xfrm>
            <a:off x="7279074" y="4446287"/>
            <a:ext cx="1737360" cy="762672"/>
          </a:xfrm>
          <a:prstGeom prst="rect">
            <a:avLst/>
          </a:prstGeom>
        </p:spPr>
      </p:pic>
    </p:spTree>
    <p:extLst>
      <p:ext uri="{BB962C8B-B14F-4D97-AF65-F5344CB8AC3E}">
        <p14:creationId xmlns:p14="http://schemas.microsoft.com/office/powerpoint/2010/main" val="4059699241"/>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Lst>
  <p:txStyles>
    <p:titleStyle>
      <a:lvl1pPr algn="ctr" rtl="0" eaLnBrk="1" fontAlgn="base" hangingPunct="1">
        <a:spcBef>
          <a:spcPct val="0"/>
        </a:spcBef>
        <a:spcAft>
          <a:spcPct val="0"/>
        </a:spcAft>
        <a:defRPr sz="3600" i="0">
          <a:solidFill>
            <a:schemeClr val="bg1"/>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p:titleStyle>
    <p:body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1">
          <p15:clr>
            <a:srgbClr val="F26B43"/>
          </p15:clr>
        </p15:guide>
        <p15:guide id="2" pos="288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9898954"/>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EA61415-C6F7-65B9-A36D-3E30BCB3873A}"/>
              </a:ext>
            </a:extLst>
          </p:cNvPr>
          <p:cNvSpPr>
            <a:spLocks noGrp="1"/>
          </p:cNvSpPr>
          <p:nvPr>
            <p:ph type="title"/>
          </p:nvPr>
        </p:nvSpPr>
        <p:spPr>
          <a:xfrm>
            <a:off x="628650" y="274098"/>
            <a:ext cx="7886700" cy="99509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7E30986-12CB-EEC8-2D95-0FCCFE8FF8C5}"/>
              </a:ext>
            </a:extLst>
          </p:cNvPr>
          <p:cNvSpPr>
            <a:spLocks noGrp="1"/>
          </p:cNvSpPr>
          <p:nvPr>
            <p:ph type="body" idx="1"/>
          </p:nvPr>
        </p:nvSpPr>
        <p:spPr>
          <a:xfrm>
            <a:off x="628650" y="1370486"/>
            <a:ext cx="7886700" cy="326652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886351-7767-EC50-C856-6ED8205DA367}"/>
              </a:ext>
            </a:extLst>
          </p:cNvPr>
          <p:cNvSpPr>
            <a:spLocks noGrp="1"/>
          </p:cNvSpPr>
          <p:nvPr>
            <p:ph type="dt" sz="half" idx="2"/>
          </p:nvPr>
        </p:nvSpPr>
        <p:spPr>
          <a:xfrm>
            <a:off x="628650" y="4771678"/>
            <a:ext cx="2057400" cy="274097"/>
          </a:xfrm>
          <a:prstGeom prst="rect">
            <a:avLst/>
          </a:prstGeom>
        </p:spPr>
        <p:txBody>
          <a:bodyPr vert="horz" lIns="91440" tIns="45720" rIns="91440" bIns="45720" rtlCol="0" anchor="ctr"/>
          <a:lstStyle>
            <a:lvl1pPr algn="l">
              <a:defRPr sz="900">
                <a:solidFill>
                  <a:schemeClr val="tx1">
                    <a:tint val="75000"/>
                  </a:schemeClr>
                </a:solidFill>
              </a:defRPr>
            </a:lvl1pPr>
          </a:lstStyle>
          <a:p>
            <a:fld id="{05834BF6-1AC8-2349-BB78-6727C1965871}" type="datetimeFigureOut">
              <a:rPr lang="en-US" smtClean="0"/>
              <a:t>5/10/2024</a:t>
            </a:fld>
            <a:endParaRPr lang="en-US"/>
          </a:p>
        </p:txBody>
      </p:sp>
      <p:sp>
        <p:nvSpPr>
          <p:cNvPr id="5" name="Footer Placeholder 4">
            <a:extLst>
              <a:ext uri="{FF2B5EF4-FFF2-40B4-BE49-F238E27FC236}">
                <a16:creationId xmlns:a16="http://schemas.microsoft.com/office/drawing/2014/main" id="{75F33C09-F377-71B5-9ABF-B0D65D532C4A}"/>
              </a:ext>
            </a:extLst>
          </p:cNvPr>
          <p:cNvSpPr>
            <a:spLocks noGrp="1"/>
          </p:cNvSpPr>
          <p:nvPr>
            <p:ph type="ftr" sz="quarter" idx="3"/>
          </p:nvPr>
        </p:nvSpPr>
        <p:spPr>
          <a:xfrm>
            <a:off x="3028950" y="4771678"/>
            <a:ext cx="3086100" cy="274097"/>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335A634-ADAC-78BF-A1E0-19F4D0C20189}"/>
              </a:ext>
            </a:extLst>
          </p:cNvPr>
          <p:cNvSpPr>
            <a:spLocks noGrp="1"/>
          </p:cNvSpPr>
          <p:nvPr>
            <p:ph type="sldNum" sz="quarter" idx="4"/>
          </p:nvPr>
        </p:nvSpPr>
        <p:spPr>
          <a:xfrm>
            <a:off x="6457950" y="4771678"/>
            <a:ext cx="2057400" cy="274097"/>
          </a:xfrm>
          <a:prstGeom prst="rect">
            <a:avLst/>
          </a:prstGeom>
        </p:spPr>
        <p:txBody>
          <a:bodyPr vert="horz" lIns="91440" tIns="45720" rIns="91440" bIns="45720" rtlCol="0" anchor="ctr"/>
          <a:lstStyle>
            <a:lvl1pPr algn="r">
              <a:defRPr sz="900">
                <a:solidFill>
                  <a:schemeClr val="tx1">
                    <a:tint val="75000"/>
                  </a:schemeClr>
                </a:solidFill>
              </a:defRPr>
            </a:lvl1pPr>
          </a:lstStyle>
          <a:p>
            <a:fld id="{0F490B9D-4A25-EF4C-8680-CCEF6CF61D8F}" type="slidenum">
              <a:rPr lang="en-US" smtClean="0"/>
              <a:t>‹#›</a:t>
            </a:fld>
            <a:endParaRPr lang="en-US"/>
          </a:p>
        </p:txBody>
      </p:sp>
    </p:spTree>
    <p:extLst>
      <p:ext uri="{BB962C8B-B14F-4D97-AF65-F5344CB8AC3E}">
        <p14:creationId xmlns:p14="http://schemas.microsoft.com/office/powerpoint/2010/main" val="948837257"/>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85360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2"/>
        <p:cNvGrpSpPr/>
        <p:nvPr/>
      </p:nvGrpSpPr>
      <p:grpSpPr>
        <a:xfrm>
          <a:off x="0" y="0"/>
          <a:ext cx="0" cy="0"/>
          <a:chOff x="0" y="0"/>
          <a:chExt cx="0" cy="0"/>
        </a:xfrm>
      </p:grpSpPr>
      <p:pic>
        <p:nvPicPr>
          <p:cNvPr id="33" name="Google Shape;33;p11" descr="Graphical user interface, application&#10;&#10;Description automatically generated with medium confidence"/>
          <p:cNvPicPr preferRelativeResize="0"/>
          <p:nvPr/>
        </p:nvPicPr>
        <p:blipFill rotWithShape="1">
          <a:blip r:embed="rId10">
            <a:alphaModFix/>
          </a:blip>
          <a:srcRect/>
          <a:stretch/>
        </p:blipFill>
        <p:spPr>
          <a:xfrm>
            <a:off x="-71692" y="0"/>
            <a:ext cx="9215692" cy="5196626"/>
          </a:xfrm>
          <a:prstGeom prst="rect">
            <a:avLst/>
          </a:prstGeom>
          <a:noFill/>
          <a:ln>
            <a:noFill/>
          </a:ln>
        </p:spPr>
      </p:pic>
      <p:sp>
        <p:nvSpPr>
          <p:cNvPr id="34" name="Google Shape;34;p11"/>
          <p:cNvSpPr txBox="1">
            <a:spLocks noGrp="1"/>
          </p:cNvSpPr>
          <p:nvPr>
            <p:ph type="body" idx="1"/>
          </p:nvPr>
        </p:nvSpPr>
        <p:spPr>
          <a:xfrm>
            <a:off x="685800" y="1372870"/>
            <a:ext cx="7772400" cy="2742388"/>
          </a:xfrm>
          <a:prstGeom prst="rect">
            <a:avLst/>
          </a:prstGeom>
          <a:noFill/>
          <a:ln>
            <a:noFill/>
          </a:ln>
        </p:spPr>
        <p:txBody>
          <a:bodyPr spcFirstLastPara="1" wrap="square" lIns="91425" tIns="45700" rIns="91425" bIns="45700" anchor="t" anchorCtr="0">
            <a:noAutofit/>
          </a:bodyPr>
          <a:lstStyle>
            <a:lvl1pPr marL="457200" marR="0" lvl="0"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1pPr>
            <a:lvl2pPr marL="914400" marR="0" lvl="1"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2pPr>
            <a:lvl3pPr marL="1371600" marR="0" lvl="2" indent="-342900" algn="l" rtl="0">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L="1828800" marR="0" lvl="3" indent="-228600" algn="l" rtl="0">
              <a:spcBef>
                <a:spcPts val="400"/>
              </a:spcBef>
              <a:spcAft>
                <a:spcPts val="0"/>
              </a:spcAft>
              <a:buSzPts val="1400"/>
              <a:buNone/>
              <a:defRPr sz="2000" b="0" i="0" u="none" strike="noStrike" cap="none">
                <a:solidFill>
                  <a:schemeClr val="dk1"/>
                </a:solidFill>
                <a:latin typeface="Arial"/>
                <a:ea typeface="Arial"/>
                <a:cs typeface="Arial"/>
                <a:sym typeface="Arial"/>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5" name="Google Shape;35;p11"/>
          <p:cNvSpPr txBox="1"/>
          <p:nvPr/>
        </p:nvSpPr>
        <p:spPr>
          <a:xfrm>
            <a:off x="6872288" y="5943600"/>
            <a:ext cx="269626" cy="46166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b="0" i="0" u="none" strike="noStrike" cap="none">
                <a:solidFill>
                  <a:schemeClr val="dk1"/>
                </a:solidFill>
                <a:latin typeface="Arial"/>
                <a:ea typeface="Arial"/>
                <a:cs typeface="Arial"/>
                <a:sym typeface="Arial"/>
              </a:rPr>
              <a:t> </a:t>
            </a:r>
            <a:endParaRPr/>
          </a:p>
        </p:txBody>
      </p:sp>
      <p:pic>
        <p:nvPicPr>
          <p:cNvPr id="2" name="Picture 1" descr="A close up of a logo&#10;&#10;Description automatically generated">
            <a:extLst>
              <a:ext uri="{FF2B5EF4-FFF2-40B4-BE49-F238E27FC236}">
                <a16:creationId xmlns:a16="http://schemas.microsoft.com/office/drawing/2014/main" id="{D07081E5-6C05-6D56-FC8B-38DB11F59739}"/>
              </a:ext>
            </a:extLst>
          </p:cNvPr>
          <p:cNvPicPr>
            <a:picLocks noChangeAspect="1"/>
          </p:cNvPicPr>
          <p:nvPr userDrawn="1"/>
        </p:nvPicPr>
        <p:blipFill>
          <a:blip r:embed="rId11"/>
          <a:stretch>
            <a:fillRect/>
          </a:stretch>
        </p:blipFill>
        <p:spPr>
          <a:xfrm>
            <a:off x="5722620" y="4518660"/>
            <a:ext cx="3327609" cy="553988"/>
          </a:xfrm>
          <a:prstGeom prst="rect">
            <a:avLst/>
          </a:prstGeom>
        </p:spPr>
      </p:pic>
    </p:spTree>
    <p:extLst>
      <p:ext uri="{BB962C8B-B14F-4D97-AF65-F5344CB8AC3E}">
        <p14:creationId xmlns:p14="http://schemas.microsoft.com/office/powerpoint/2010/main" val="3729485463"/>
      </p:ext>
    </p:extLst>
  </p:cSld>
  <p:clrMap bg1="lt1" tx1="dk1" bg2="dk2" tx2="lt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4E5AB15-F403-1589-4A88-18895FEB7496}"/>
              </a:ext>
            </a:extLst>
          </p:cNvPr>
          <p:cNvSpPr>
            <a:spLocks noGrp="1"/>
          </p:cNvSpPr>
          <p:nvPr>
            <p:ph type="title"/>
          </p:nvPr>
        </p:nvSpPr>
        <p:spPr>
          <a:xfrm>
            <a:off x="628650" y="274098"/>
            <a:ext cx="7886700" cy="99509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2205CE2-1E19-0EAE-3B4F-00EBA383AA20}"/>
              </a:ext>
            </a:extLst>
          </p:cNvPr>
          <p:cNvSpPr>
            <a:spLocks noGrp="1"/>
          </p:cNvSpPr>
          <p:nvPr>
            <p:ph type="body" idx="1"/>
          </p:nvPr>
        </p:nvSpPr>
        <p:spPr>
          <a:xfrm>
            <a:off x="628650" y="1370486"/>
            <a:ext cx="7886700" cy="326652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1CC54B-71D0-4E58-AE84-59CD173FBF79}"/>
              </a:ext>
            </a:extLst>
          </p:cNvPr>
          <p:cNvSpPr>
            <a:spLocks noGrp="1"/>
          </p:cNvSpPr>
          <p:nvPr>
            <p:ph type="dt" sz="half" idx="2"/>
          </p:nvPr>
        </p:nvSpPr>
        <p:spPr>
          <a:xfrm>
            <a:off x="628650" y="4771678"/>
            <a:ext cx="2057400" cy="274097"/>
          </a:xfrm>
          <a:prstGeom prst="rect">
            <a:avLst/>
          </a:prstGeom>
        </p:spPr>
        <p:txBody>
          <a:bodyPr vert="horz" lIns="91440" tIns="45720" rIns="91440" bIns="45720" rtlCol="0" anchor="ctr"/>
          <a:lstStyle>
            <a:lvl1pPr algn="l">
              <a:defRPr sz="900">
                <a:solidFill>
                  <a:schemeClr val="tx1">
                    <a:tint val="75000"/>
                  </a:schemeClr>
                </a:solidFill>
              </a:defRPr>
            </a:lvl1pPr>
          </a:lstStyle>
          <a:p>
            <a:fld id="{55F69CC8-F36E-4C26-8022-D34C01625C07}" type="datetimeFigureOut">
              <a:rPr lang="en-US" smtClean="0"/>
              <a:t>5/10/2024</a:t>
            </a:fld>
            <a:endParaRPr lang="en-US"/>
          </a:p>
        </p:txBody>
      </p:sp>
      <p:sp>
        <p:nvSpPr>
          <p:cNvPr id="5" name="Footer Placeholder 4">
            <a:extLst>
              <a:ext uri="{FF2B5EF4-FFF2-40B4-BE49-F238E27FC236}">
                <a16:creationId xmlns:a16="http://schemas.microsoft.com/office/drawing/2014/main" id="{EA4D75EE-4068-1B87-C43E-9D0F64F7F765}"/>
              </a:ext>
            </a:extLst>
          </p:cNvPr>
          <p:cNvSpPr>
            <a:spLocks noGrp="1"/>
          </p:cNvSpPr>
          <p:nvPr>
            <p:ph type="ftr" sz="quarter" idx="3"/>
          </p:nvPr>
        </p:nvSpPr>
        <p:spPr>
          <a:xfrm>
            <a:off x="3028950" y="4771678"/>
            <a:ext cx="3086100" cy="274097"/>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855C2B4-2D46-DF92-3E44-B703A46F64A8}"/>
              </a:ext>
            </a:extLst>
          </p:cNvPr>
          <p:cNvSpPr>
            <a:spLocks noGrp="1"/>
          </p:cNvSpPr>
          <p:nvPr>
            <p:ph type="sldNum" sz="quarter" idx="4"/>
          </p:nvPr>
        </p:nvSpPr>
        <p:spPr>
          <a:xfrm>
            <a:off x="6457950" y="4771678"/>
            <a:ext cx="2057400" cy="274097"/>
          </a:xfrm>
          <a:prstGeom prst="rect">
            <a:avLst/>
          </a:prstGeom>
        </p:spPr>
        <p:txBody>
          <a:bodyPr vert="horz" lIns="91440" tIns="45720" rIns="91440" bIns="45720" rtlCol="0" anchor="ctr"/>
          <a:lstStyle>
            <a:lvl1pPr algn="r">
              <a:defRPr sz="900">
                <a:solidFill>
                  <a:schemeClr val="tx1">
                    <a:tint val="75000"/>
                  </a:schemeClr>
                </a:solidFill>
              </a:defRPr>
            </a:lvl1pPr>
          </a:lstStyle>
          <a:p>
            <a:fld id="{A5F8C0CE-96AB-4481-8909-2C97475F2BDA}" type="slidenum">
              <a:rPr lang="en-US" smtClean="0"/>
              <a:t>‹#›</a:t>
            </a:fld>
            <a:endParaRPr lang="en-US"/>
          </a:p>
        </p:txBody>
      </p:sp>
    </p:spTree>
    <p:extLst>
      <p:ext uri="{BB962C8B-B14F-4D97-AF65-F5344CB8AC3E}">
        <p14:creationId xmlns:p14="http://schemas.microsoft.com/office/powerpoint/2010/main" val="1135004720"/>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2" r:id="rId10"/>
    <p:sldLayoutId id="2147483903" r:id="rId11"/>
    <p:sldLayoutId id="2147483904" r:id="rId12"/>
    <p:sldLayoutId id="2147483905" r:id="rId13"/>
    <p:sldLayoutId id="2147483906" r:id="rId14"/>
    <p:sldLayoutId id="2147483907" r:id="rId15"/>
    <p:sldLayoutId id="2147483908" r:id="rId16"/>
    <p:sldLayoutId id="2147483909" r:id="rId17"/>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6564656"/>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descr="Graphical user interface, application&#10;&#10;Description automatically generated with medium confidence">
            <a:extLst>
              <a:ext uri="{FF2B5EF4-FFF2-40B4-BE49-F238E27FC236}">
                <a16:creationId xmlns:a16="http://schemas.microsoft.com/office/drawing/2014/main" id="{4E353A3F-6669-74D7-5DD1-78C6CF0FCD19}"/>
              </a:ext>
            </a:extLst>
          </p:cNvPr>
          <p:cNvPicPr>
            <a:picLocks noChangeAspect="1"/>
          </p:cNvPicPr>
          <p:nvPr userDrawn="1"/>
        </p:nvPicPr>
        <p:blipFill>
          <a:blip r:embed="rId10"/>
          <a:stretch>
            <a:fillRect/>
          </a:stretch>
        </p:blipFill>
        <p:spPr>
          <a:xfrm>
            <a:off x="-71692" y="0"/>
            <a:ext cx="9215692" cy="5196626"/>
          </a:xfrm>
          <a:prstGeom prst="rect">
            <a:avLst/>
          </a:prstGeom>
        </p:spPr>
      </p:pic>
      <p:sp>
        <p:nvSpPr>
          <p:cNvPr id="1028" name="Rectangle 3"/>
          <p:cNvSpPr>
            <a:spLocks noGrp="1" noChangeArrowheads="1"/>
          </p:cNvSpPr>
          <p:nvPr>
            <p:ph type="body" idx="1"/>
          </p:nvPr>
        </p:nvSpPr>
        <p:spPr bwMode="auto">
          <a:xfrm>
            <a:off x="685800" y="1372870"/>
            <a:ext cx="7772400" cy="2742388"/>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4"/>
          <p:cNvSpPr txBox="1"/>
          <p:nvPr userDrawn="1"/>
        </p:nvSpPr>
        <p:spPr>
          <a:xfrm>
            <a:off x="6872288" y="5943600"/>
            <a:ext cx="269626" cy="461665"/>
          </a:xfrm>
          <a:prstGeom prst="rect">
            <a:avLst/>
          </a:prstGeom>
          <a:noFill/>
        </p:spPr>
        <p:txBody>
          <a:bodyPr wrap="none" rtlCol="0">
            <a:spAutoFit/>
          </a:bodyPr>
          <a:lstStyle/>
          <a:p>
            <a:r>
              <a:rPr lang="en-US" dirty="0"/>
              <a:t> </a:t>
            </a:r>
          </a:p>
        </p:txBody>
      </p:sp>
      <p:sp>
        <p:nvSpPr>
          <p:cNvPr id="2" name="AutoShape 2">
            <a:extLst>
              <a:ext uri="{FF2B5EF4-FFF2-40B4-BE49-F238E27FC236}">
                <a16:creationId xmlns:a16="http://schemas.microsoft.com/office/drawing/2014/main" id="{06C36F17-408B-D3F9-7E46-EE929667C7A3}"/>
              </a:ext>
            </a:extLst>
          </p:cNvPr>
          <p:cNvSpPr>
            <a:spLocks noChangeAspect="1" noChangeArrowheads="1"/>
          </p:cNvSpPr>
          <p:nvPr userDrawn="1"/>
        </p:nvSpPr>
        <p:spPr bwMode="auto">
          <a:xfrm>
            <a:off x="4419600" y="24209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descr="A close up of a logo&#10;&#10;Description automatically generated">
            <a:extLst>
              <a:ext uri="{FF2B5EF4-FFF2-40B4-BE49-F238E27FC236}">
                <a16:creationId xmlns:a16="http://schemas.microsoft.com/office/drawing/2014/main" id="{53EC1EAA-A01D-B42D-CFE7-0D78352CC73A}"/>
              </a:ext>
            </a:extLst>
          </p:cNvPr>
          <p:cNvPicPr>
            <a:picLocks noChangeAspect="1"/>
          </p:cNvPicPr>
          <p:nvPr userDrawn="1"/>
        </p:nvPicPr>
        <p:blipFill>
          <a:blip r:embed="rId11"/>
          <a:stretch>
            <a:fillRect/>
          </a:stretch>
        </p:blipFill>
        <p:spPr>
          <a:xfrm>
            <a:off x="5722620" y="4503420"/>
            <a:ext cx="3327609" cy="553988"/>
          </a:xfrm>
          <a:prstGeom prst="rect">
            <a:avLst/>
          </a:prstGeom>
        </p:spPr>
      </p:pic>
    </p:spTree>
    <p:extLst>
      <p:ext uri="{BB962C8B-B14F-4D97-AF65-F5344CB8AC3E}">
        <p14:creationId xmlns:p14="http://schemas.microsoft.com/office/powerpoint/2010/main" val="2681688096"/>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Lst>
  <p:txStyles>
    <p:titleStyle>
      <a:lvl1pPr algn="ctr" rtl="0" eaLnBrk="1" fontAlgn="base" hangingPunct="1">
        <a:spcBef>
          <a:spcPct val="0"/>
        </a:spcBef>
        <a:spcAft>
          <a:spcPct val="0"/>
        </a:spcAft>
        <a:defRPr sz="3600" i="0">
          <a:solidFill>
            <a:schemeClr val="bg1"/>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p:titleStyle>
    <p:body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4AAC0E2-2BD2-4D82-96AB-D95E3AAD3B40}"/>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5B36024-2F7B-4474-88EE-778994FD2F35}"/>
              </a:ext>
            </a:extLst>
          </p:cNvPr>
          <p:cNvSpPr>
            <a:spLocks noGrp="1"/>
          </p:cNvSpPr>
          <p:nvPr>
            <p:ph type="body" idx="1"/>
          </p:nvPr>
        </p:nvSpPr>
        <p:spPr>
          <a:xfrm>
            <a:off x="628650" y="1370013"/>
            <a:ext cx="7886700" cy="32670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B4B204-D270-46B4-881E-F62BBD9B281F}"/>
              </a:ext>
            </a:extLst>
          </p:cNvPr>
          <p:cNvSpPr>
            <a:spLocks noGrp="1"/>
          </p:cNvSpPr>
          <p:nvPr>
            <p:ph type="dt" sz="half" idx="2"/>
          </p:nvPr>
        </p:nvSpPr>
        <p:spPr>
          <a:xfrm>
            <a:off x="628650" y="4772025"/>
            <a:ext cx="2057400" cy="273050"/>
          </a:xfrm>
          <a:prstGeom prst="rect">
            <a:avLst/>
          </a:prstGeom>
        </p:spPr>
        <p:txBody>
          <a:bodyPr vert="horz" lIns="91440" tIns="45720" rIns="91440" bIns="45720" rtlCol="0" anchor="ctr"/>
          <a:lstStyle>
            <a:lvl1pPr algn="l">
              <a:defRPr sz="1200">
                <a:solidFill>
                  <a:schemeClr val="tx1">
                    <a:tint val="75000"/>
                  </a:schemeClr>
                </a:solidFill>
              </a:defRPr>
            </a:lvl1pPr>
          </a:lstStyle>
          <a:p>
            <a:fld id="{AF14DFFF-BE29-4D39-830D-DDE47C3C97AE}" type="datetimeFigureOut">
              <a:rPr lang="en-US" smtClean="0"/>
              <a:t>5/10/2024</a:t>
            </a:fld>
            <a:endParaRPr lang="en-US"/>
          </a:p>
        </p:txBody>
      </p:sp>
      <p:sp>
        <p:nvSpPr>
          <p:cNvPr id="5" name="Footer Placeholder 4">
            <a:extLst>
              <a:ext uri="{FF2B5EF4-FFF2-40B4-BE49-F238E27FC236}">
                <a16:creationId xmlns:a16="http://schemas.microsoft.com/office/drawing/2014/main" id="{1FB5AAC8-04F5-49FA-B6C4-1EFEA19B069F}"/>
              </a:ext>
            </a:extLst>
          </p:cNvPr>
          <p:cNvSpPr>
            <a:spLocks noGrp="1"/>
          </p:cNvSpPr>
          <p:nvPr>
            <p:ph type="ftr" sz="quarter" idx="3"/>
          </p:nvPr>
        </p:nvSpPr>
        <p:spPr>
          <a:xfrm>
            <a:off x="3028950" y="4772025"/>
            <a:ext cx="3086100" cy="273050"/>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CFCDD64-4860-4CEA-BD36-233344B122CE}"/>
              </a:ext>
            </a:extLst>
          </p:cNvPr>
          <p:cNvSpPr>
            <a:spLocks noGrp="1"/>
          </p:cNvSpPr>
          <p:nvPr>
            <p:ph type="sldNum" sz="quarter" idx="4"/>
          </p:nvPr>
        </p:nvSpPr>
        <p:spPr>
          <a:xfrm>
            <a:off x="6457950" y="4772025"/>
            <a:ext cx="2057400" cy="273050"/>
          </a:xfrm>
          <a:prstGeom prst="rect">
            <a:avLst/>
          </a:prstGeom>
        </p:spPr>
        <p:txBody>
          <a:bodyPr vert="horz" lIns="91440" tIns="45720" rIns="91440" bIns="45720" rtlCol="0" anchor="ctr"/>
          <a:lstStyle>
            <a:lvl1pPr algn="r">
              <a:defRPr sz="1200">
                <a:solidFill>
                  <a:schemeClr val="tx1">
                    <a:tint val="75000"/>
                  </a:schemeClr>
                </a:solidFill>
              </a:defRPr>
            </a:lvl1pPr>
          </a:lstStyle>
          <a:p>
            <a:fld id="{2D994E03-0F88-49B3-B680-88EAF0B5195C}" type="slidenum">
              <a:rPr lang="en-US" smtClean="0"/>
              <a:t>‹#›</a:t>
            </a:fld>
            <a:endParaRPr lang="en-US"/>
          </a:p>
        </p:txBody>
      </p:sp>
    </p:spTree>
    <p:extLst>
      <p:ext uri="{BB962C8B-B14F-4D97-AF65-F5344CB8AC3E}">
        <p14:creationId xmlns:p14="http://schemas.microsoft.com/office/powerpoint/2010/main" val="2762859007"/>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70013"/>
            <a:ext cx="7886700" cy="32670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72025"/>
            <a:ext cx="2057400" cy="273050"/>
          </a:xfrm>
          <a:prstGeom prst="rect">
            <a:avLst/>
          </a:prstGeom>
        </p:spPr>
        <p:txBody>
          <a:bodyPr vert="horz" lIns="91440" tIns="45720" rIns="91440" bIns="45720" rtlCol="0" anchor="ctr"/>
          <a:lstStyle>
            <a:lvl1pPr algn="l">
              <a:defRPr sz="1200">
                <a:solidFill>
                  <a:schemeClr val="tx1">
                    <a:tint val="75000"/>
                  </a:schemeClr>
                </a:solidFill>
              </a:defRPr>
            </a:lvl1pPr>
          </a:lstStyle>
          <a:p>
            <a:fld id="{42F41C86-81D1-154C-A238-A794744A1851}" type="datetimeFigureOut">
              <a:rPr lang="en-US" smtClean="0"/>
              <a:t>5/10/2024</a:t>
            </a:fld>
            <a:endParaRPr lang="en-US" dirty="0"/>
          </a:p>
        </p:txBody>
      </p:sp>
      <p:sp>
        <p:nvSpPr>
          <p:cNvPr id="5" name="Footer Placeholder 4"/>
          <p:cNvSpPr>
            <a:spLocks noGrp="1"/>
          </p:cNvSpPr>
          <p:nvPr>
            <p:ph type="ftr" sz="quarter" idx="3"/>
          </p:nvPr>
        </p:nvSpPr>
        <p:spPr>
          <a:xfrm>
            <a:off x="3028950" y="4772025"/>
            <a:ext cx="3086100" cy="273050"/>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4772025"/>
            <a:ext cx="2057400" cy="273050"/>
          </a:xfrm>
          <a:prstGeom prst="rect">
            <a:avLst/>
          </a:prstGeom>
        </p:spPr>
        <p:txBody>
          <a:bodyPr vert="horz" lIns="91440" tIns="45720" rIns="91440" bIns="45720" rtlCol="0" anchor="ctr"/>
          <a:lstStyle>
            <a:lvl1pPr algn="r">
              <a:defRPr sz="1200">
                <a:solidFill>
                  <a:schemeClr val="tx1">
                    <a:tint val="75000"/>
                  </a:schemeClr>
                </a:solidFill>
              </a:defRPr>
            </a:lvl1pPr>
          </a:lstStyle>
          <a:p>
            <a:fld id="{C0618FE0-1B40-C740-86BA-BF2D640F8EB0}" type="slidenum">
              <a:rPr lang="en-US" smtClean="0"/>
              <a:t>‹#›</a:t>
            </a:fld>
            <a:endParaRPr lang="en-US" dirty="0"/>
          </a:p>
        </p:txBody>
      </p:sp>
    </p:spTree>
    <p:extLst>
      <p:ext uri="{BB962C8B-B14F-4D97-AF65-F5344CB8AC3E}">
        <p14:creationId xmlns:p14="http://schemas.microsoft.com/office/powerpoint/2010/main" val="67865230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descr="Graphical user interface, application&#10;&#10;Description automatically generated with medium confidence">
            <a:extLst>
              <a:ext uri="{FF2B5EF4-FFF2-40B4-BE49-F238E27FC236}">
                <a16:creationId xmlns:a16="http://schemas.microsoft.com/office/drawing/2014/main" id="{4E353A3F-6669-74D7-5DD1-78C6CF0FCD19}"/>
              </a:ext>
            </a:extLst>
          </p:cNvPr>
          <p:cNvPicPr>
            <a:picLocks noChangeAspect="1"/>
          </p:cNvPicPr>
          <p:nvPr userDrawn="1"/>
        </p:nvPicPr>
        <p:blipFill>
          <a:blip r:embed="rId17"/>
          <a:stretch>
            <a:fillRect/>
          </a:stretch>
        </p:blipFill>
        <p:spPr>
          <a:xfrm>
            <a:off x="-71692" y="0"/>
            <a:ext cx="9215692" cy="5196626"/>
          </a:xfrm>
          <a:prstGeom prst="rect">
            <a:avLst/>
          </a:prstGeom>
        </p:spPr>
      </p:pic>
      <p:sp>
        <p:nvSpPr>
          <p:cNvPr id="1028" name="Rectangle 3"/>
          <p:cNvSpPr>
            <a:spLocks noGrp="1" noChangeArrowheads="1"/>
          </p:cNvSpPr>
          <p:nvPr>
            <p:ph type="body" idx="1"/>
          </p:nvPr>
        </p:nvSpPr>
        <p:spPr bwMode="auto">
          <a:xfrm>
            <a:off x="685800" y="1372870"/>
            <a:ext cx="7772400" cy="2742388"/>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6872288" y="5943600"/>
            <a:ext cx="269626" cy="461665"/>
          </a:xfrm>
          <a:prstGeom prst="rect">
            <a:avLst/>
          </a:prstGeom>
          <a:noFill/>
        </p:spPr>
        <p:txBody>
          <a:bodyPr wrap="none" rtlCol="0">
            <a:spAutoFit/>
          </a:bodyPr>
          <a:lstStyle/>
          <a:p>
            <a:r>
              <a:rPr lang="en-US" dirty="0"/>
              <a:t> </a:t>
            </a:r>
          </a:p>
        </p:txBody>
      </p:sp>
      <p:pic>
        <p:nvPicPr>
          <p:cNvPr id="3" name="Picture 2" descr="A close up of a logo&#10;&#10;Description automatically generated">
            <a:extLst>
              <a:ext uri="{FF2B5EF4-FFF2-40B4-BE49-F238E27FC236}">
                <a16:creationId xmlns:a16="http://schemas.microsoft.com/office/drawing/2014/main" id="{AA9BD4A4-66A2-3673-6CA0-33A2B6C54DAC}"/>
              </a:ext>
            </a:extLst>
          </p:cNvPr>
          <p:cNvPicPr>
            <a:picLocks noChangeAspect="1"/>
          </p:cNvPicPr>
          <p:nvPr userDrawn="1"/>
        </p:nvPicPr>
        <p:blipFill>
          <a:blip r:embed="rId18"/>
          <a:stretch>
            <a:fillRect/>
          </a:stretch>
        </p:blipFill>
        <p:spPr>
          <a:xfrm>
            <a:off x="5661660" y="4585238"/>
            <a:ext cx="3327609" cy="553988"/>
          </a:xfrm>
          <a:prstGeom prst="rect">
            <a:avLst/>
          </a:prstGeom>
        </p:spPr>
      </p:pic>
    </p:spTree>
    <p:extLst>
      <p:ext uri="{BB962C8B-B14F-4D97-AF65-F5344CB8AC3E}">
        <p14:creationId xmlns:p14="http://schemas.microsoft.com/office/powerpoint/2010/main" val="1070809925"/>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883" r:id="rId9"/>
    <p:sldLayoutId id="2147483884" r:id="rId10"/>
    <p:sldLayoutId id="2147483885" r:id="rId11"/>
    <p:sldLayoutId id="2147483886" r:id="rId12"/>
    <p:sldLayoutId id="2147483887" r:id="rId13"/>
    <p:sldLayoutId id="2147483889" r:id="rId14"/>
    <p:sldLayoutId id="2147483891" r:id="rId15"/>
  </p:sldLayoutIdLst>
  <p:txStyles>
    <p:titleStyle>
      <a:lvl1pPr algn="ctr" rtl="0" eaLnBrk="1" fontAlgn="base" hangingPunct="1">
        <a:spcBef>
          <a:spcPct val="0"/>
        </a:spcBef>
        <a:spcAft>
          <a:spcPct val="0"/>
        </a:spcAft>
        <a:defRPr sz="3600" i="0">
          <a:solidFill>
            <a:schemeClr val="bg1"/>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p:titleStyle>
    <p:body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980F6AA-0C77-248E-BC01-C872668947E5}"/>
              </a:ext>
            </a:extLst>
          </p:cNvPr>
          <p:cNvSpPr>
            <a:spLocks noGrp="1"/>
          </p:cNvSpPr>
          <p:nvPr>
            <p:ph type="title"/>
          </p:nvPr>
        </p:nvSpPr>
        <p:spPr>
          <a:xfrm>
            <a:off x="628650" y="274098"/>
            <a:ext cx="7886700" cy="99509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C2030B1-97C4-E322-6C19-148E937B7E6F}"/>
              </a:ext>
            </a:extLst>
          </p:cNvPr>
          <p:cNvSpPr>
            <a:spLocks noGrp="1"/>
          </p:cNvSpPr>
          <p:nvPr>
            <p:ph type="body" idx="1"/>
          </p:nvPr>
        </p:nvSpPr>
        <p:spPr>
          <a:xfrm>
            <a:off x="628650" y="1370486"/>
            <a:ext cx="7886700" cy="326652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C24295F-725D-1ECC-A471-FD9E2FC18FC9}"/>
              </a:ext>
            </a:extLst>
          </p:cNvPr>
          <p:cNvSpPr>
            <a:spLocks noGrp="1"/>
          </p:cNvSpPr>
          <p:nvPr>
            <p:ph type="dt" sz="half" idx="2"/>
          </p:nvPr>
        </p:nvSpPr>
        <p:spPr>
          <a:xfrm>
            <a:off x="628650" y="4771678"/>
            <a:ext cx="2057400" cy="274097"/>
          </a:xfrm>
          <a:prstGeom prst="rect">
            <a:avLst/>
          </a:prstGeom>
        </p:spPr>
        <p:txBody>
          <a:bodyPr vert="horz" lIns="91440" tIns="45720" rIns="91440" bIns="45720" rtlCol="0" anchor="ctr"/>
          <a:lstStyle>
            <a:lvl1pPr algn="l">
              <a:defRPr sz="900">
                <a:solidFill>
                  <a:schemeClr val="tx1">
                    <a:tint val="75000"/>
                  </a:schemeClr>
                </a:solidFill>
              </a:defRPr>
            </a:lvl1pPr>
          </a:lstStyle>
          <a:p>
            <a:fld id="{4DF9BD04-AC8F-C749-915B-B556DB5A4514}" type="datetimeFigureOut">
              <a:rPr lang="en-US" smtClean="0"/>
              <a:t>5/10/2024</a:t>
            </a:fld>
            <a:endParaRPr lang="en-US"/>
          </a:p>
        </p:txBody>
      </p:sp>
      <p:sp>
        <p:nvSpPr>
          <p:cNvPr id="5" name="Footer Placeholder 4">
            <a:extLst>
              <a:ext uri="{FF2B5EF4-FFF2-40B4-BE49-F238E27FC236}">
                <a16:creationId xmlns:a16="http://schemas.microsoft.com/office/drawing/2014/main" id="{83045624-CB77-3A7D-BD2B-A0963EAFBABF}"/>
              </a:ext>
            </a:extLst>
          </p:cNvPr>
          <p:cNvSpPr>
            <a:spLocks noGrp="1"/>
          </p:cNvSpPr>
          <p:nvPr>
            <p:ph type="ftr" sz="quarter" idx="3"/>
          </p:nvPr>
        </p:nvSpPr>
        <p:spPr>
          <a:xfrm>
            <a:off x="3028950" y="4771678"/>
            <a:ext cx="3086100" cy="274097"/>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FDCCE28-89A4-23E5-B1EC-21BA7D44AB22}"/>
              </a:ext>
            </a:extLst>
          </p:cNvPr>
          <p:cNvSpPr>
            <a:spLocks noGrp="1"/>
          </p:cNvSpPr>
          <p:nvPr>
            <p:ph type="sldNum" sz="quarter" idx="4"/>
          </p:nvPr>
        </p:nvSpPr>
        <p:spPr>
          <a:xfrm>
            <a:off x="6457950" y="4771678"/>
            <a:ext cx="2057400" cy="274097"/>
          </a:xfrm>
          <a:prstGeom prst="rect">
            <a:avLst/>
          </a:prstGeom>
        </p:spPr>
        <p:txBody>
          <a:bodyPr vert="horz" lIns="91440" tIns="45720" rIns="91440" bIns="45720" rtlCol="0" anchor="ctr"/>
          <a:lstStyle>
            <a:lvl1pPr algn="r">
              <a:defRPr sz="900">
                <a:solidFill>
                  <a:schemeClr val="tx1">
                    <a:tint val="75000"/>
                  </a:schemeClr>
                </a:solidFill>
              </a:defRPr>
            </a:lvl1pPr>
          </a:lstStyle>
          <a:p>
            <a:fld id="{4284F903-39F6-7F40-986E-5F33C4BECFE0}" type="slidenum">
              <a:rPr lang="en-US" smtClean="0"/>
              <a:t>‹#›</a:t>
            </a:fld>
            <a:endParaRPr lang="en-US"/>
          </a:p>
        </p:txBody>
      </p:sp>
    </p:spTree>
    <p:extLst>
      <p:ext uri="{BB962C8B-B14F-4D97-AF65-F5344CB8AC3E}">
        <p14:creationId xmlns:p14="http://schemas.microsoft.com/office/powerpoint/2010/main" val="1114642589"/>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658" r:id="rId10"/>
    <p:sldLayoutId id="2147483726"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descr="Graphical user interface, application&#10;&#10;Description automatically generated with medium confidence">
            <a:extLst>
              <a:ext uri="{FF2B5EF4-FFF2-40B4-BE49-F238E27FC236}">
                <a16:creationId xmlns:a16="http://schemas.microsoft.com/office/drawing/2014/main" id="{4E353A3F-6669-74D7-5DD1-78C6CF0FCD19}"/>
              </a:ext>
            </a:extLst>
          </p:cNvPr>
          <p:cNvPicPr>
            <a:picLocks noChangeAspect="1"/>
          </p:cNvPicPr>
          <p:nvPr userDrawn="1"/>
        </p:nvPicPr>
        <p:blipFill>
          <a:blip r:embed="rId10"/>
          <a:stretch>
            <a:fillRect/>
          </a:stretch>
        </p:blipFill>
        <p:spPr>
          <a:xfrm>
            <a:off x="-71692" y="0"/>
            <a:ext cx="9215692" cy="5196626"/>
          </a:xfrm>
          <a:prstGeom prst="rect">
            <a:avLst/>
          </a:prstGeom>
        </p:spPr>
      </p:pic>
      <p:sp>
        <p:nvSpPr>
          <p:cNvPr id="1028" name="Rectangle 3"/>
          <p:cNvSpPr>
            <a:spLocks noGrp="1" noChangeArrowheads="1"/>
          </p:cNvSpPr>
          <p:nvPr>
            <p:ph type="body" idx="1"/>
          </p:nvPr>
        </p:nvSpPr>
        <p:spPr bwMode="auto">
          <a:xfrm>
            <a:off x="685800" y="1372870"/>
            <a:ext cx="7772400" cy="2742388"/>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6872288" y="5943600"/>
            <a:ext cx="269626" cy="461665"/>
          </a:xfrm>
          <a:prstGeom prst="rect">
            <a:avLst/>
          </a:prstGeom>
          <a:noFill/>
        </p:spPr>
        <p:txBody>
          <a:bodyPr wrap="none" rtlCol="0">
            <a:spAutoFit/>
          </a:bodyPr>
          <a:lstStyle/>
          <a:p>
            <a:r>
              <a:rPr lang="en-US" dirty="0"/>
              <a:t> </a:t>
            </a:r>
          </a:p>
        </p:txBody>
      </p:sp>
      <p:pic>
        <p:nvPicPr>
          <p:cNvPr id="2" name="Picture 1" descr="Blue text on a black background&#10;&#10;Description automatically generated">
            <a:extLst>
              <a:ext uri="{FF2B5EF4-FFF2-40B4-BE49-F238E27FC236}">
                <a16:creationId xmlns:a16="http://schemas.microsoft.com/office/drawing/2014/main" id="{9F3E36A3-74DF-DAA7-89E4-1F407521D555}"/>
              </a:ext>
            </a:extLst>
          </p:cNvPr>
          <p:cNvPicPr>
            <a:picLocks noChangeAspect="1"/>
          </p:cNvPicPr>
          <p:nvPr userDrawn="1"/>
        </p:nvPicPr>
        <p:blipFill>
          <a:blip r:embed="rId11"/>
          <a:stretch>
            <a:fillRect/>
          </a:stretch>
        </p:blipFill>
        <p:spPr>
          <a:xfrm>
            <a:off x="6781800" y="4690798"/>
            <a:ext cx="2012950" cy="228600"/>
          </a:xfrm>
          <a:prstGeom prst="rect">
            <a:avLst/>
          </a:prstGeom>
        </p:spPr>
      </p:pic>
    </p:spTree>
    <p:extLst>
      <p:ext uri="{BB962C8B-B14F-4D97-AF65-F5344CB8AC3E}">
        <p14:creationId xmlns:p14="http://schemas.microsoft.com/office/powerpoint/2010/main" val="1992809754"/>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Lst>
  <p:txStyles>
    <p:titleStyle>
      <a:lvl1pPr algn="ctr" rtl="0" eaLnBrk="1" fontAlgn="base" hangingPunct="1">
        <a:spcBef>
          <a:spcPct val="0"/>
        </a:spcBef>
        <a:spcAft>
          <a:spcPct val="0"/>
        </a:spcAft>
        <a:defRPr sz="3600" i="0">
          <a:solidFill>
            <a:schemeClr val="bg1"/>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p:titleStyle>
    <p:body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465741"/>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3854133"/>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descr="Graphical user interface, application&#10;&#10;Description automatically generated with medium confidence">
            <a:extLst>
              <a:ext uri="{FF2B5EF4-FFF2-40B4-BE49-F238E27FC236}">
                <a16:creationId xmlns:a16="http://schemas.microsoft.com/office/drawing/2014/main" id="{4E353A3F-6669-74D7-5DD1-78C6CF0FCD19}"/>
              </a:ext>
            </a:extLst>
          </p:cNvPr>
          <p:cNvPicPr>
            <a:picLocks noChangeAspect="1"/>
          </p:cNvPicPr>
          <p:nvPr userDrawn="1"/>
        </p:nvPicPr>
        <p:blipFill>
          <a:blip r:embed="rId10"/>
          <a:stretch>
            <a:fillRect/>
          </a:stretch>
        </p:blipFill>
        <p:spPr>
          <a:xfrm>
            <a:off x="-71692" y="0"/>
            <a:ext cx="9215692" cy="5196626"/>
          </a:xfrm>
          <a:prstGeom prst="rect">
            <a:avLst/>
          </a:prstGeom>
        </p:spPr>
      </p:pic>
      <p:sp>
        <p:nvSpPr>
          <p:cNvPr id="1028" name="Rectangle 3"/>
          <p:cNvSpPr>
            <a:spLocks noGrp="1" noChangeArrowheads="1"/>
          </p:cNvSpPr>
          <p:nvPr>
            <p:ph type="body" idx="1"/>
          </p:nvPr>
        </p:nvSpPr>
        <p:spPr bwMode="auto">
          <a:xfrm>
            <a:off x="685800" y="1372870"/>
            <a:ext cx="7772400" cy="2742388"/>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6872288" y="5943600"/>
            <a:ext cx="269626" cy="461665"/>
          </a:xfrm>
          <a:prstGeom prst="rect">
            <a:avLst/>
          </a:prstGeom>
          <a:noFill/>
        </p:spPr>
        <p:txBody>
          <a:bodyPr wrap="none" rtlCol="0">
            <a:spAutoFit/>
          </a:bodyPr>
          <a:lstStyle/>
          <a:p>
            <a:r>
              <a:rPr lang="en-US" dirty="0"/>
              <a:t> </a:t>
            </a:r>
          </a:p>
        </p:txBody>
      </p:sp>
      <p:pic>
        <p:nvPicPr>
          <p:cNvPr id="4" name="Picture 3" descr="A logo for a cancer clinic&#10;&#10;Description automatically generated">
            <a:extLst>
              <a:ext uri="{FF2B5EF4-FFF2-40B4-BE49-F238E27FC236}">
                <a16:creationId xmlns:a16="http://schemas.microsoft.com/office/drawing/2014/main" id="{CB02C48E-ECBF-A008-5D1D-8E3487044030}"/>
              </a:ext>
            </a:extLst>
          </p:cNvPr>
          <p:cNvPicPr>
            <a:picLocks noChangeAspect="1"/>
          </p:cNvPicPr>
          <p:nvPr userDrawn="1"/>
        </p:nvPicPr>
        <p:blipFill>
          <a:blip r:embed="rId11"/>
          <a:stretch>
            <a:fillRect/>
          </a:stretch>
        </p:blipFill>
        <p:spPr>
          <a:xfrm>
            <a:off x="7500395" y="4527161"/>
            <a:ext cx="1250066" cy="621102"/>
          </a:xfrm>
          <a:prstGeom prst="rect">
            <a:avLst/>
          </a:prstGeom>
        </p:spPr>
      </p:pic>
    </p:spTree>
    <p:extLst>
      <p:ext uri="{BB962C8B-B14F-4D97-AF65-F5344CB8AC3E}">
        <p14:creationId xmlns:p14="http://schemas.microsoft.com/office/powerpoint/2010/main" val="2754854233"/>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Lst>
  <p:txStyles>
    <p:titleStyle>
      <a:lvl1pPr algn="ctr" rtl="0" eaLnBrk="1" fontAlgn="base" hangingPunct="1">
        <a:spcBef>
          <a:spcPct val="0"/>
        </a:spcBef>
        <a:spcAft>
          <a:spcPct val="0"/>
        </a:spcAft>
        <a:defRPr sz="3600" i="0">
          <a:solidFill>
            <a:schemeClr val="bg1"/>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p:titleStyle>
    <p:body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1.xml"/></Relationships>
</file>

<file path=ppt/slides/_rels/slide10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3.xml"/><Relationship Id="rId1" Type="http://schemas.openxmlformats.org/officeDocument/2006/relationships/slideLayout" Target="../slideLayouts/slideLayout41.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1.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1.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1.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1.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1.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1.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1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34.xml"/></Relationships>
</file>

<file path=ppt/slides/_rels/slide112.xml.rels><?xml version="1.0" encoding="UTF-8" standalone="yes"?>
<Relationships xmlns="http://schemas.openxmlformats.org/package/2006/relationships"><Relationship Id="rId3" Type="http://schemas.openxmlformats.org/officeDocument/2006/relationships/image" Target="../media/image101.jpg"/><Relationship Id="rId2" Type="http://schemas.openxmlformats.org/officeDocument/2006/relationships/image" Target="../media/image100.jpeg"/><Relationship Id="rId1" Type="http://schemas.openxmlformats.org/officeDocument/2006/relationships/slideLayout" Target="../slideLayouts/slideLayout34.xml"/></Relationships>
</file>

<file path=ppt/slides/_rels/slide113.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Layout" Target="../slideLayouts/slideLayout34.xml"/></Relationships>
</file>

<file path=ppt/slides/_rels/slide11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jpeg"/><Relationship Id="rId1" Type="http://schemas.openxmlformats.org/officeDocument/2006/relationships/slideLayout" Target="../slideLayouts/slideLayout34.xml"/><Relationship Id="rId4" Type="http://schemas.openxmlformats.org/officeDocument/2006/relationships/image" Target="../media/image105.jpeg"/></Relationships>
</file>

<file path=ppt/slides/_rels/slide115.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40.xml"/><Relationship Id="rId1" Type="http://schemas.openxmlformats.org/officeDocument/2006/relationships/slideLayout" Target="../slideLayouts/slideLayout34.xml"/></Relationships>
</file>

<file path=ppt/slides/_rels/slide116.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41.xml"/><Relationship Id="rId1" Type="http://schemas.openxmlformats.org/officeDocument/2006/relationships/slideLayout" Target="../slideLayouts/slideLayout34.xml"/></Relationships>
</file>

<file path=ppt/slides/_rels/slide117.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34.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1.xml"/></Relationships>
</file>

<file path=ppt/slides/_rels/slide120.xml.rels><?xml version="1.0" encoding="UTF-8" standalone="yes"?>
<Relationships xmlns="http://schemas.openxmlformats.org/package/2006/relationships"><Relationship Id="rId3" Type="http://schemas.openxmlformats.org/officeDocument/2006/relationships/image" Target="../media/image109.tiff"/><Relationship Id="rId2" Type="http://schemas.openxmlformats.org/officeDocument/2006/relationships/image" Target="../media/image103.jpeg"/><Relationship Id="rId1" Type="http://schemas.openxmlformats.org/officeDocument/2006/relationships/slideLayout" Target="../slideLayouts/slideLayout34.xml"/><Relationship Id="rId4" Type="http://schemas.openxmlformats.org/officeDocument/2006/relationships/image" Target="../media/image110.tiff"/></Relationships>
</file>

<file path=ppt/slides/_rels/slide121.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34.xml"/></Relationships>
</file>

<file path=ppt/slides/_rels/slide12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34.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2.xml"/></Relationships>
</file>

<file path=ppt/slides/_rels/slide125.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3.xml"/><Relationship Id="rId1" Type="http://schemas.openxmlformats.org/officeDocument/2006/relationships/tags" Target="../tags/tag8.xml"/><Relationship Id="rId5" Type="http://schemas.openxmlformats.org/officeDocument/2006/relationships/image" Target="../media/image114.emf"/><Relationship Id="rId4" Type="http://schemas.openxmlformats.org/officeDocument/2006/relationships/oleObject" Target="../embeddings/oleObject1.bin"/></Relationships>
</file>

<file path=ppt/slides/_rels/slide12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44.xml"/><Relationship Id="rId1" Type="http://schemas.openxmlformats.org/officeDocument/2006/relationships/slideLayout" Target="../slideLayouts/slideLayout174.xml"/></Relationships>
</file>

<file path=ppt/slides/_rels/slide12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45.xml"/><Relationship Id="rId1" Type="http://schemas.openxmlformats.org/officeDocument/2006/relationships/slideLayout" Target="../slideLayouts/slideLayout44.xml"/><Relationship Id="rId4" Type="http://schemas.openxmlformats.org/officeDocument/2006/relationships/image" Target="../media/image117.png"/></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4.xml"/></Relationships>
</file>

<file path=ppt/slides/_rels/slide129.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image" Target="../media/image118.jpeg"/><Relationship Id="rId1" Type="http://schemas.openxmlformats.org/officeDocument/2006/relationships/slideLayout" Target="../slideLayouts/slideLayout175.xml"/></Relationships>
</file>

<file path=ppt/slides/_rels/slide1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1.xml"/></Relationships>
</file>

<file path=ppt/slides/_rels/slide130.xml.rels><?xml version="1.0" encoding="UTF-8" standalone="yes"?>
<Relationships xmlns="http://schemas.openxmlformats.org/package/2006/relationships"><Relationship Id="rId3" Type="http://schemas.openxmlformats.org/officeDocument/2006/relationships/image" Target="../media/image120.emf"/><Relationship Id="rId2" Type="http://schemas.openxmlformats.org/officeDocument/2006/relationships/notesSlide" Target="../notesSlides/notesSlide47.xml"/><Relationship Id="rId1" Type="http://schemas.openxmlformats.org/officeDocument/2006/relationships/slideLayout" Target="../slideLayouts/slideLayout45.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33.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Layout" Target="../slideLayouts/slideLayout35.xml"/></Relationships>
</file>

<file path=ppt/slides/_rels/slide134.xml.rels><?xml version="1.0" encoding="UTF-8" standalone="yes"?>
<Relationships xmlns="http://schemas.openxmlformats.org/package/2006/relationships"><Relationship Id="rId2" Type="http://schemas.openxmlformats.org/officeDocument/2006/relationships/image" Target="../media/image122.jpeg"/><Relationship Id="rId1" Type="http://schemas.openxmlformats.org/officeDocument/2006/relationships/slideLayout" Target="../slideLayouts/slideLayout34.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87.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187.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87.xml"/></Relationships>
</file>

<file path=ppt/slides/_rels/slide139.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187.xml"/></Relationships>
</file>

<file path=ppt/slides/_rels/slide1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1.xml"/></Relationships>
</file>

<file path=ppt/slides/_rels/slide140.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50.xml"/><Relationship Id="rId1" Type="http://schemas.openxmlformats.org/officeDocument/2006/relationships/slideLayout" Target="../slideLayouts/slideLayout187.xml"/></Relationships>
</file>

<file path=ppt/slides/_rels/slide141.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187.xml"/></Relationships>
</file>

<file path=ppt/slides/_rels/slide142.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187.xml"/></Relationships>
</file>

<file path=ppt/slides/_rels/slide143.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187.xml"/></Relationships>
</file>

<file path=ppt/slides/_rels/slide144.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187.xml"/></Relationships>
</file>

<file path=ppt/slides/_rels/slide145.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187.xml"/></Relationships>
</file>

<file path=ppt/slides/_rels/slide146.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187.xml"/></Relationships>
</file>

<file path=ppt/slides/_rels/slide147.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187.xml"/></Relationships>
</file>

<file path=ppt/slides/_rels/slide148.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187.xml"/></Relationships>
</file>

<file path=ppt/slides/_rels/slide149.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187.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35.xml"/></Relationships>
</file>

<file path=ppt/slides/_rels/slide150.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187.xml"/></Relationships>
</file>

<file path=ppt/slides/_rels/slide151.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188.xml"/></Relationships>
</file>

<file path=ppt/slides/_rels/slide152.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187.xml"/></Relationships>
</file>

<file path=ppt/slides/_rels/slide153.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187.xml"/></Relationships>
</file>

<file path=ppt/slides/_rels/slide154.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188.xml"/></Relationships>
</file>

<file path=ppt/slides/_rels/slide155.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188.xml"/></Relationships>
</file>

<file path=ppt/slides/_rels/slide156.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188.xml"/></Relationships>
</file>

<file path=ppt/slides/_rels/slide157.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188.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188.xml"/></Relationships>
</file>

<file path=ppt/slides/_rels/slide159.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188.xml"/></Relationships>
</file>

<file path=ppt/slides/_rels/slide1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5.xml"/></Relationships>
</file>

<file path=ppt/slides/_rels/slide160.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188.xml"/></Relationships>
</file>

<file path=ppt/slides/_rels/slide161.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188.xml"/></Relationships>
</file>

<file path=ppt/slides/_rels/slide162.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188.xml"/></Relationships>
</file>

<file path=ppt/slides/_rels/slide163.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188.xml"/></Relationships>
</file>

<file path=ppt/slides/_rels/slide164.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188.xml"/></Relationships>
</file>

<file path=ppt/slides/_rels/slide165.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188.xml"/></Relationships>
</file>

<file path=ppt/slides/_rels/slide166.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188.xml"/></Relationships>
</file>

<file path=ppt/slides/_rels/slide167.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188.xml"/></Relationships>
</file>

<file path=ppt/slides/_rels/slide168.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188.xml"/></Relationships>
</file>

<file path=ppt/slides/_rels/slide169.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188.xml"/></Relationships>
</file>

<file path=ppt/slides/_rels/slide1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1.xml"/></Relationships>
</file>

<file path=ppt/slides/_rels/slide170.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51.xml"/><Relationship Id="rId1" Type="http://schemas.openxmlformats.org/officeDocument/2006/relationships/slideLayout" Target="../slideLayouts/slideLayout188.xml"/></Relationships>
</file>

<file path=ppt/slides/_rels/slide171.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188.xml"/></Relationships>
</file>

<file path=ppt/slides/_rels/slide172.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52.xml"/><Relationship Id="rId1" Type="http://schemas.openxmlformats.org/officeDocument/2006/relationships/slideLayout" Target="../slideLayouts/slideLayout188.xml"/><Relationship Id="rId4" Type="http://schemas.openxmlformats.org/officeDocument/2006/relationships/image" Target="../media/image157.png"/></Relationships>
</file>

<file path=ppt/slides/_rels/slide173.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188.xml"/></Relationships>
</file>

<file path=ppt/slides/_rels/slide174.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53.xml"/><Relationship Id="rId1" Type="http://schemas.openxmlformats.org/officeDocument/2006/relationships/slideLayout" Target="../slideLayouts/slideLayout188.xml"/></Relationships>
</file>

<file path=ppt/slides/_rels/slide175.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188.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188.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88.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188.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31.xml"/><Relationship Id="rId4" Type="http://schemas.openxmlformats.org/officeDocument/2006/relationships/image" Target="../media/image41.png"/></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31.xml"/><Relationship Id="rId4" Type="http://schemas.openxmlformats.org/officeDocument/2006/relationships/image" Target="../media/image45.png"/></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5.xml"/></Relationships>
</file>

<file path=ppt/slides/_rels/slide2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5.xml"/></Relationships>
</file>

<file path=ppt/slides/_rels/slide2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5.xml"/></Relationships>
</file>

<file path=ppt/slides/_rels/slide2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35.xml"/></Relationships>
</file>

<file path=ppt/slides/_rels/slide2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5.xml"/></Relationships>
</file>

<file path=ppt/slides/_rels/slide2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5.xml"/></Relationships>
</file>

<file path=ppt/slides/_rels/slide2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png"/><Relationship Id="rId1" Type="http://schemas.openxmlformats.org/officeDocument/2006/relationships/slideLayout" Target="../slideLayouts/slideLayout31.xml"/></Relationships>
</file>

<file path=ppt/slides/_rels/slide3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5.xml"/></Relationships>
</file>

<file path=ppt/slides/_rels/slide3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5.xml"/></Relationships>
</file>

<file path=ppt/slides/_rels/slide3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35.xml"/></Relationships>
</file>

<file path=ppt/slides/_rels/slide3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35.xml"/><Relationship Id="rId5" Type="http://schemas.openxmlformats.org/officeDocument/2006/relationships/image" Target="../media/image63.png"/><Relationship Id="rId4" Type="http://schemas.openxmlformats.org/officeDocument/2006/relationships/image" Target="../media/image62.png"/></Relationships>
</file>

<file path=ppt/slides/_rels/slide3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35.xml"/></Relationships>
</file>

<file path=ppt/slides/_rels/slide35.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35.xml"/></Relationships>
</file>

<file path=ppt/slides/_rels/slide36.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35.xml"/></Relationships>
</file>

<file path=ppt/slides/_rels/slide37.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35.xml"/></Relationships>
</file>

<file path=ppt/slides/_rels/slide38.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35.xml"/></Relationships>
</file>

<file path=ppt/slides/_rels/slide39.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3.xml"/></Relationships>
</file>

<file path=ppt/slides/_rels/slide40.xml.rels><?xml version="1.0" encoding="UTF-8" standalone="yes"?>
<Relationships xmlns="http://schemas.openxmlformats.org/package/2006/relationships"><Relationship Id="rId2" Type="http://schemas.openxmlformats.org/officeDocument/2006/relationships/image" Target="../media/image70.jpg"/><Relationship Id="rId1" Type="http://schemas.openxmlformats.org/officeDocument/2006/relationships/slideLayout" Target="../slideLayouts/slideLayout3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4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33.xml"/></Relationships>
</file>

<file path=ppt/slides/_rels/slide4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33.xml"/></Relationships>
</file>

<file path=ppt/slides/_rels/slide4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3.xml"/></Relationships>
</file>

<file path=ppt/slides/_rels/slide4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32.xml"/></Relationships>
</file>

<file path=ppt/slides/_rels/slide4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131.xml"/></Relationships>
</file>

<file path=ppt/slides/_rels/slide5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33.xml"/></Relationships>
</file>

<file path=ppt/slides/_rels/slide51.xml.rels><?xml version="1.0" encoding="UTF-8" standalone="yes"?>
<Relationships xmlns="http://schemas.openxmlformats.org/package/2006/relationships"><Relationship Id="rId3" Type="http://schemas.openxmlformats.org/officeDocument/2006/relationships/hyperlink" Target="https://onlinelibrary.wiley.com/authored-by/Garcia%E2%80%90Manero/Guillermo" TargetMode="External"/><Relationship Id="rId2" Type="http://schemas.openxmlformats.org/officeDocument/2006/relationships/image" Target="../media/image78.jpeg"/><Relationship Id="rId1" Type="http://schemas.openxmlformats.org/officeDocument/2006/relationships/slideLayout" Target="../slideLayouts/slideLayout32.xml"/></Relationships>
</file>

<file path=ppt/slides/_rels/slide52.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33.xml"/></Relationships>
</file>

<file path=ppt/slides/_rels/slide5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33.xml"/></Relationships>
</file>

<file path=ppt/slides/_rels/slide5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6.xml"/><Relationship Id="rId1" Type="http://schemas.openxmlformats.org/officeDocument/2006/relationships/slideLayout" Target="../slideLayouts/slideLayout3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6.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Layout" Target="../slideLayouts/slideLayout32.xml"/></Relationships>
</file>

<file path=ppt/slides/_rels/slide57.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3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3.xml"/></Relationships>
</file>

<file path=ppt/slides/_rels/slide6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0.xml"/><Relationship Id="rId1" Type="http://schemas.openxmlformats.org/officeDocument/2006/relationships/slideLayout" Target="../slideLayouts/slideLayout3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1.xml"/></Relationships>
</file>

<file path=ppt/slides/_rels/slide6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3.xml"/><Relationship Id="rId1" Type="http://schemas.openxmlformats.org/officeDocument/2006/relationships/slideLayout" Target="../slideLayouts/slideLayout32.xml"/></Relationships>
</file>

<file path=ppt/slides/_rels/slide6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4.xml"/><Relationship Id="rId1" Type="http://schemas.openxmlformats.org/officeDocument/2006/relationships/slideLayout" Target="../slideLayouts/slideLayout3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153.xml"/><Relationship Id="rId5" Type="http://schemas.openxmlformats.org/officeDocument/2006/relationships/image" Target="../media/image31.png"/><Relationship Id="rId4" Type="http://schemas.openxmlformats.org/officeDocument/2006/relationships/image" Target="../media/image30.png"/></Relationships>
</file>

<file path=ppt/slides/_rels/slide7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7.xml"/><Relationship Id="rId1" Type="http://schemas.openxmlformats.org/officeDocument/2006/relationships/slideLayout" Target="../slideLayouts/slideLayout31.xml"/></Relationships>
</file>

<file path=ppt/slides/_rels/slide7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8.xml"/><Relationship Id="rId1" Type="http://schemas.openxmlformats.org/officeDocument/2006/relationships/slideLayout" Target="../slideLayouts/slideLayout31.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1.xml"/></Relationships>
</file>

<file path=ppt/slides/_rels/slide7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1.xml"/><Relationship Id="rId1" Type="http://schemas.openxmlformats.org/officeDocument/2006/relationships/slideLayout" Target="../slideLayouts/slideLayout31.xml"/></Relationships>
</file>

<file path=ppt/slides/_rels/slide7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2.xml"/><Relationship Id="rId1" Type="http://schemas.openxmlformats.org/officeDocument/2006/relationships/slideLayout" Target="../slideLayouts/slideLayout31.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1.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82.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32.xml"/></Relationships>
</file>

<file path=ppt/slides/_rels/slide8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6.xml"/><Relationship Id="rId1" Type="http://schemas.openxmlformats.org/officeDocument/2006/relationships/slideLayout" Target="../slideLayouts/slideLayout32.xml"/></Relationships>
</file>

<file path=ppt/slides/_rels/slide8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3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92.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41.xml"/></Relationships>
</file>

<file path=ppt/slides/_rels/slide93.xml.rels><?xml version="1.0" encoding="UTF-8" standalone="yes"?>
<Relationships xmlns="http://schemas.openxmlformats.org/package/2006/relationships"><Relationship Id="rId2" Type="http://schemas.openxmlformats.org/officeDocument/2006/relationships/image" Target="../media/image95.emf"/><Relationship Id="rId1" Type="http://schemas.openxmlformats.org/officeDocument/2006/relationships/slideLayout" Target="../slideLayouts/slideLayout41.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3.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1.xml"/></Relationships>
</file>

<file path=ppt/slides/_rels/slide9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1.xml"/><Relationship Id="rId1" Type="http://schemas.openxmlformats.org/officeDocument/2006/relationships/slideLayout" Target="../slideLayouts/slideLayout41.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764D8A-519B-DD4A-C642-A79DF134912A}"/>
              </a:ext>
            </a:extLst>
          </p:cNvPr>
          <p:cNvSpPr/>
          <p:nvPr/>
        </p:nvSpPr>
        <p:spPr>
          <a:xfrm>
            <a:off x="0" y="2586831"/>
            <a:ext cx="9129925" cy="461665"/>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600" normalizeH="0" baseline="0" noProof="0" dirty="0">
                <a:ln>
                  <a:noFill/>
                </a:ln>
                <a:solidFill>
                  <a:srgbClr val="FFC82C"/>
                </a:solidFill>
                <a:effectLst/>
                <a:uLnTx/>
                <a:uFillTx/>
                <a:latin typeface="Corporate A Medium" panose="02000503080000020004" pitchFamily="2" charset="0"/>
                <a:ea typeface="ＭＳ Ｐゴシック" charset="0"/>
              </a:rPr>
              <a:t>Hematologic Malignancies</a:t>
            </a:r>
          </a:p>
        </p:txBody>
      </p:sp>
      <p:sp>
        <p:nvSpPr>
          <p:cNvPr id="3" name="Rectangle 2">
            <a:extLst>
              <a:ext uri="{FF2B5EF4-FFF2-40B4-BE49-F238E27FC236}">
                <a16:creationId xmlns:a16="http://schemas.microsoft.com/office/drawing/2014/main" id="{2CD37E42-E2E3-0CF1-91DF-51880A7249F7}"/>
              </a:ext>
            </a:extLst>
          </p:cNvPr>
          <p:cNvSpPr/>
          <p:nvPr/>
        </p:nvSpPr>
        <p:spPr>
          <a:xfrm>
            <a:off x="14075" y="3073896"/>
            <a:ext cx="9129925" cy="338554"/>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orporate S Demi" panose="02020500000000000000" pitchFamily="18" charset="0"/>
                <a:ea typeface="ＭＳ Ｐゴシック" charset="0"/>
              </a:rPr>
              <a:t>May 9</a:t>
            </a:r>
            <a:r>
              <a:rPr kumimoji="0" lang="en-US" sz="1600" b="0" i="0" u="none" strike="noStrike" kern="1200" cap="none" spc="0" normalizeH="0" baseline="30000" noProof="0" dirty="0">
                <a:ln>
                  <a:noFill/>
                </a:ln>
                <a:solidFill>
                  <a:prstClr val="white"/>
                </a:solidFill>
                <a:effectLst/>
                <a:uLnTx/>
                <a:uFillTx/>
                <a:latin typeface="Corporate S Demi" panose="02020500000000000000" pitchFamily="18" charset="0"/>
                <a:ea typeface="ＭＳ Ｐゴシック" charset="0"/>
              </a:rPr>
              <a:t>th</a:t>
            </a:r>
            <a:r>
              <a:rPr kumimoji="0" lang="en-US" sz="1600" b="0" i="0" u="none" strike="noStrike" kern="1200" cap="none" spc="0" normalizeH="0" baseline="0" noProof="0" dirty="0">
                <a:ln>
                  <a:noFill/>
                </a:ln>
                <a:solidFill>
                  <a:prstClr val="white"/>
                </a:solidFill>
                <a:effectLst/>
                <a:uLnTx/>
                <a:uFillTx/>
                <a:latin typeface="Corporate S Demi" panose="02020500000000000000" pitchFamily="18" charset="0"/>
                <a:ea typeface="ＭＳ Ｐゴシック" charset="0"/>
              </a:rPr>
              <a:t>, 2024</a:t>
            </a:r>
          </a:p>
        </p:txBody>
      </p:sp>
    </p:spTree>
    <p:extLst>
      <p:ext uri="{BB962C8B-B14F-4D97-AF65-F5344CB8AC3E}">
        <p14:creationId xmlns:p14="http://schemas.microsoft.com/office/powerpoint/2010/main" val="34656885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842211" y="1798064"/>
            <a:ext cx="6930189" cy="2204975"/>
          </a:xfrm>
        </p:spPr>
        <p:txBody>
          <a:bodyPr/>
          <a:lstStyle/>
          <a:p>
            <a:r>
              <a:rPr lang="en-US" b="1" dirty="0">
                <a:solidFill>
                  <a:srgbClr val="002E51"/>
                </a:solidFill>
              </a:rPr>
              <a:t>James M. Rossetti, DO</a:t>
            </a:r>
          </a:p>
          <a:p>
            <a:r>
              <a:rPr lang="en-US" dirty="0">
                <a:solidFill>
                  <a:srgbClr val="002E51"/>
                </a:solidFill>
              </a:rPr>
              <a:t>Assistant Professor of Clinical Medicine, UPSOM</a:t>
            </a:r>
          </a:p>
          <a:p>
            <a:r>
              <a:rPr lang="en-US" dirty="0">
                <a:solidFill>
                  <a:srgbClr val="002E51"/>
                </a:solidFill>
              </a:rPr>
              <a:t>UPMC Hillman Cancer Center</a:t>
            </a:r>
          </a:p>
          <a:p>
            <a:r>
              <a:rPr lang="en-US" dirty="0">
                <a:solidFill>
                  <a:srgbClr val="002E51"/>
                </a:solidFill>
              </a:rPr>
              <a:t>Pittsburgh, Pennsylvania</a:t>
            </a:r>
          </a:p>
        </p:txBody>
      </p:sp>
      <p:sp>
        <p:nvSpPr>
          <p:cNvPr id="4" name="Title 3"/>
          <p:cNvSpPr>
            <a:spLocks noGrp="1"/>
          </p:cNvSpPr>
          <p:nvPr>
            <p:ph type="title"/>
          </p:nvPr>
        </p:nvSpPr>
        <p:spPr>
          <a:xfrm>
            <a:off x="-64168" y="358288"/>
            <a:ext cx="9144000" cy="786936"/>
          </a:xfrm>
        </p:spPr>
        <p:txBody>
          <a:bodyPr/>
          <a:lstStyle/>
          <a:p>
            <a:r>
              <a:rPr lang="en-US" b="1" dirty="0">
                <a:solidFill>
                  <a:srgbClr val="002E51"/>
                </a:solidFill>
              </a:rPr>
              <a:t>Evolving Standards in MF, PV, and…</a:t>
            </a:r>
            <a:br>
              <a:rPr lang="en-US" b="1" dirty="0">
                <a:solidFill>
                  <a:srgbClr val="002E51"/>
                </a:solidFill>
              </a:rPr>
            </a:br>
            <a:r>
              <a:rPr lang="en-US" sz="1800" b="1" dirty="0">
                <a:solidFill>
                  <a:srgbClr val="002E51"/>
                </a:solidFill>
              </a:rPr>
              <a:t>(tales of subtypes, targets, dose intensity, and allele frequencies) </a:t>
            </a:r>
          </a:p>
        </p:txBody>
      </p:sp>
    </p:spTree>
    <p:extLst>
      <p:ext uri="{BB962C8B-B14F-4D97-AF65-F5344CB8AC3E}">
        <p14:creationId xmlns:p14="http://schemas.microsoft.com/office/powerpoint/2010/main" val="164316052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4706A04-17CE-46CA-AD25-ED860E76F03E}"/>
              </a:ext>
            </a:extLst>
          </p:cNvPr>
          <p:cNvSpPr>
            <a:spLocks noGrp="1"/>
          </p:cNvSpPr>
          <p:nvPr>
            <p:ph type="title"/>
          </p:nvPr>
        </p:nvSpPr>
        <p:spPr/>
        <p:txBody>
          <a:bodyPr/>
          <a:lstStyle/>
          <a:p>
            <a:r>
              <a:rPr lang="en-US" sz="2400" dirty="0">
                <a:solidFill>
                  <a:srgbClr val="003767"/>
                </a:solidFill>
              </a:rPr>
              <a:t>FLT3 inhibitor: </a:t>
            </a:r>
            <a:r>
              <a:rPr lang="en-US" sz="2400" dirty="0" err="1">
                <a:solidFill>
                  <a:srgbClr val="003767"/>
                </a:solidFill>
              </a:rPr>
              <a:t>Gilteritinib</a:t>
            </a:r>
            <a:endParaRPr lang="en-US" sz="2400" dirty="0">
              <a:solidFill>
                <a:srgbClr val="003767"/>
              </a:solidFill>
            </a:endParaRPr>
          </a:p>
        </p:txBody>
      </p:sp>
      <p:sp>
        <p:nvSpPr>
          <p:cNvPr id="7" name="Content Placeholder 6">
            <a:extLst>
              <a:ext uri="{FF2B5EF4-FFF2-40B4-BE49-F238E27FC236}">
                <a16:creationId xmlns:a16="http://schemas.microsoft.com/office/drawing/2014/main" id="{6DDE7DAD-9C40-4964-8A66-55B83D596CF3}"/>
              </a:ext>
            </a:extLst>
          </p:cNvPr>
          <p:cNvSpPr>
            <a:spLocks noGrp="1"/>
          </p:cNvSpPr>
          <p:nvPr>
            <p:ph idx="1"/>
          </p:nvPr>
        </p:nvSpPr>
        <p:spPr/>
        <p:txBody>
          <a:bodyPr/>
          <a:lstStyle/>
          <a:p>
            <a:r>
              <a:rPr lang="en-US" dirty="0">
                <a:solidFill>
                  <a:srgbClr val="003767"/>
                </a:solidFill>
                <a:latin typeface="Calibri Light" panose="020F0302020204030204" pitchFamily="34" charset="0"/>
                <a:cs typeface="Calibri Light" panose="020F0302020204030204" pitchFamily="34" charset="0"/>
              </a:rPr>
              <a:t>Oral, FLT3 inhibitor – high potency</a:t>
            </a:r>
          </a:p>
          <a:p>
            <a:endParaRPr lang="en-US" dirty="0">
              <a:solidFill>
                <a:srgbClr val="003767"/>
              </a:solidFill>
              <a:latin typeface="Calibri Light" panose="020F0302020204030204" pitchFamily="34" charset="0"/>
              <a:cs typeface="Calibri Light" panose="020F0302020204030204" pitchFamily="34" charset="0"/>
            </a:endParaRPr>
          </a:p>
          <a:p>
            <a:r>
              <a:rPr lang="en-US" dirty="0">
                <a:solidFill>
                  <a:srgbClr val="003767"/>
                </a:solidFill>
                <a:latin typeface="Calibri Light" panose="020F0302020204030204" pitchFamily="34" charset="0"/>
                <a:cs typeface="Calibri Light" panose="020F0302020204030204" pitchFamily="34" charset="0"/>
              </a:rPr>
              <a:t>FDA approval: relapsed/refractory AML with FLT3 mutation</a:t>
            </a:r>
          </a:p>
          <a:p>
            <a:endParaRPr lang="en-US" dirty="0">
              <a:solidFill>
                <a:srgbClr val="003767"/>
              </a:solidFill>
              <a:latin typeface="Calibri Light" panose="020F0302020204030204" pitchFamily="34" charset="0"/>
              <a:cs typeface="Calibri Light" panose="020F0302020204030204" pitchFamily="34" charset="0"/>
            </a:endParaRPr>
          </a:p>
          <a:p>
            <a:r>
              <a:rPr lang="en-US" dirty="0">
                <a:solidFill>
                  <a:srgbClr val="003767"/>
                </a:solidFill>
                <a:latin typeface="Calibri Light" panose="020F0302020204030204" pitchFamily="34" charset="0"/>
                <a:cs typeface="Calibri Light" panose="020F0302020204030204" pitchFamily="34" charset="0"/>
              </a:rPr>
              <a:t>Dosing: 120mg PO daily</a:t>
            </a:r>
          </a:p>
        </p:txBody>
      </p:sp>
    </p:spTree>
    <p:extLst>
      <p:ext uri="{BB962C8B-B14F-4D97-AF65-F5344CB8AC3E}">
        <p14:creationId xmlns:p14="http://schemas.microsoft.com/office/powerpoint/2010/main" val="239114480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4BF362-C708-4120-A530-80C0F11082DF}"/>
              </a:ext>
            </a:extLst>
          </p:cNvPr>
          <p:cNvSpPr>
            <a:spLocks noGrp="1"/>
          </p:cNvSpPr>
          <p:nvPr>
            <p:ph type="title"/>
          </p:nvPr>
        </p:nvSpPr>
        <p:spPr>
          <a:xfrm>
            <a:off x="160020" y="206170"/>
            <a:ext cx="8831192" cy="858044"/>
          </a:xfrm>
        </p:spPr>
        <p:txBody>
          <a:bodyPr/>
          <a:lstStyle/>
          <a:p>
            <a:r>
              <a:rPr lang="en-US" sz="2400" dirty="0" err="1">
                <a:solidFill>
                  <a:srgbClr val="003767"/>
                </a:solidFill>
              </a:rPr>
              <a:t>Gilteritinib</a:t>
            </a:r>
            <a:r>
              <a:rPr lang="en-US" sz="2400" dirty="0">
                <a:solidFill>
                  <a:srgbClr val="003767"/>
                </a:solidFill>
              </a:rPr>
              <a:t> improves overall survival in relapsed/refractory AML</a:t>
            </a:r>
            <a:br>
              <a:rPr lang="en-US" sz="2400" dirty="0">
                <a:solidFill>
                  <a:srgbClr val="003767"/>
                </a:solidFill>
              </a:rPr>
            </a:br>
            <a:r>
              <a:rPr lang="en-US" sz="1800" dirty="0">
                <a:solidFill>
                  <a:srgbClr val="003767"/>
                </a:solidFill>
              </a:rPr>
              <a:t>ADMIRAL trial</a:t>
            </a:r>
            <a:r>
              <a:rPr lang="en-US" sz="2400" dirty="0">
                <a:solidFill>
                  <a:srgbClr val="003767"/>
                </a:solidFill>
              </a:rPr>
              <a:t> </a:t>
            </a:r>
          </a:p>
        </p:txBody>
      </p:sp>
      <p:pic>
        <p:nvPicPr>
          <p:cNvPr id="5" name="Content Placeholder 4">
            <a:extLst>
              <a:ext uri="{FF2B5EF4-FFF2-40B4-BE49-F238E27FC236}">
                <a16:creationId xmlns:a16="http://schemas.microsoft.com/office/drawing/2014/main" id="{2AF44C8B-06A1-421B-B04E-612CA69E32FC}"/>
              </a:ext>
            </a:extLst>
          </p:cNvPr>
          <p:cNvPicPr>
            <a:picLocks noGrp="1" noChangeAspect="1"/>
          </p:cNvPicPr>
          <p:nvPr>
            <p:ph idx="1"/>
          </p:nvPr>
        </p:nvPicPr>
        <p:blipFill rotWithShape="1">
          <a:blip r:embed="rId3"/>
          <a:srcRect b="67715"/>
          <a:stretch/>
        </p:blipFill>
        <p:spPr>
          <a:xfrm>
            <a:off x="3763072" y="1345161"/>
            <a:ext cx="4861142" cy="2032396"/>
          </a:xfrm>
          <a:prstGeom prst="rect">
            <a:avLst/>
          </a:prstGeom>
        </p:spPr>
      </p:pic>
      <p:sp>
        <p:nvSpPr>
          <p:cNvPr id="7" name="TextBox 6">
            <a:extLst>
              <a:ext uri="{FF2B5EF4-FFF2-40B4-BE49-F238E27FC236}">
                <a16:creationId xmlns:a16="http://schemas.microsoft.com/office/drawing/2014/main" id="{B3036394-5DFD-46E8-862A-B0486EB0A1B9}"/>
              </a:ext>
            </a:extLst>
          </p:cNvPr>
          <p:cNvSpPr txBox="1"/>
          <p:nvPr/>
        </p:nvSpPr>
        <p:spPr>
          <a:xfrm>
            <a:off x="382134" y="1345161"/>
            <a:ext cx="3145852" cy="2954655"/>
          </a:xfrm>
          <a:prstGeom prst="rect">
            <a:avLst/>
          </a:prstGeom>
        </p:spPr>
        <p:txBody>
          <a:bodyPr vert="horz" wrap="square" rtlCol="0">
            <a:spAutoFit/>
          </a:bodyPr>
          <a:lstStyle/>
          <a:p>
            <a:pPr marL="342900" indent="-342900">
              <a:buFont typeface="Arial" panose="020B0604020202020204" pitchFamily="34" charset="0"/>
              <a:buChar char="•"/>
            </a:pPr>
            <a:r>
              <a:rPr lang="en-US" sz="1800" dirty="0">
                <a:solidFill>
                  <a:srgbClr val="003767"/>
                </a:solidFill>
                <a:latin typeface="Calibri Light" panose="020F0302020204030204" pitchFamily="34" charset="0"/>
                <a:cs typeface="Calibri Light" panose="020F0302020204030204" pitchFamily="34" charset="0"/>
              </a:rPr>
              <a:t>FLT3-ITD and TKD</a:t>
            </a:r>
          </a:p>
          <a:p>
            <a:endParaRPr lang="en-US" sz="1800" dirty="0">
              <a:solidFill>
                <a:srgbClr val="003767"/>
              </a:solidFill>
              <a:latin typeface="Calibri Light" panose="020F0302020204030204" pitchFamily="34" charset="0"/>
              <a:cs typeface="Calibri Light" panose="020F0302020204030204" pitchFamily="34" charset="0"/>
            </a:endParaRPr>
          </a:p>
          <a:p>
            <a:pPr marL="342900" indent="-342900">
              <a:buFont typeface="Arial" panose="020B0604020202020204" pitchFamily="34" charset="0"/>
              <a:buChar char="•"/>
            </a:pPr>
            <a:r>
              <a:rPr lang="en-US" sz="1800" dirty="0">
                <a:solidFill>
                  <a:srgbClr val="003767"/>
                </a:solidFill>
                <a:latin typeface="Calibri Light" panose="020F0302020204030204" pitchFamily="34" charset="0"/>
                <a:cs typeface="Calibri Light" panose="020F0302020204030204" pitchFamily="34" charset="0"/>
              </a:rPr>
              <a:t>CR 30% (vs 15%)</a:t>
            </a:r>
          </a:p>
          <a:p>
            <a:pPr marL="342900" indent="-342900">
              <a:buFont typeface="Arial" panose="020B0604020202020204" pitchFamily="34" charset="0"/>
              <a:buChar char="•"/>
            </a:pPr>
            <a:endParaRPr lang="en-US" sz="1800" dirty="0">
              <a:solidFill>
                <a:srgbClr val="003767"/>
              </a:solidFill>
              <a:latin typeface="Calibri Light" panose="020F0302020204030204" pitchFamily="34" charset="0"/>
              <a:cs typeface="Calibri Light" panose="020F0302020204030204" pitchFamily="34" charset="0"/>
            </a:endParaRPr>
          </a:p>
          <a:p>
            <a:pPr marL="342900" indent="-342900">
              <a:buFont typeface="Arial" panose="020B0604020202020204" pitchFamily="34" charset="0"/>
              <a:buChar char="•"/>
            </a:pPr>
            <a:r>
              <a:rPr lang="en-US" sz="1800" dirty="0">
                <a:solidFill>
                  <a:srgbClr val="003767"/>
                </a:solidFill>
                <a:latin typeface="Calibri Light" panose="020F0302020204030204" pitchFamily="34" charset="0"/>
                <a:cs typeface="Calibri Light" panose="020F0302020204030204" pitchFamily="34" charset="0"/>
              </a:rPr>
              <a:t>Overall survival 9.3 months</a:t>
            </a:r>
          </a:p>
          <a:p>
            <a:pPr marL="342900" indent="-342900">
              <a:buFont typeface="Arial" panose="020B0604020202020204" pitchFamily="34" charset="0"/>
              <a:buChar char="•"/>
            </a:pPr>
            <a:endParaRPr lang="en-US" sz="1800" dirty="0">
              <a:solidFill>
                <a:srgbClr val="003767"/>
              </a:solidFill>
              <a:latin typeface="Calibri Light" panose="020F0302020204030204" pitchFamily="34" charset="0"/>
              <a:cs typeface="Calibri Light" panose="020F0302020204030204" pitchFamily="34" charset="0"/>
            </a:endParaRPr>
          </a:p>
          <a:p>
            <a:pPr marL="342900" indent="-342900">
              <a:buFont typeface="Arial" panose="020B0604020202020204" pitchFamily="34" charset="0"/>
              <a:buChar char="•"/>
            </a:pPr>
            <a:r>
              <a:rPr lang="en-US" sz="1800" dirty="0">
                <a:solidFill>
                  <a:srgbClr val="003767"/>
                </a:solidFill>
                <a:latin typeface="Calibri Light" panose="020F0302020204030204" pitchFamily="34" charset="0"/>
                <a:cs typeface="Calibri Light" panose="020F0302020204030204" pitchFamily="34" charset="0"/>
              </a:rPr>
              <a:t>Unique toxicities: hepatic, drug-drug interactions</a:t>
            </a:r>
          </a:p>
          <a:p>
            <a:pPr marL="342900" indent="-342900">
              <a:buFont typeface="Arial" panose="020B0604020202020204" pitchFamily="34" charset="0"/>
              <a:buChar char="•"/>
            </a:pPr>
            <a:endParaRPr lang="en-US" sz="1800" dirty="0">
              <a:solidFill>
                <a:srgbClr val="003767"/>
              </a:solidFill>
              <a:latin typeface="Calibri Light" panose="020F0302020204030204" pitchFamily="34" charset="0"/>
              <a:cs typeface="Calibri Light" panose="020F0302020204030204" pitchFamily="34" charset="0"/>
            </a:endParaRPr>
          </a:p>
          <a:p>
            <a:pPr marL="342900" indent="-342900">
              <a:buFont typeface="Arial" panose="020B0604020202020204" pitchFamily="34" charset="0"/>
              <a:buChar char="•"/>
            </a:pPr>
            <a:endParaRPr lang="en-US" dirty="0">
              <a:solidFill>
                <a:srgbClr val="003767"/>
              </a:solidFill>
              <a:latin typeface="Calibri Light" panose="020F0302020204030204" pitchFamily="34" charset="0"/>
              <a:cs typeface="Calibri Light" panose="020F0302020204030204" pitchFamily="34" charset="0"/>
            </a:endParaRPr>
          </a:p>
        </p:txBody>
      </p:sp>
      <p:sp>
        <p:nvSpPr>
          <p:cNvPr id="8" name="TextBox 7">
            <a:extLst>
              <a:ext uri="{FF2B5EF4-FFF2-40B4-BE49-F238E27FC236}">
                <a16:creationId xmlns:a16="http://schemas.microsoft.com/office/drawing/2014/main" id="{4485BE07-3A1B-4CA1-A896-33AC7A8785A9}"/>
              </a:ext>
            </a:extLst>
          </p:cNvPr>
          <p:cNvSpPr txBox="1"/>
          <p:nvPr/>
        </p:nvSpPr>
        <p:spPr>
          <a:xfrm>
            <a:off x="7200900" y="4061368"/>
            <a:ext cx="1943100" cy="253916"/>
          </a:xfrm>
          <a:prstGeom prst="rect">
            <a:avLst/>
          </a:prstGeom>
          <a:noFill/>
        </p:spPr>
        <p:txBody>
          <a:bodyPr wrap="square" rtlCol="0">
            <a:spAutoFit/>
          </a:bodyPr>
          <a:lstStyle/>
          <a:p>
            <a:r>
              <a:rPr lang="en-US" sz="1050" dirty="0">
                <a:solidFill>
                  <a:srgbClr val="003767"/>
                </a:solidFill>
                <a:latin typeface="Calibri Light" panose="020F0302020204030204" pitchFamily="34" charset="0"/>
              </a:rPr>
              <a:t>Perl A, et al., N </a:t>
            </a:r>
            <a:r>
              <a:rPr lang="en-US" sz="1050" dirty="0" err="1">
                <a:solidFill>
                  <a:srgbClr val="003767"/>
                </a:solidFill>
                <a:latin typeface="Calibri Light" panose="020F0302020204030204" pitchFamily="34" charset="0"/>
              </a:rPr>
              <a:t>Engl</a:t>
            </a:r>
            <a:r>
              <a:rPr lang="en-US" sz="1050" dirty="0">
                <a:solidFill>
                  <a:srgbClr val="003767"/>
                </a:solidFill>
                <a:latin typeface="Calibri Light" panose="020F0302020204030204" pitchFamily="34" charset="0"/>
              </a:rPr>
              <a:t> J Med 2019</a:t>
            </a:r>
          </a:p>
        </p:txBody>
      </p:sp>
      <p:sp>
        <p:nvSpPr>
          <p:cNvPr id="3" name="TextBox 2">
            <a:extLst>
              <a:ext uri="{FF2B5EF4-FFF2-40B4-BE49-F238E27FC236}">
                <a16:creationId xmlns:a16="http://schemas.microsoft.com/office/drawing/2014/main" id="{47C115BF-1706-442F-8D3E-011509CFAB83}"/>
              </a:ext>
            </a:extLst>
          </p:cNvPr>
          <p:cNvSpPr txBox="1"/>
          <p:nvPr/>
        </p:nvSpPr>
        <p:spPr>
          <a:xfrm>
            <a:off x="3755841" y="3480440"/>
            <a:ext cx="5388159" cy="707886"/>
          </a:xfrm>
          <a:prstGeom prst="rect">
            <a:avLst/>
          </a:prstGeom>
        </p:spPr>
        <p:txBody>
          <a:bodyPr vert="horz" wrap="square" rtlCol="0">
            <a:spAutoFit/>
          </a:bodyPr>
          <a:lstStyle/>
          <a:p>
            <a:r>
              <a:rPr lang="en-US" sz="2000" dirty="0">
                <a:solidFill>
                  <a:srgbClr val="003767"/>
                </a:solidFill>
                <a:latin typeface="Calibri Light" panose="020F0302020204030204" pitchFamily="34" charset="0"/>
                <a:cs typeface="Calibri Light" panose="020F0302020204030204" pitchFamily="34" charset="0"/>
              </a:rPr>
              <a:t>Compared to salvage (chemo or LDAC, azacitidine) </a:t>
            </a:r>
          </a:p>
          <a:p>
            <a:endParaRPr lang="en-US" sz="2000" dirty="0">
              <a:solidFill>
                <a:srgbClr val="003767"/>
              </a:solidFill>
            </a:endParaRPr>
          </a:p>
        </p:txBody>
      </p:sp>
    </p:spTree>
    <p:extLst>
      <p:ext uri="{BB962C8B-B14F-4D97-AF65-F5344CB8AC3E}">
        <p14:creationId xmlns:p14="http://schemas.microsoft.com/office/powerpoint/2010/main" val="294065991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B8FB81-8D28-AEC1-C54E-FEEC2B2D95B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7FED256-4E9F-69E8-C8F0-A8AFBAAEEF7F}"/>
              </a:ext>
            </a:extLst>
          </p:cNvPr>
          <p:cNvSpPr>
            <a:spLocks noGrp="1"/>
          </p:cNvSpPr>
          <p:nvPr>
            <p:ph type="title"/>
          </p:nvPr>
        </p:nvSpPr>
        <p:spPr/>
        <p:txBody>
          <a:bodyPr/>
          <a:lstStyle/>
          <a:p>
            <a:r>
              <a:rPr lang="en-US" sz="3200" dirty="0">
                <a:solidFill>
                  <a:srgbClr val="003767"/>
                </a:solidFill>
              </a:rPr>
              <a:t>Treatment algorithm</a:t>
            </a:r>
          </a:p>
        </p:txBody>
      </p:sp>
      <p:sp>
        <p:nvSpPr>
          <p:cNvPr id="2" name="TextBox 1">
            <a:extLst>
              <a:ext uri="{FF2B5EF4-FFF2-40B4-BE49-F238E27FC236}">
                <a16:creationId xmlns:a16="http://schemas.microsoft.com/office/drawing/2014/main" id="{11121E4C-7094-2CDF-349D-F0B61979BD9E}"/>
              </a:ext>
            </a:extLst>
          </p:cNvPr>
          <p:cNvSpPr txBox="1"/>
          <p:nvPr/>
        </p:nvSpPr>
        <p:spPr>
          <a:xfrm>
            <a:off x="3034146" y="875335"/>
            <a:ext cx="2909454" cy="369332"/>
          </a:xfrm>
          <a:prstGeom prst="rect">
            <a:avLst/>
          </a:prstGeom>
        </p:spPr>
        <p:txBody>
          <a:bodyPr vert="horz"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771B61"/>
                </a:solidFill>
                <a:effectLst/>
                <a:uLnTx/>
                <a:uFillTx/>
                <a:latin typeface="Calibri Light" panose="020F0302020204030204" pitchFamily="34" charset="0"/>
                <a:ea typeface="ＭＳ Ｐゴシック" charset="0"/>
                <a:cs typeface="Calibri Light" panose="020F0302020204030204" pitchFamily="34" charset="0"/>
              </a:rPr>
              <a:t>Newly diagnosed older AML</a:t>
            </a:r>
          </a:p>
        </p:txBody>
      </p:sp>
      <p:cxnSp>
        <p:nvCxnSpPr>
          <p:cNvPr id="4" name="Straight Arrow Connector 3">
            <a:extLst>
              <a:ext uri="{FF2B5EF4-FFF2-40B4-BE49-F238E27FC236}">
                <a16:creationId xmlns:a16="http://schemas.microsoft.com/office/drawing/2014/main" id="{04A6F45F-9FF0-0030-D221-8AC4B69C7AD9}"/>
              </a:ext>
            </a:extLst>
          </p:cNvPr>
          <p:cNvCxnSpPr>
            <a:cxnSpLocks/>
          </p:cNvCxnSpPr>
          <p:nvPr/>
        </p:nvCxnSpPr>
        <p:spPr>
          <a:xfrm>
            <a:off x="4398188" y="1309747"/>
            <a:ext cx="0" cy="5966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9BEDE49A-E990-5EDE-1957-F4DB9489712D}"/>
              </a:ext>
            </a:extLst>
          </p:cNvPr>
          <p:cNvSpPr txBox="1"/>
          <p:nvPr/>
        </p:nvSpPr>
        <p:spPr>
          <a:xfrm>
            <a:off x="3472456" y="1996813"/>
            <a:ext cx="2032834" cy="400110"/>
          </a:xfrm>
          <a:prstGeom prst="rect">
            <a:avLst/>
          </a:prstGeom>
          <a:ln>
            <a:solidFill>
              <a:schemeClr val="tx1"/>
            </a:solidFill>
          </a:ln>
        </p:spPr>
        <p:txBody>
          <a:bodyPr vert="horz"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771B61"/>
                </a:solidFill>
                <a:effectLst/>
                <a:uLnTx/>
                <a:uFillTx/>
                <a:latin typeface="Calibri"/>
                <a:ea typeface="ＭＳ Ｐゴシック" charset="0"/>
                <a:cs typeface="+mn-cs"/>
              </a:rPr>
              <a:t>HMA/</a:t>
            </a:r>
            <a:r>
              <a:rPr kumimoji="0" lang="en-US" sz="2000" b="0" i="0" u="none" strike="noStrike" kern="1200" cap="none" spc="0" normalizeH="0" baseline="0" noProof="0" dirty="0" err="1">
                <a:ln>
                  <a:noFill/>
                </a:ln>
                <a:solidFill>
                  <a:srgbClr val="771B61"/>
                </a:solidFill>
                <a:effectLst/>
                <a:uLnTx/>
                <a:uFillTx/>
                <a:latin typeface="Calibri"/>
                <a:ea typeface="ＭＳ Ｐゴシック" charset="0"/>
                <a:cs typeface="+mn-cs"/>
              </a:rPr>
              <a:t>venetoclax</a:t>
            </a:r>
            <a:endParaRPr kumimoji="0" lang="en-US" sz="2000" b="0" i="0" u="none" strike="noStrike" kern="1200" cap="none" spc="0" normalizeH="0" baseline="0" noProof="0" dirty="0">
              <a:ln>
                <a:noFill/>
              </a:ln>
              <a:solidFill>
                <a:srgbClr val="771B61"/>
              </a:solidFill>
              <a:effectLst/>
              <a:uLnTx/>
              <a:uFillTx/>
              <a:latin typeface="Calibri"/>
              <a:ea typeface="ＭＳ Ｐゴシック" charset="0"/>
              <a:cs typeface="+mn-cs"/>
            </a:endParaRPr>
          </a:p>
        </p:txBody>
      </p:sp>
      <p:cxnSp>
        <p:nvCxnSpPr>
          <p:cNvPr id="9" name="Straight Arrow Connector 8">
            <a:extLst>
              <a:ext uri="{FF2B5EF4-FFF2-40B4-BE49-F238E27FC236}">
                <a16:creationId xmlns:a16="http://schemas.microsoft.com/office/drawing/2014/main" id="{EFD4AF29-E668-3191-4EF1-5681BE9CABBF}"/>
              </a:ext>
            </a:extLst>
          </p:cNvPr>
          <p:cNvCxnSpPr/>
          <p:nvPr/>
        </p:nvCxnSpPr>
        <p:spPr>
          <a:xfrm>
            <a:off x="4398188" y="1309747"/>
            <a:ext cx="1723002" cy="422839"/>
          </a:xfrm>
          <a:prstGeom prst="straightConnector1">
            <a:avLst/>
          </a:prstGeom>
          <a:ln>
            <a:solidFill>
              <a:schemeClr val="bg2"/>
            </a:solidFill>
            <a:tailEnd type="triangle"/>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BD99C13E-AE1B-D960-A2E3-F325834CA749}"/>
              </a:ext>
            </a:extLst>
          </p:cNvPr>
          <p:cNvSpPr txBox="1"/>
          <p:nvPr/>
        </p:nvSpPr>
        <p:spPr>
          <a:xfrm>
            <a:off x="6226989" y="1721739"/>
            <a:ext cx="921951" cy="369332"/>
          </a:xfrm>
          <a:prstGeom prst="rect">
            <a:avLst/>
          </a:prstGeom>
          <a:ln>
            <a:solidFill>
              <a:schemeClr val="tx2"/>
            </a:solidFill>
          </a:ln>
        </p:spPr>
        <p:txBody>
          <a:bodyPr vert="horz"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666D70"/>
                </a:solidFill>
                <a:effectLst/>
                <a:uLnTx/>
                <a:uFillTx/>
                <a:latin typeface="Calibri"/>
                <a:ea typeface="ＭＳ Ｐゴシック" charset="0"/>
                <a:cs typeface="+mn-cs"/>
              </a:rPr>
              <a:t>Vyxeos</a:t>
            </a:r>
            <a:endParaRPr kumimoji="0" lang="en-US" sz="1800" b="0" i="0" u="none" strike="noStrike" kern="1200" cap="none" spc="0" normalizeH="0" baseline="0" noProof="0" dirty="0">
              <a:ln>
                <a:noFill/>
              </a:ln>
              <a:solidFill>
                <a:srgbClr val="666D70"/>
              </a:solidFill>
              <a:effectLst/>
              <a:uLnTx/>
              <a:uFillTx/>
              <a:latin typeface="Calibri"/>
              <a:ea typeface="ＭＳ Ｐゴシック" charset="0"/>
              <a:cs typeface="+mn-cs"/>
            </a:endParaRPr>
          </a:p>
        </p:txBody>
      </p:sp>
      <p:sp>
        <p:nvSpPr>
          <p:cNvPr id="11" name="TextBox 10">
            <a:extLst>
              <a:ext uri="{FF2B5EF4-FFF2-40B4-BE49-F238E27FC236}">
                <a16:creationId xmlns:a16="http://schemas.microsoft.com/office/drawing/2014/main" id="{4C98A9AA-1E08-5D04-B435-081ECEF6FE4C}"/>
              </a:ext>
            </a:extLst>
          </p:cNvPr>
          <p:cNvSpPr txBox="1"/>
          <p:nvPr/>
        </p:nvSpPr>
        <p:spPr>
          <a:xfrm>
            <a:off x="6053178" y="1143577"/>
            <a:ext cx="2191535" cy="523220"/>
          </a:xfrm>
          <a:prstGeom prst="rect">
            <a:avLst/>
          </a:prstGeom>
        </p:spPr>
        <p:txBody>
          <a:bodyPr vert="horz"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D70"/>
                </a:solidFill>
                <a:effectLst/>
                <a:uLnTx/>
                <a:uFillTx/>
                <a:latin typeface="Calibri Light" panose="020F0302020204030204" pitchFamily="34" charset="0"/>
                <a:ea typeface="ＭＳ Ｐゴシック" charset="0"/>
                <a:cs typeface="Calibri Light" panose="020F0302020204030204" pitchFamily="34" charset="0"/>
              </a:rPr>
              <a:t>Induction candidat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D70"/>
                </a:solidFill>
                <a:effectLst/>
                <a:uLnTx/>
                <a:uFillTx/>
                <a:latin typeface="Calibri Light" panose="020F0302020204030204" pitchFamily="34" charset="0"/>
                <a:ea typeface="ＭＳ Ｐゴシック" charset="0"/>
                <a:cs typeface="Calibri Light" panose="020F0302020204030204" pitchFamily="34" charset="0"/>
              </a:rPr>
              <a:t>age &gt;55, secondary AML</a:t>
            </a:r>
          </a:p>
        </p:txBody>
      </p:sp>
      <p:sp>
        <p:nvSpPr>
          <p:cNvPr id="13" name="TextBox 12">
            <a:extLst>
              <a:ext uri="{FF2B5EF4-FFF2-40B4-BE49-F238E27FC236}">
                <a16:creationId xmlns:a16="http://schemas.microsoft.com/office/drawing/2014/main" id="{4B6D65D9-A5AE-B0BF-5AAF-3E63B6664513}"/>
              </a:ext>
            </a:extLst>
          </p:cNvPr>
          <p:cNvSpPr txBox="1"/>
          <p:nvPr/>
        </p:nvSpPr>
        <p:spPr>
          <a:xfrm>
            <a:off x="3322540" y="1306172"/>
            <a:ext cx="1177002" cy="738664"/>
          </a:xfrm>
          <a:prstGeom prst="rect">
            <a:avLst/>
          </a:prstGeom>
        </p:spPr>
        <p:txBody>
          <a:bodyPr vert="horz"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71B61"/>
                </a:solidFill>
                <a:effectLst/>
                <a:uLnTx/>
                <a:uFillTx/>
                <a:latin typeface="Calibri Light" panose="020F0302020204030204" pitchFamily="34" charset="0"/>
                <a:ea typeface="ＭＳ Ｐゴシック" charset="0"/>
                <a:cs typeface="Calibri Light" panose="020F0302020204030204" pitchFamily="34" charset="0"/>
              </a:rPr>
              <a:t>Age≥75 or not induction candidate</a:t>
            </a:r>
          </a:p>
        </p:txBody>
      </p:sp>
      <p:cxnSp>
        <p:nvCxnSpPr>
          <p:cNvPr id="14" name="Straight Arrow Connector 13">
            <a:extLst>
              <a:ext uri="{FF2B5EF4-FFF2-40B4-BE49-F238E27FC236}">
                <a16:creationId xmlns:a16="http://schemas.microsoft.com/office/drawing/2014/main" id="{C19C2406-9444-9299-0AC4-214749169C93}"/>
              </a:ext>
            </a:extLst>
          </p:cNvPr>
          <p:cNvCxnSpPr>
            <a:cxnSpLocks/>
          </p:cNvCxnSpPr>
          <p:nvPr/>
        </p:nvCxnSpPr>
        <p:spPr>
          <a:xfrm>
            <a:off x="4398188" y="2511617"/>
            <a:ext cx="0" cy="5966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E8313B05-1F49-7530-7404-4EC0C7E19FB9}"/>
              </a:ext>
            </a:extLst>
          </p:cNvPr>
          <p:cNvSpPr txBox="1"/>
          <p:nvPr/>
        </p:nvSpPr>
        <p:spPr>
          <a:xfrm>
            <a:off x="3372330" y="3108275"/>
            <a:ext cx="2399341" cy="369332"/>
          </a:xfrm>
          <a:prstGeom prst="rect">
            <a:avLst/>
          </a:prstGeom>
        </p:spPr>
        <p:txBody>
          <a:bodyPr vert="horz"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771B61"/>
                </a:solidFill>
                <a:effectLst/>
                <a:uLnTx/>
                <a:uFillTx/>
                <a:latin typeface="Calibri Light" panose="020F0302020204030204" pitchFamily="34" charset="0"/>
                <a:ea typeface="ＭＳ Ｐゴシック" charset="0"/>
                <a:cs typeface="Calibri Light" panose="020F0302020204030204" pitchFamily="34" charset="0"/>
              </a:rPr>
              <a:t>Relapsed/refractory</a:t>
            </a:r>
          </a:p>
        </p:txBody>
      </p:sp>
      <p:cxnSp>
        <p:nvCxnSpPr>
          <p:cNvPr id="17" name="Straight Arrow Connector 16">
            <a:extLst>
              <a:ext uri="{FF2B5EF4-FFF2-40B4-BE49-F238E27FC236}">
                <a16:creationId xmlns:a16="http://schemas.microsoft.com/office/drawing/2014/main" id="{13D7D862-32E2-B98B-9FBF-0BA31EA184EC}"/>
              </a:ext>
            </a:extLst>
          </p:cNvPr>
          <p:cNvCxnSpPr/>
          <p:nvPr/>
        </p:nvCxnSpPr>
        <p:spPr>
          <a:xfrm flipH="1">
            <a:off x="2697859" y="3477608"/>
            <a:ext cx="672575" cy="33250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26C6BAA3-ED61-B147-9D41-30F5154845FA}"/>
              </a:ext>
            </a:extLst>
          </p:cNvPr>
          <p:cNvCxnSpPr>
            <a:cxnSpLocks/>
          </p:cNvCxnSpPr>
          <p:nvPr/>
        </p:nvCxnSpPr>
        <p:spPr>
          <a:xfrm flipH="1">
            <a:off x="4398189" y="3443601"/>
            <a:ext cx="1" cy="46097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C3F19F3C-6573-216E-B26F-FA1F2B91DD64}"/>
              </a:ext>
            </a:extLst>
          </p:cNvPr>
          <p:cNvCxnSpPr>
            <a:cxnSpLocks/>
          </p:cNvCxnSpPr>
          <p:nvPr/>
        </p:nvCxnSpPr>
        <p:spPr>
          <a:xfrm>
            <a:off x="5480104" y="3415678"/>
            <a:ext cx="641086" cy="39443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extBox 22">
            <a:extLst>
              <a:ext uri="{FF2B5EF4-FFF2-40B4-BE49-F238E27FC236}">
                <a16:creationId xmlns:a16="http://schemas.microsoft.com/office/drawing/2014/main" id="{C003441C-3DD1-479A-3A42-B33F597CCC6C}"/>
              </a:ext>
            </a:extLst>
          </p:cNvPr>
          <p:cNvSpPr txBox="1"/>
          <p:nvPr/>
        </p:nvSpPr>
        <p:spPr>
          <a:xfrm>
            <a:off x="2274678" y="3335029"/>
            <a:ext cx="831269" cy="369332"/>
          </a:xfrm>
          <a:prstGeom prst="rect">
            <a:avLst/>
          </a:prstGeom>
        </p:spPr>
        <p:txBody>
          <a:bodyPr vert="horz"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771B61"/>
                </a:solidFill>
                <a:effectLst/>
                <a:uLnTx/>
                <a:uFillTx/>
                <a:latin typeface="Calibri Light" panose="020F0302020204030204" pitchFamily="34" charset="0"/>
                <a:ea typeface="ＭＳ Ｐゴシック" charset="0"/>
                <a:cs typeface="Calibri Light" panose="020F0302020204030204" pitchFamily="34" charset="0"/>
              </a:rPr>
              <a:t>FLT3+</a:t>
            </a:r>
          </a:p>
        </p:txBody>
      </p:sp>
      <p:sp>
        <p:nvSpPr>
          <p:cNvPr id="24" name="TextBox 23">
            <a:extLst>
              <a:ext uri="{FF2B5EF4-FFF2-40B4-BE49-F238E27FC236}">
                <a16:creationId xmlns:a16="http://schemas.microsoft.com/office/drawing/2014/main" id="{E9AC6F9E-6631-7BB5-F62E-4840168581EF}"/>
              </a:ext>
            </a:extLst>
          </p:cNvPr>
          <p:cNvSpPr txBox="1"/>
          <p:nvPr/>
        </p:nvSpPr>
        <p:spPr>
          <a:xfrm>
            <a:off x="5943601" y="3297158"/>
            <a:ext cx="1028373" cy="369332"/>
          </a:xfrm>
          <a:prstGeom prst="rect">
            <a:avLst/>
          </a:prstGeom>
        </p:spPr>
        <p:txBody>
          <a:bodyPr vert="horz"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771B61"/>
                </a:solidFill>
                <a:effectLst/>
                <a:uLnTx/>
                <a:uFillTx/>
                <a:latin typeface="Calibri Light" panose="020F0302020204030204" pitchFamily="34" charset="0"/>
                <a:ea typeface="ＭＳ Ｐゴシック" charset="0"/>
                <a:cs typeface="Calibri Light" panose="020F0302020204030204" pitchFamily="34" charset="0"/>
              </a:rPr>
              <a:t>IDH1/2+</a:t>
            </a:r>
          </a:p>
        </p:txBody>
      </p:sp>
      <p:sp>
        <p:nvSpPr>
          <p:cNvPr id="25" name="TextBox 24">
            <a:extLst>
              <a:ext uri="{FF2B5EF4-FFF2-40B4-BE49-F238E27FC236}">
                <a16:creationId xmlns:a16="http://schemas.microsoft.com/office/drawing/2014/main" id="{46F58541-8FA4-4C26-5B4C-9A4C3A9FBCB8}"/>
              </a:ext>
            </a:extLst>
          </p:cNvPr>
          <p:cNvSpPr txBox="1"/>
          <p:nvPr/>
        </p:nvSpPr>
        <p:spPr>
          <a:xfrm>
            <a:off x="1704102" y="3994782"/>
            <a:ext cx="1258253" cy="369332"/>
          </a:xfrm>
          <a:prstGeom prst="rect">
            <a:avLst/>
          </a:prstGeom>
          <a:ln>
            <a:solidFill>
              <a:schemeClr val="tx1"/>
            </a:solidFill>
          </a:ln>
        </p:spPr>
        <p:txBody>
          <a:bodyPr vert="horz"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effectLst/>
                <a:uLnTx/>
                <a:uFillTx/>
                <a:latin typeface="Calibri"/>
                <a:ea typeface="ＭＳ Ｐゴシック" charset="0"/>
                <a:cs typeface="+mn-cs"/>
              </a:rPr>
              <a:t>Gilteritinib</a:t>
            </a:r>
            <a:endParaRPr kumimoji="0" lang="en-US" sz="1800" b="0" i="0" u="none" strike="noStrike" kern="1200" cap="none" spc="0" normalizeH="0" baseline="0" noProof="0" dirty="0">
              <a:ln>
                <a:noFill/>
              </a:ln>
              <a:effectLst/>
              <a:uLnTx/>
              <a:uFillTx/>
              <a:latin typeface="Calibri"/>
              <a:ea typeface="ＭＳ Ｐゴシック" charset="0"/>
              <a:cs typeface="+mn-cs"/>
            </a:endParaRPr>
          </a:p>
        </p:txBody>
      </p:sp>
      <p:sp>
        <p:nvSpPr>
          <p:cNvPr id="26" name="TextBox 25">
            <a:extLst>
              <a:ext uri="{FF2B5EF4-FFF2-40B4-BE49-F238E27FC236}">
                <a16:creationId xmlns:a16="http://schemas.microsoft.com/office/drawing/2014/main" id="{DC561C65-6005-C8AC-7090-EC6DFC401813}"/>
              </a:ext>
            </a:extLst>
          </p:cNvPr>
          <p:cNvSpPr txBox="1"/>
          <p:nvPr/>
        </p:nvSpPr>
        <p:spPr>
          <a:xfrm>
            <a:off x="5791190" y="3893456"/>
            <a:ext cx="2361566" cy="646331"/>
          </a:xfrm>
          <a:prstGeom prst="rect">
            <a:avLst/>
          </a:prstGeom>
          <a:ln>
            <a:solidFill>
              <a:srgbClr val="FF0000"/>
            </a:solidFill>
          </a:ln>
        </p:spPr>
        <p:txBody>
          <a:bodyPr vert="horz"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771B61"/>
                </a:solidFill>
                <a:effectLst/>
                <a:uLnTx/>
                <a:uFillTx/>
                <a:latin typeface="Calibri"/>
                <a:ea typeface="ＭＳ Ｐゴシック" charset="0"/>
                <a:cs typeface="+mn-cs"/>
              </a:rPr>
              <a:t>Ivosidenib</a:t>
            </a:r>
            <a:r>
              <a:rPr kumimoji="0" lang="en-US" sz="1800" b="0" i="0" u="none" strike="noStrike" kern="1200" cap="none" spc="0" normalizeH="0" baseline="0" noProof="0" dirty="0">
                <a:ln>
                  <a:noFill/>
                </a:ln>
                <a:solidFill>
                  <a:srgbClr val="771B61"/>
                </a:solidFill>
                <a:effectLst/>
                <a:uLnTx/>
                <a:uFillTx/>
                <a:latin typeface="Calibri"/>
                <a:ea typeface="ＭＳ Ｐゴシック" charset="0"/>
                <a:cs typeface="+mn-cs"/>
              </a:rPr>
              <a:t>, </a:t>
            </a:r>
            <a:r>
              <a:rPr kumimoji="0" lang="en-US" sz="1800" b="0" i="0" u="none" strike="noStrike" kern="1200" cap="none" spc="0" normalizeH="0" baseline="0" noProof="0" dirty="0" err="1">
                <a:ln>
                  <a:noFill/>
                </a:ln>
                <a:solidFill>
                  <a:srgbClr val="771B61"/>
                </a:solidFill>
                <a:effectLst/>
                <a:uLnTx/>
                <a:uFillTx/>
                <a:latin typeface="Calibri"/>
                <a:ea typeface="ＭＳ Ｐゴシック" charset="0"/>
                <a:cs typeface="+mn-cs"/>
              </a:rPr>
              <a:t>Enasidenib</a:t>
            </a:r>
            <a:r>
              <a:rPr kumimoji="0" lang="en-US" sz="1800" b="0" i="0" u="none" strike="noStrike" kern="1200" cap="none" spc="0" normalizeH="0" baseline="0" noProof="0" dirty="0">
                <a:ln>
                  <a:noFill/>
                </a:ln>
                <a:solidFill>
                  <a:srgbClr val="771B61"/>
                </a:solidFill>
                <a:effectLst/>
                <a:uLnTx/>
                <a:uFillTx/>
                <a:latin typeface="Calibri"/>
                <a:ea typeface="ＭＳ Ｐゴシック" charset="0"/>
                <a:cs typeface="+mn-cs"/>
              </a:rPr>
              <a:t>, </a:t>
            </a:r>
            <a:r>
              <a:rPr kumimoji="0" lang="en-US" sz="1800" b="0" i="0" u="none" strike="noStrike" kern="1200" cap="none" spc="0" normalizeH="0" baseline="0" noProof="0" dirty="0" err="1">
                <a:ln>
                  <a:noFill/>
                </a:ln>
                <a:solidFill>
                  <a:srgbClr val="771B61"/>
                </a:solidFill>
                <a:effectLst/>
                <a:uLnTx/>
                <a:uFillTx/>
                <a:latin typeface="Calibri"/>
                <a:ea typeface="ＭＳ Ｐゴシック" charset="0"/>
                <a:cs typeface="+mn-cs"/>
              </a:rPr>
              <a:t>Olutasidenib</a:t>
            </a:r>
            <a:endParaRPr kumimoji="0" lang="en-US" sz="1800" b="0" i="0" u="none" strike="noStrike" kern="1200" cap="none" spc="0" normalizeH="0" baseline="0" noProof="0" dirty="0">
              <a:ln>
                <a:noFill/>
              </a:ln>
              <a:solidFill>
                <a:srgbClr val="771B61"/>
              </a:solidFill>
              <a:effectLst/>
              <a:uLnTx/>
              <a:uFillTx/>
              <a:latin typeface="Calibri"/>
              <a:ea typeface="ＭＳ Ｐゴシック" charset="0"/>
              <a:cs typeface="+mn-cs"/>
            </a:endParaRPr>
          </a:p>
        </p:txBody>
      </p:sp>
      <p:sp>
        <p:nvSpPr>
          <p:cNvPr id="27" name="TextBox 26">
            <a:extLst>
              <a:ext uri="{FF2B5EF4-FFF2-40B4-BE49-F238E27FC236}">
                <a16:creationId xmlns:a16="http://schemas.microsoft.com/office/drawing/2014/main" id="{12F91D4F-0457-337B-F1D1-A4AE8C730FEE}"/>
              </a:ext>
            </a:extLst>
          </p:cNvPr>
          <p:cNvSpPr txBox="1"/>
          <p:nvPr/>
        </p:nvSpPr>
        <p:spPr>
          <a:xfrm>
            <a:off x="3770956" y="3976133"/>
            <a:ext cx="1473617" cy="646331"/>
          </a:xfrm>
          <a:prstGeom prst="rect">
            <a:avLst/>
          </a:prstGeom>
          <a:ln>
            <a:solidFill>
              <a:schemeClr val="tx1"/>
            </a:solidFill>
          </a:ln>
        </p:spPr>
        <p:txBody>
          <a:bodyPr vert="horz"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771B61"/>
                </a:solidFill>
                <a:effectLst/>
                <a:uLnTx/>
                <a:uFillTx/>
                <a:latin typeface="Calibri"/>
                <a:ea typeface="ＭＳ Ｐゴシック" charset="0"/>
                <a:cs typeface="+mn-cs"/>
              </a:rPr>
              <a:t>Clinical trial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771B61"/>
                </a:solidFill>
                <a:effectLst/>
                <a:uLnTx/>
                <a:uFillTx/>
                <a:latin typeface="Calibri"/>
                <a:ea typeface="ＭＳ Ｐゴシック" charset="0"/>
                <a:cs typeface="+mn-cs"/>
              </a:rPr>
              <a:t>Mylotarg</a:t>
            </a:r>
            <a:endParaRPr kumimoji="0" lang="en-US" sz="1800" b="0" i="0" u="none" strike="noStrike" kern="1200" cap="none" spc="0" normalizeH="0" baseline="0" noProof="0" dirty="0">
              <a:ln>
                <a:noFill/>
              </a:ln>
              <a:solidFill>
                <a:srgbClr val="771B61"/>
              </a:solidFill>
              <a:effectLst/>
              <a:uLnTx/>
              <a:uFillTx/>
              <a:latin typeface="Calibri"/>
              <a:ea typeface="ＭＳ Ｐゴシック" charset="0"/>
              <a:cs typeface="+mn-cs"/>
            </a:endParaRPr>
          </a:p>
        </p:txBody>
      </p:sp>
      <p:cxnSp>
        <p:nvCxnSpPr>
          <p:cNvPr id="3" name="Straight Arrow Connector 2">
            <a:extLst>
              <a:ext uri="{FF2B5EF4-FFF2-40B4-BE49-F238E27FC236}">
                <a16:creationId xmlns:a16="http://schemas.microsoft.com/office/drawing/2014/main" id="{067265C7-0225-917E-ECAA-3859D9F0CE3C}"/>
              </a:ext>
            </a:extLst>
          </p:cNvPr>
          <p:cNvCxnSpPr/>
          <p:nvPr/>
        </p:nvCxnSpPr>
        <p:spPr>
          <a:xfrm flipH="1">
            <a:off x="2391963" y="1368834"/>
            <a:ext cx="672575" cy="33250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EC024E78-E786-42A1-7190-90C5AC30F6DB}"/>
              </a:ext>
            </a:extLst>
          </p:cNvPr>
          <p:cNvSpPr txBox="1"/>
          <p:nvPr/>
        </p:nvSpPr>
        <p:spPr>
          <a:xfrm>
            <a:off x="1823928" y="1300299"/>
            <a:ext cx="1028373" cy="307777"/>
          </a:xfrm>
          <a:prstGeom prst="rect">
            <a:avLst/>
          </a:prstGeom>
        </p:spPr>
        <p:txBody>
          <a:bodyPr vert="horz"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71B61"/>
                </a:solidFill>
                <a:effectLst/>
                <a:uLnTx/>
                <a:uFillTx/>
                <a:latin typeface="Calibri Light" panose="020F0302020204030204" pitchFamily="34" charset="0"/>
                <a:ea typeface="ＭＳ Ｐゴシック" charset="0"/>
                <a:cs typeface="Calibri Light" panose="020F0302020204030204" pitchFamily="34" charset="0"/>
              </a:rPr>
              <a:t>IDH1+</a:t>
            </a:r>
          </a:p>
        </p:txBody>
      </p:sp>
      <p:sp>
        <p:nvSpPr>
          <p:cNvPr id="8" name="TextBox 7">
            <a:extLst>
              <a:ext uri="{FF2B5EF4-FFF2-40B4-BE49-F238E27FC236}">
                <a16:creationId xmlns:a16="http://schemas.microsoft.com/office/drawing/2014/main" id="{E7944CF7-B0D7-E5E2-80B9-EA344B8B0442}"/>
              </a:ext>
            </a:extLst>
          </p:cNvPr>
          <p:cNvSpPr txBox="1"/>
          <p:nvPr/>
        </p:nvSpPr>
        <p:spPr>
          <a:xfrm>
            <a:off x="316562" y="2004565"/>
            <a:ext cx="2645792" cy="400110"/>
          </a:xfrm>
          <a:prstGeom prst="rect">
            <a:avLst/>
          </a:prstGeom>
          <a:ln>
            <a:solidFill>
              <a:schemeClr val="tx1"/>
            </a:solidFill>
          </a:ln>
        </p:spPr>
        <p:txBody>
          <a:bodyPr vert="horz"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771B61"/>
                </a:solidFill>
                <a:effectLst/>
                <a:uLnTx/>
                <a:uFillTx/>
                <a:latin typeface="Calibri"/>
                <a:ea typeface="ＭＳ Ｐゴシック" charset="0"/>
                <a:cs typeface="+mn-cs"/>
              </a:rPr>
              <a:t>Azacitidine/</a:t>
            </a:r>
            <a:r>
              <a:rPr kumimoji="0" lang="en-US" sz="2000" b="0" i="0" u="none" strike="noStrike" kern="1200" cap="none" spc="0" normalizeH="0" baseline="0" noProof="0" dirty="0" err="1">
                <a:ln>
                  <a:noFill/>
                </a:ln>
                <a:solidFill>
                  <a:srgbClr val="771B61"/>
                </a:solidFill>
                <a:effectLst/>
                <a:uLnTx/>
                <a:uFillTx/>
                <a:latin typeface="Calibri"/>
                <a:ea typeface="ＭＳ Ｐゴシック" charset="0"/>
                <a:cs typeface="+mn-cs"/>
              </a:rPr>
              <a:t>ivosidenib</a:t>
            </a:r>
            <a:endParaRPr kumimoji="0" lang="en-US" sz="2000" b="0" i="0" u="none" strike="noStrike" kern="1200" cap="none" spc="0" normalizeH="0" baseline="0" noProof="0" dirty="0">
              <a:ln>
                <a:noFill/>
              </a:ln>
              <a:solidFill>
                <a:srgbClr val="771B61"/>
              </a:solidFill>
              <a:effectLst/>
              <a:uLnTx/>
              <a:uFillTx/>
              <a:latin typeface="Calibri"/>
              <a:ea typeface="ＭＳ Ｐゴシック" charset="0"/>
              <a:cs typeface="+mn-cs"/>
            </a:endParaRPr>
          </a:p>
        </p:txBody>
      </p:sp>
    </p:spTree>
    <p:extLst>
      <p:ext uri="{BB962C8B-B14F-4D97-AF65-F5344CB8AC3E}">
        <p14:creationId xmlns:p14="http://schemas.microsoft.com/office/powerpoint/2010/main" val="178486211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3CD5CE-457E-4DAA-BD08-1279E8E58782}"/>
              </a:ext>
            </a:extLst>
          </p:cNvPr>
          <p:cNvSpPr>
            <a:spLocks noGrp="1"/>
          </p:cNvSpPr>
          <p:nvPr>
            <p:ph type="title"/>
          </p:nvPr>
        </p:nvSpPr>
        <p:spPr>
          <a:xfrm>
            <a:off x="340964" y="208360"/>
            <a:ext cx="8547315" cy="857250"/>
          </a:xfrm>
        </p:spPr>
        <p:txBody>
          <a:bodyPr/>
          <a:lstStyle/>
          <a:p>
            <a:r>
              <a:rPr lang="en-US" sz="2400" dirty="0">
                <a:solidFill>
                  <a:srgbClr val="003767"/>
                </a:solidFill>
              </a:rPr>
              <a:t>IDH inhibitors: </a:t>
            </a:r>
            <a:br>
              <a:rPr lang="en-US" sz="2400" dirty="0">
                <a:solidFill>
                  <a:srgbClr val="003767"/>
                </a:solidFill>
              </a:rPr>
            </a:br>
            <a:r>
              <a:rPr lang="en-US" sz="2400" dirty="0" err="1">
                <a:solidFill>
                  <a:srgbClr val="003767"/>
                </a:solidFill>
              </a:rPr>
              <a:t>Ivosidenib</a:t>
            </a:r>
            <a:r>
              <a:rPr lang="en-US" sz="2400" dirty="0">
                <a:solidFill>
                  <a:srgbClr val="003767"/>
                </a:solidFill>
              </a:rPr>
              <a:t>, </a:t>
            </a:r>
            <a:r>
              <a:rPr lang="en-US" sz="2400" dirty="0" err="1">
                <a:solidFill>
                  <a:srgbClr val="003767"/>
                </a:solidFill>
              </a:rPr>
              <a:t>Enasidenib</a:t>
            </a:r>
            <a:r>
              <a:rPr lang="en-US" sz="2400" dirty="0">
                <a:solidFill>
                  <a:srgbClr val="003767"/>
                </a:solidFill>
              </a:rPr>
              <a:t>, </a:t>
            </a:r>
            <a:r>
              <a:rPr lang="en-US" sz="2400" dirty="0" err="1">
                <a:solidFill>
                  <a:srgbClr val="003767"/>
                </a:solidFill>
              </a:rPr>
              <a:t>Olutasidenib</a:t>
            </a:r>
            <a:endParaRPr lang="en-US" sz="2400" dirty="0">
              <a:solidFill>
                <a:srgbClr val="003767"/>
              </a:solidFill>
            </a:endParaRPr>
          </a:p>
        </p:txBody>
      </p:sp>
      <p:sp>
        <p:nvSpPr>
          <p:cNvPr id="3" name="Content Placeholder 2">
            <a:extLst>
              <a:ext uri="{FF2B5EF4-FFF2-40B4-BE49-F238E27FC236}">
                <a16:creationId xmlns:a16="http://schemas.microsoft.com/office/drawing/2014/main" id="{108E6C3C-4F4E-4801-A9A6-98F9BBE14FF1}"/>
              </a:ext>
            </a:extLst>
          </p:cNvPr>
          <p:cNvSpPr>
            <a:spLocks noGrp="1"/>
          </p:cNvSpPr>
          <p:nvPr>
            <p:ph idx="1"/>
          </p:nvPr>
        </p:nvSpPr>
        <p:spPr>
          <a:xfrm>
            <a:off x="457200" y="1065610"/>
            <a:ext cx="8229600" cy="3397615"/>
          </a:xfrm>
        </p:spPr>
        <p:txBody>
          <a:bodyPr/>
          <a:lstStyle/>
          <a:p>
            <a:r>
              <a:rPr lang="en-US" sz="2000" dirty="0">
                <a:solidFill>
                  <a:srgbClr val="003767"/>
                </a:solidFill>
                <a:latin typeface="Calibri Light" panose="020F0302020204030204" pitchFamily="34" charset="0"/>
                <a:cs typeface="Calibri Light" panose="020F0302020204030204" pitchFamily="34" charset="0"/>
              </a:rPr>
              <a:t>Oral, selective for IDH1 (</a:t>
            </a:r>
            <a:r>
              <a:rPr lang="en-US" sz="2000" dirty="0" err="1">
                <a:solidFill>
                  <a:srgbClr val="003767"/>
                </a:solidFill>
                <a:latin typeface="Calibri Light" panose="020F0302020204030204" pitchFamily="34" charset="0"/>
                <a:cs typeface="Calibri Light" panose="020F0302020204030204" pitchFamily="34" charset="0"/>
              </a:rPr>
              <a:t>Ivosidenib</a:t>
            </a:r>
            <a:r>
              <a:rPr lang="en-US" sz="2000" dirty="0">
                <a:solidFill>
                  <a:srgbClr val="003767"/>
                </a:solidFill>
                <a:latin typeface="Calibri Light" panose="020F0302020204030204" pitchFamily="34" charset="0"/>
                <a:cs typeface="Calibri Light" panose="020F0302020204030204" pitchFamily="34" charset="0"/>
              </a:rPr>
              <a:t>, </a:t>
            </a:r>
            <a:r>
              <a:rPr lang="en-US" sz="2000" dirty="0" err="1">
                <a:solidFill>
                  <a:srgbClr val="003767"/>
                </a:solidFill>
                <a:latin typeface="Calibri Light" panose="020F0302020204030204" pitchFamily="34" charset="0"/>
                <a:cs typeface="Calibri Light" panose="020F0302020204030204" pitchFamily="34" charset="0"/>
              </a:rPr>
              <a:t>Olutasidenib</a:t>
            </a:r>
            <a:r>
              <a:rPr lang="en-US" sz="2000" dirty="0">
                <a:solidFill>
                  <a:srgbClr val="003767"/>
                </a:solidFill>
                <a:latin typeface="Calibri Light" panose="020F0302020204030204" pitchFamily="34" charset="0"/>
                <a:cs typeface="Calibri Light" panose="020F0302020204030204" pitchFamily="34" charset="0"/>
              </a:rPr>
              <a:t>) and IDH2 (</a:t>
            </a:r>
            <a:r>
              <a:rPr lang="en-US" sz="2000" dirty="0" err="1">
                <a:solidFill>
                  <a:srgbClr val="003767"/>
                </a:solidFill>
                <a:latin typeface="Calibri Light" panose="020F0302020204030204" pitchFamily="34" charset="0"/>
                <a:cs typeface="Calibri Light" panose="020F0302020204030204" pitchFamily="34" charset="0"/>
              </a:rPr>
              <a:t>Enasidenib</a:t>
            </a:r>
            <a:r>
              <a:rPr lang="en-US" sz="2000" dirty="0">
                <a:solidFill>
                  <a:srgbClr val="003767"/>
                </a:solidFill>
                <a:latin typeface="Calibri Light" panose="020F0302020204030204" pitchFamily="34" charset="0"/>
                <a:cs typeface="Calibri Light" panose="020F0302020204030204" pitchFamily="34" charset="0"/>
              </a:rPr>
              <a:t>)</a:t>
            </a:r>
          </a:p>
          <a:p>
            <a:r>
              <a:rPr lang="en-US" sz="2000" dirty="0">
                <a:solidFill>
                  <a:srgbClr val="003767"/>
                </a:solidFill>
                <a:latin typeface="Calibri Light" panose="020F0302020204030204" pitchFamily="34" charset="0"/>
                <a:cs typeface="Calibri Light" panose="020F0302020204030204" pitchFamily="34" charset="0"/>
              </a:rPr>
              <a:t>FDA approval: </a:t>
            </a:r>
          </a:p>
          <a:p>
            <a:pPr lvl="1"/>
            <a:r>
              <a:rPr lang="en-US" sz="1600" dirty="0">
                <a:solidFill>
                  <a:srgbClr val="003767"/>
                </a:solidFill>
                <a:latin typeface="Calibri Light" panose="020F0302020204030204" pitchFamily="34" charset="0"/>
                <a:cs typeface="Calibri Light" panose="020F0302020204030204" pitchFamily="34" charset="0"/>
              </a:rPr>
              <a:t>Relapsed/refractory AML with IDH1 or IDH2 mutations</a:t>
            </a:r>
          </a:p>
          <a:p>
            <a:pPr lvl="1"/>
            <a:r>
              <a:rPr lang="en-US" sz="1600" dirty="0">
                <a:solidFill>
                  <a:srgbClr val="003767"/>
                </a:solidFill>
                <a:latin typeface="Calibri Light" panose="020F0302020204030204" pitchFamily="34" charset="0"/>
                <a:cs typeface="Calibri Light" panose="020F0302020204030204" pitchFamily="34" charset="0"/>
              </a:rPr>
              <a:t>Newly diagnosed AML in patients age ≥75 or comorbidities precluding induction chemo (with azacitidine)</a:t>
            </a:r>
            <a:endParaRPr lang="en-US" sz="2000" dirty="0">
              <a:solidFill>
                <a:srgbClr val="003767"/>
              </a:solidFill>
              <a:latin typeface="Calibri Light" panose="020F0302020204030204" pitchFamily="34" charset="0"/>
              <a:cs typeface="Calibri Light" panose="020F0302020204030204" pitchFamily="34" charset="0"/>
            </a:endParaRPr>
          </a:p>
          <a:p>
            <a:r>
              <a:rPr lang="en-US" sz="2000" dirty="0">
                <a:solidFill>
                  <a:srgbClr val="003767"/>
                </a:solidFill>
                <a:latin typeface="Calibri Light" panose="020F0302020204030204" pitchFamily="34" charset="0"/>
                <a:cs typeface="Calibri Light" panose="020F0302020204030204" pitchFamily="34" charset="0"/>
              </a:rPr>
              <a:t>Dosing:</a:t>
            </a:r>
          </a:p>
          <a:p>
            <a:pPr lvl="1"/>
            <a:r>
              <a:rPr lang="en-US" sz="1600" dirty="0" err="1">
                <a:solidFill>
                  <a:srgbClr val="003767"/>
                </a:solidFill>
                <a:latin typeface="Calibri Light" panose="020F0302020204030204" pitchFamily="34" charset="0"/>
                <a:cs typeface="Calibri Light" panose="020F0302020204030204" pitchFamily="34" charset="0"/>
              </a:rPr>
              <a:t>Ivosidenib</a:t>
            </a:r>
            <a:r>
              <a:rPr lang="en-US" sz="1600" dirty="0">
                <a:solidFill>
                  <a:srgbClr val="003767"/>
                </a:solidFill>
                <a:latin typeface="Calibri Light" panose="020F0302020204030204" pitchFamily="34" charset="0"/>
                <a:cs typeface="Calibri Light" panose="020F0302020204030204" pitchFamily="34" charset="0"/>
              </a:rPr>
              <a:t> 500mg PO daily</a:t>
            </a:r>
          </a:p>
          <a:p>
            <a:pPr lvl="1"/>
            <a:r>
              <a:rPr lang="en-US" sz="1600" dirty="0" err="1">
                <a:solidFill>
                  <a:srgbClr val="003767"/>
                </a:solidFill>
                <a:latin typeface="Calibri Light" panose="020F0302020204030204" pitchFamily="34" charset="0"/>
                <a:cs typeface="Calibri Light" panose="020F0302020204030204" pitchFamily="34" charset="0"/>
              </a:rPr>
              <a:t>Enasidenib</a:t>
            </a:r>
            <a:r>
              <a:rPr lang="en-US" sz="1600" dirty="0">
                <a:solidFill>
                  <a:srgbClr val="003767"/>
                </a:solidFill>
                <a:latin typeface="Calibri Light" panose="020F0302020204030204" pitchFamily="34" charset="0"/>
                <a:cs typeface="Calibri Light" panose="020F0302020204030204" pitchFamily="34" charset="0"/>
              </a:rPr>
              <a:t> 100mg PO daily</a:t>
            </a:r>
          </a:p>
          <a:p>
            <a:pPr lvl="1"/>
            <a:r>
              <a:rPr lang="en-US" sz="1600" dirty="0" err="1">
                <a:solidFill>
                  <a:srgbClr val="003767"/>
                </a:solidFill>
                <a:latin typeface="Calibri Light" panose="020F0302020204030204" pitchFamily="34" charset="0"/>
                <a:cs typeface="Calibri Light" panose="020F0302020204030204" pitchFamily="34" charset="0"/>
              </a:rPr>
              <a:t>Olutasidenib</a:t>
            </a:r>
            <a:r>
              <a:rPr lang="en-US" sz="1600" dirty="0">
                <a:solidFill>
                  <a:srgbClr val="003767"/>
                </a:solidFill>
                <a:latin typeface="Calibri Light" panose="020F0302020204030204" pitchFamily="34" charset="0"/>
                <a:cs typeface="Calibri Light" panose="020F0302020204030204" pitchFamily="34" charset="0"/>
              </a:rPr>
              <a:t> 150mg twice daily</a:t>
            </a:r>
          </a:p>
          <a:p>
            <a:endParaRPr lang="en-US" sz="2000" dirty="0">
              <a:solidFill>
                <a:srgbClr val="003767"/>
              </a:solidFill>
              <a:latin typeface="Calibri Light" panose="020F0302020204030204" pitchFamily="34" charset="0"/>
              <a:cs typeface="Calibri Light" panose="020F0302020204030204" pitchFamily="34" charset="0"/>
            </a:endParaRPr>
          </a:p>
          <a:p>
            <a:endParaRPr lang="en-US" sz="2000" dirty="0">
              <a:solidFill>
                <a:srgbClr val="003767"/>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50760959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solidFill>
                  <a:srgbClr val="003767"/>
                </a:solidFill>
              </a:rPr>
              <a:t>IDH inhibitors in relapsed/refractory AML</a:t>
            </a:r>
          </a:p>
        </p:txBody>
      </p:sp>
      <p:sp>
        <p:nvSpPr>
          <p:cNvPr id="5" name="TextBox 4"/>
          <p:cNvSpPr txBox="1"/>
          <p:nvPr/>
        </p:nvSpPr>
        <p:spPr>
          <a:xfrm>
            <a:off x="6824946" y="3815943"/>
            <a:ext cx="2319054" cy="507831"/>
          </a:xfrm>
          <a:prstGeom prst="rect">
            <a:avLst/>
          </a:prstGeom>
          <a:noFill/>
        </p:spPr>
        <p:txBody>
          <a:bodyPr wrap="square" rtlCol="0">
            <a:spAutoFit/>
          </a:bodyPr>
          <a:lstStyle/>
          <a:p>
            <a:r>
              <a:rPr lang="en-US" sz="900" dirty="0">
                <a:solidFill>
                  <a:srgbClr val="003767"/>
                </a:solidFill>
              </a:rPr>
              <a:t>Stein E, </a:t>
            </a:r>
            <a:r>
              <a:rPr lang="en-US" sz="900" i="1" dirty="0">
                <a:solidFill>
                  <a:srgbClr val="003767"/>
                </a:solidFill>
              </a:rPr>
              <a:t>et al.</a:t>
            </a:r>
            <a:r>
              <a:rPr lang="en-US" sz="900" dirty="0">
                <a:solidFill>
                  <a:srgbClr val="003767"/>
                </a:solidFill>
              </a:rPr>
              <a:t>, Blood 2017</a:t>
            </a:r>
          </a:p>
          <a:p>
            <a:r>
              <a:rPr lang="en-US" sz="900" dirty="0">
                <a:solidFill>
                  <a:srgbClr val="003767"/>
                </a:solidFill>
              </a:rPr>
              <a:t>DiNardo C, </a:t>
            </a:r>
            <a:r>
              <a:rPr lang="en-US" sz="900" i="1" dirty="0">
                <a:solidFill>
                  <a:srgbClr val="003767"/>
                </a:solidFill>
              </a:rPr>
              <a:t>et al. </a:t>
            </a:r>
            <a:r>
              <a:rPr lang="en-US" sz="900" dirty="0">
                <a:solidFill>
                  <a:srgbClr val="003767"/>
                </a:solidFill>
              </a:rPr>
              <a:t>N Engl J Med 2018</a:t>
            </a:r>
          </a:p>
          <a:p>
            <a:r>
              <a:rPr lang="en-US" sz="900" dirty="0">
                <a:solidFill>
                  <a:srgbClr val="003767"/>
                </a:solidFill>
              </a:rPr>
              <a:t>Watts J, </a:t>
            </a:r>
            <a:r>
              <a:rPr lang="en-US" sz="900" i="1" dirty="0">
                <a:solidFill>
                  <a:srgbClr val="003767"/>
                </a:solidFill>
              </a:rPr>
              <a:t>et al.</a:t>
            </a:r>
            <a:r>
              <a:rPr lang="en-US" sz="900" dirty="0">
                <a:solidFill>
                  <a:srgbClr val="003767"/>
                </a:solidFill>
              </a:rPr>
              <a:t> Lancet </a:t>
            </a:r>
            <a:r>
              <a:rPr lang="en-US" sz="900" dirty="0" err="1">
                <a:solidFill>
                  <a:srgbClr val="003767"/>
                </a:solidFill>
              </a:rPr>
              <a:t>Haematol</a:t>
            </a:r>
            <a:r>
              <a:rPr lang="en-US" sz="900" dirty="0">
                <a:solidFill>
                  <a:srgbClr val="003767"/>
                </a:solidFill>
              </a:rPr>
              <a:t> 2023</a:t>
            </a:r>
          </a:p>
        </p:txBody>
      </p:sp>
      <p:graphicFrame>
        <p:nvGraphicFramePr>
          <p:cNvPr id="4" name="Table 6">
            <a:extLst>
              <a:ext uri="{FF2B5EF4-FFF2-40B4-BE49-F238E27FC236}">
                <a16:creationId xmlns:a16="http://schemas.microsoft.com/office/drawing/2014/main" id="{148AEC89-24DC-40A6-9255-0B2A5ACDE02B}"/>
              </a:ext>
            </a:extLst>
          </p:cNvPr>
          <p:cNvGraphicFramePr>
            <a:graphicFrameLocks noGrp="1"/>
          </p:cNvGraphicFramePr>
          <p:nvPr/>
        </p:nvGraphicFramePr>
        <p:xfrm>
          <a:off x="457200" y="751368"/>
          <a:ext cx="8229600" cy="3012440"/>
        </p:xfrm>
        <a:graphic>
          <a:graphicData uri="http://schemas.openxmlformats.org/drawingml/2006/table">
            <a:tbl>
              <a:tblPr firstRow="1" bandRow="1">
                <a:tableStyleId>{5C22544A-7EE6-4342-B048-85BDC9FD1C3A}</a:tableStyleId>
              </a:tblPr>
              <a:tblGrid>
                <a:gridCol w="2057400">
                  <a:extLst>
                    <a:ext uri="{9D8B030D-6E8A-4147-A177-3AD203B41FA5}">
                      <a16:colId xmlns:a16="http://schemas.microsoft.com/office/drawing/2014/main" val="3153788775"/>
                    </a:ext>
                  </a:extLst>
                </a:gridCol>
                <a:gridCol w="2057400">
                  <a:extLst>
                    <a:ext uri="{9D8B030D-6E8A-4147-A177-3AD203B41FA5}">
                      <a16:colId xmlns:a16="http://schemas.microsoft.com/office/drawing/2014/main" val="2929197327"/>
                    </a:ext>
                  </a:extLst>
                </a:gridCol>
                <a:gridCol w="2057400">
                  <a:extLst>
                    <a:ext uri="{9D8B030D-6E8A-4147-A177-3AD203B41FA5}">
                      <a16:colId xmlns:a16="http://schemas.microsoft.com/office/drawing/2014/main" val="3575917351"/>
                    </a:ext>
                  </a:extLst>
                </a:gridCol>
                <a:gridCol w="2057400">
                  <a:extLst>
                    <a:ext uri="{9D8B030D-6E8A-4147-A177-3AD203B41FA5}">
                      <a16:colId xmlns:a16="http://schemas.microsoft.com/office/drawing/2014/main" val="1866154925"/>
                    </a:ext>
                  </a:extLst>
                </a:gridCol>
              </a:tblGrid>
              <a:tr h="370840">
                <a:tc>
                  <a:txBody>
                    <a:bodyPr/>
                    <a:lstStyle/>
                    <a:p>
                      <a:endParaRPr lang="en-US" sz="1600" dirty="0">
                        <a:solidFill>
                          <a:srgbClr val="003767"/>
                        </a:solidFill>
                      </a:endParaRPr>
                    </a:p>
                  </a:txBody>
                  <a:tcPr/>
                </a:tc>
                <a:tc>
                  <a:txBody>
                    <a:bodyPr/>
                    <a:lstStyle/>
                    <a:p>
                      <a:pPr algn="ctr"/>
                      <a:r>
                        <a:rPr lang="en-US" sz="1600" b="0" dirty="0" err="1">
                          <a:solidFill>
                            <a:srgbClr val="003767"/>
                          </a:solidFill>
                        </a:rPr>
                        <a:t>Enasidenib</a:t>
                      </a:r>
                      <a:r>
                        <a:rPr lang="en-US" sz="1600" b="0" dirty="0">
                          <a:solidFill>
                            <a:srgbClr val="003767"/>
                          </a:solidFill>
                        </a:rPr>
                        <a:t> (IDH2)</a:t>
                      </a:r>
                    </a:p>
                  </a:txBody>
                  <a:tcPr/>
                </a:tc>
                <a:tc>
                  <a:txBody>
                    <a:bodyPr/>
                    <a:lstStyle/>
                    <a:p>
                      <a:pPr algn="ctr"/>
                      <a:r>
                        <a:rPr lang="en-US" sz="1600" b="0" dirty="0" err="1">
                          <a:solidFill>
                            <a:srgbClr val="003767"/>
                          </a:solidFill>
                        </a:rPr>
                        <a:t>Ivosidenib</a:t>
                      </a:r>
                      <a:r>
                        <a:rPr lang="en-US" sz="1600" b="0" dirty="0">
                          <a:solidFill>
                            <a:srgbClr val="003767"/>
                          </a:solidFill>
                        </a:rPr>
                        <a:t> (IDH1)</a:t>
                      </a:r>
                    </a:p>
                  </a:txBody>
                  <a:tcPr/>
                </a:tc>
                <a:tc>
                  <a:txBody>
                    <a:bodyPr/>
                    <a:lstStyle/>
                    <a:p>
                      <a:pPr algn="ctr"/>
                      <a:r>
                        <a:rPr lang="en-US" sz="1600" b="0" dirty="0" err="1">
                          <a:solidFill>
                            <a:srgbClr val="003767"/>
                          </a:solidFill>
                          <a:latin typeface="+mn-lt"/>
                          <a:cs typeface="Calibri Light" panose="020F0302020204030204" pitchFamily="34" charset="0"/>
                        </a:rPr>
                        <a:t>Olutasidenib</a:t>
                      </a:r>
                      <a:r>
                        <a:rPr lang="en-US" sz="1600" b="0" dirty="0">
                          <a:solidFill>
                            <a:srgbClr val="003767"/>
                          </a:solidFill>
                          <a:latin typeface="+mn-lt"/>
                          <a:cs typeface="Calibri Light" panose="020F0302020204030204" pitchFamily="34" charset="0"/>
                        </a:rPr>
                        <a:t> (IDH1)</a:t>
                      </a:r>
                      <a:endParaRPr lang="en-US" sz="1600" b="0" dirty="0">
                        <a:solidFill>
                          <a:srgbClr val="003767"/>
                        </a:solidFill>
                        <a:latin typeface="+mn-lt"/>
                      </a:endParaRPr>
                    </a:p>
                  </a:txBody>
                  <a:tcPr/>
                </a:tc>
                <a:extLst>
                  <a:ext uri="{0D108BD9-81ED-4DB2-BD59-A6C34878D82A}">
                    <a16:rowId xmlns:a16="http://schemas.microsoft.com/office/drawing/2014/main" val="2176246883"/>
                  </a:ext>
                </a:extLst>
              </a:tr>
              <a:tr h="370840">
                <a:tc>
                  <a:txBody>
                    <a:bodyPr/>
                    <a:lstStyle/>
                    <a:p>
                      <a:r>
                        <a:rPr lang="en-US" sz="1600" b="1" dirty="0">
                          <a:solidFill>
                            <a:srgbClr val="003767"/>
                          </a:solidFill>
                        </a:rPr>
                        <a:t>CR/</a:t>
                      </a:r>
                      <a:r>
                        <a:rPr lang="en-US" sz="1600" b="1" dirty="0" err="1">
                          <a:solidFill>
                            <a:srgbClr val="003767"/>
                          </a:solidFill>
                        </a:rPr>
                        <a:t>CRi</a:t>
                      </a:r>
                      <a:r>
                        <a:rPr lang="en-US" sz="1600" b="1" dirty="0">
                          <a:solidFill>
                            <a:srgbClr val="003767"/>
                          </a:solidFill>
                        </a:rPr>
                        <a:t> </a:t>
                      </a:r>
                    </a:p>
                  </a:txBody>
                  <a:tcPr/>
                </a:tc>
                <a:tc>
                  <a:txBody>
                    <a:bodyPr/>
                    <a:lstStyle/>
                    <a:p>
                      <a:pPr algn="ctr"/>
                      <a:r>
                        <a:rPr lang="en-US" sz="1600" b="1" dirty="0">
                          <a:solidFill>
                            <a:srgbClr val="003767"/>
                          </a:solidFill>
                        </a:rPr>
                        <a:t>19%</a:t>
                      </a:r>
                    </a:p>
                  </a:txBody>
                  <a:tcPr/>
                </a:tc>
                <a:tc>
                  <a:txBody>
                    <a:bodyPr/>
                    <a:lstStyle/>
                    <a:p>
                      <a:pPr algn="ctr"/>
                      <a:r>
                        <a:rPr lang="en-US" sz="1600" b="1" dirty="0">
                          <a:solidFill>
                            <a:srgbClr val="003767"/>
                          </a:solidFill>
                        </a:rPr>
                        <a:t>30%</a:t>
                      </a:r>
                    </a:p>
                  </a:txBody>
                  <a:tcPr/>
                </a:tc>
                <a:tc>
                  <a:txBody>
                    <a:bodyPr/>
                    <a:lstStyle/>
                    <a:p>
                      <a:pPr algn="ctr"/>
                      <a:r>
                        <a:rPr lang="en-US" sz="1600" b="1" dirty="0">
                          <a:solidFill>
                            <a:srgbClr val="003767"/>
                          </a:solidFill>
                        </a:rPr>
                        <a:t>35%</a:t>
                      </a:r>
                    </a:p>
                  </a:txBody>
                  <a:tcPr/>
                </a:tc>
                <a:extLst>
                  <a:ext uri="{0D108BD9-81ED-4DB2-BD59-A6C34878D82A}">
                    <a16:rowId xmlns:a16="http://schemas.microsoft.com/office/drawing/2014/main" val="3936159528"/>
                  </a:ext>
                </a:extLst>
              </a:tr>
              <a:tr h="370840">
                <a:tc>
                  <a:txBody>
                    <a:bodyPr/>
                    <a:lstStyle/>
                    <a:p>
                      <a:r>
                        <a:rPr lang="en-US" sz="1600" dirty="0">
                          <a:solidFill>
                            <a:srgbClr val="003767"/>
                          </a:solidFill>
                        </a:rPr>
                        <a:t>ORR</a:t>
                      </a:r>
                    </a:p>
                  </a:txBody>
                  <a:tcPr/>
                </a:tc>
                <a:tc>
                  <a:txBody>
                    <a:bodyPr/>
                    <a:lstStyle/>
                    <a:p>
                      <a:pPr algn="ctr"/>
                      <a:r>
                        <a:rPr lang="en-US" sz="1600" dirty="0">
                          <a:solidFill>
                            <a:srgbClr val="003767"/>
                          </a:solidFill>
                        </a:rPr>
                        <a:t>40%</a:t>
                      </a:r>
                    </a:p>
                  </a:txBody>
                  <a:tcPr/>
                </a:tc>
                <a:tc>
                  <a:txBody>
                    <a:bodyPr/>
                    <a:lstStyle/>
                    <a:p>
                      <a:pPr algn="ctr"/>
                      <a:r>
                        <a:rPr lang="en-US" sz="1600" dirty="0">
                          <a:solidFill>
                            <a:srgbClr val="003767"/>
                          </a:solidFill>
                        </a:rPr>
                        <a:t>42%</a:t>
                      </a:r>
                    </a:p>
                  </a:txBody>
                  <a:tcPr/>
                </a:tc>
                <a:tc>
                  <a:txBody>
                    <a:bodyPr/>
                    <a:lstStyle/>
                    <a:p>
                      <a:pPr algn="ctr"/>
                      <a:endParaRPr lang="en-US" sz="1600" dirty="0">
                        <a:solidFill>
                          <a:srgbClr val="003767"/>
                        </a:solidFill>
                      </a:endParaRPr>
                    </a:p>
                  </a:txBody>
                  <a:tcPr/>
                </a:tc>
                <a:extLst>
                  <a:ext uri="{0D108BD9-81ED-4DB2-BD59-A6C34878D82A}">
                    <a16:rowId xmlns:a16="http://schemas.microsoft.com/office/drawing/2014/main" val="1651642378"/>
                  </a:ext>
                </a:extLst>
              </a:tr>
              <a:tr h="370840">
                <a:tc>
                  <a:txBody>
                    <a:bodyPr/>
                    <a:lstStyle/>
                    <a:p>
                      <a:r>
                        <a:rPr lang="en-US" sz="1600" dirty="0">
                          <a:solidFill>
                            <a:srgbClr val="003767"/>
                          </a:solidFill>
                        </a:rPr>
                        <a:t>Time to response</a:t>
                      </a:r>
                    </a:p>
                  </a:txBody>
                  <a:tcPr/>
                </a:tc>
                <a:tc>
                  <a:txBody>
                    <a:bodyPr/>
                    <a:lstStyle/>
                    <a:p>
                      <a:pPr algn="ctr"/>
                      <a:r>
                        <a:rPr lang="en-US" sz="1600" dirty="0">
                          <a:solidFill>
                            <a:srgbClr val="003767"/>
                          </a:solidFill>
                        </a:rPr>
                        <a:t>3.7 months</a:t>
                      </a:r>
                    </a:p>
                  </a:txBody>
                  <a:tcPr/>
                </a:tc>
                <a:tc>
                  <a:txBody>
                    <a:bodyPr/>
                    <a:lstStyle/>
                    <a:p>
                      <a:pPr algn="ctr"/>
                      <a:r>
                        <a:rPr lang="en-US" sz="1600" dirty="0">
                          <a:solidFill>
                            <a:srgbClr val="003767"/>
                          </a:solidFill>
                        </a:rPr>
                        <a:t>2.7 months</a:t>
                      </a:r>
                    </a:p>
                  </a:txBody>
                  <a:tcPr/>
                </a:tc>
                <a:tc>
                  <a:txBody>
                    <a:bodyPr/>
                    <a:lstStyle/>
                    <a:p>
                      <a:pPr algn="ctr"/>
                      <a:r>
                        <a:rPr lang="en-US" sz="1600" dirty="0">
                          <a:solidFill>
                            <a:srgbClr val="003767"/>
                          </a:solidFill>
                        </a:rPr>
                        <a:t>1.9 months</a:t>
                      </a:r>
                    </a:p>
                  </a:txBody>
                  <a:tcPr/>
                </a:tc>
                <a:extLst>
                  <a:ext uri="{0D108BD9-81ED-4DB2-BD59-A6C34878D82A}">
                    <a16:rowId xmlns:a16="http://schemas.microsoft.com/office/drawing/2014/main" val="1914811333"/>
                  </a:ext>
                </a:extLst>
              </a:tr>
              <a:tr h="370840">
                <a:tc>
                  <a:txBody>
                    <a:bodyPr/>
                    <a:lstStyle/>
                    <a:p>
                      <a:r>
                        <a:rPr lang="en-US" sz="1600" dirty="0">
                          <a:solidFill>
                            <a:srgbClr val="003767"/>
                          </a:solidFill>
                        </a:rPr>
                        <a:t>Duration of response</a:t>
                      </a:r>
                    </a:p>
                  </a:txBody>
                  <a:tcPr/>
                </a:tc>
                <a:tc>
                  <a:txBody>
                    <a:bodyPr/>
                    <a:lstStyle/>
                    <a:p>
                      <a:pPr algn="ctr"/>
                      <a:r>
                        <a:rPr lang="en-US" sz="1600" dirty="0">
                          <a:solidFill>
                            <a:srgbClr val="003767"/>
                          </a:solidFill>
                        </a:rPr>
                        <a:t>6 months</a:t>
                      </a:r>
                    </a:p>
                  </a:txBody>
                  <a:tcPr/>
                </a:tc>
                <a:tc>
                  <a:txBody>
                    <a:bodyPr/>
                    <a:lstStyle/>
                    <a:p>
                      <a:pPr algn="ctr"/>
                      <a:r>
                        <a:rPr lang="en-US" sz="1600" dirty="0">
                          <a:solidFill>
                            <a:srgbClr val="003767"/>
                          </a:solidFill>
                        </a:rPr>
                        <a:t>8.2 months</a:t>
                      </a:r>
                    </a:p>
                  </a:txBody>
                  <a:tcPr/>
                </a:tc>
                <a:tc>
                  <a:txBody>
                    <a:bodyPr/>
                    <a:lstStyle/>
                    <a:p>
                      <a:pPr algn="ctr"/>
                      <a:r>
                        <a:rPr lang="en-US" sz="1600" dirty="0">
                          <a:solidFill>
                            <a:srgbClr val="003767"/>
                          </a:solidFill>
                        </a:rPr>
                        <a:t>25.9 months</a:t>
                      </a:r>
                    </a:p>
                  </a:txBody>
                  <a:tcPr/>
                </a:tc>
                <a:extLst>
                  <a:ext uri="{0D108BD9-81ED-4DB2-BD59-A6C34878D82A}">
                    <a16:rowId xmlns:a16="http://schemas.microsoft.com/office/drawing/2014/main" val="1522774906"/>
                  </a:ext>
                </a:extLst>
              </a:tr>
              <a:tr h="370840">
                <a:tc>
                  <a:txBody>
                    <a:bodyPr/>
                    <a:lstStyle/>
                    <a:p>
                      <a:r>
                        <a:rPr lang="en-US" sz="1600" dirty="0">
                          <a:solidFill>
                            <a:srgbClr val="003767"/>
                          </a:solidFill>
                        </a:rPr>
                        <a:t>Received transplant</a:t>
                      </a:r>
                    </a:p>
                  </a:txBody>
                  <a:tcPr/>
                </a:tc>
                <a:tc>
                  <a:txBody>
                    <a:bodyPr/>
                    <a:lstStyle/>
                    <a:p>
                      <a:pPr algn="ctr"/>
                      <a:r>
                        <a:rPr lang="en-US" sz="1600" dirty="0">
                          <a:solidFill>
                            <a:srgbClr val="003767"/>
                          </a:solidFill>
                        </a:rPr>
                        <a:t>11%</a:t>
                      </a:r>
                    </a:p>
                  </a:txBody>
                  <a:tcPr/>
                </a:tc>
                <a:tc>
                  <a:txBody>
                    <a:bodyPr/>
                    <a:lstStyle/>
                    <a:p>
                      <a:pPr algn="ctr"/>
                      <a:r>
                        <a:rPr lang="en-US" sz="1600" dirty="0">
                          <a:solidFill>
                            <a:srgbClr val="003767"/>
                          </a:solidFill>
                        </a:rPr>
                        <a:t>12%</a:t>
                      </a:r>
                    </a:p>
                  </a:txBody>
                  <a:tcPr/>
                </a:tc>
                <a:tc>
                  <a:txBody>
                    <a:bodyPr/>
                    <a:lstStyle/>
                    <a:p>
                      <a:pPr algn="ctr"/>
                      <a:r>
                        <a:rPr lang="en-US" sz="1600" dirty="0">
                          <a:solidFill>
                            <a:srgbClr val="003767"/>
                          </a:solidFill>
                        </a:rPr>
                        <a:t>11%</a:t>
                      </a:r>
                    </a:p>
                  </a:txBody>
                  <a:tcPr/>
                </a:tc>
                <a:extLst>
                  <a:ext uri="{0D108BD9-81ED-4DB2-BD59-A6C34878D82A}">
                    <a16:rowId xmlns:a16="http://schemas.microsoft.com/office/drawing/2014/main" val="1094851970"/>
                  </a:ext>
                </a:extLst>
              </a:tr>
              <a:tr h="370840">
                <a:tc>
                  <a:txBody>
                    <a:bodyPr/>
                    <a:lstStyle/>
                    <a:p>
                      <a:r>
                        <a:rPr lang="en-US" sz="1600" b="1" dirty="0">
                          <a:solidFill>
                            <a:srgbClr val="003767"/>
                          </a:solidFill>
                        </a:rPr>
                        <a:t>Overall survival</a:t>
                      </a:r>
                    </a:p>
                  </a:txBody>
                  <a:tcPr/>
                </a:tc>
                <a:tc>
                  <a:txBody>
                    <a:bodyPr/>
                    <a:lstStyle/>
                    <a:p>
                      <a:pPr algn="ctr"/>
                      <a:r>
                        <a:rPr lang="en-US" sz="1600" b="1" dirty="0">
                          <a:solidFill>
                            <a:srgbClr val="003767"/>
                          </a:solidFill>
                        </a:rPr>
                        <a:t>9.3 months</a:t>
                      </a:r>
                    </a:p>
                    <a:p>
                      <a:pPr algn="ctr"/>
                      <a:r>
                        <a:rPr lang="en-US" sz="1600" b="1" dirty="0">
                          <a:solidFill>
                            <a:srgbClr val="003767"/>
                          </a:solidFill>
                        </a:rPr>
                        <a:t>(20 months for CR)</a:t>
                      </a:r>
                    </a:p>
                  </a:txBody>
                  <a:tcPr/>
                </a:tc>
                <a:tc>
                  <a:txBody>
                    <a:bodyPr/>
                    <a:lstStyle/>
                    <a:p>
                      <a:pPr algn="ctr"/>
                      <a:r>
                        <a:rPr lang="en-US" sz="1600" b="1" dirty="0">
                          <a:solidFill>
                            <a:srgbClr val="003767"/>
                          </a:solidFill>
                        </a:rPr>
                        <a:t>8.8 months</a:t>
                      </a:r>
                    </a:p>
                  </a:txBody>
                  <a:tcPr/>
                </a:tc>
                <a:tc>
                  <a:txBody>
                    <a:bodyPr/>
                    <a:lstStyle/>
                    <a:p>
                      <a:pPr algn="ctr"/>
                      <a:endParaRPr lang="en-US" sz="1600" b="1" dirty="0">
                        <a:solidFill>
                          <a:srgbClr val="003767"/>
                        </a:solidFill>
                      </a:endParaRPr>
                    </a:p>
                  </a:txBody>
                  <a:tcPr/>
                </a:tc>
                <a:extLst>
                  <a:ext uri="{0D108BD9-81ED-4DB2-BD59-A6C34878D82A}">
                    <a16:rowId xmlns:a16="http://schemas.microsoft.com/office/drawing/2014/main" val="772390508"/>
                  </a:ext>
                </a:extLst>
              </a:tr>
            </a:tbl>
          </a:graphicData>
        </a:graphic>
      </p:graphicFrame>
    </p:spTree>
    <p:extLst>
      <p:ext uri="{BB962C8B-B14F-4D97-AF65-F5344CB8AC3E}">
        <p14:creationId xmlns:p14="http://schemas.microsoft.com/office/powerpoint/2010/main" val="226512978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solidFill>
                  <a:srgbClr val="003767"/>
                </a:solidFill>
              </a:rPr>
              <a:t>IDH inhibitor-specific toxicities</a:t>
            </a:r>
          </a:p>
        </p:txBody>
      </p:sp>
      <p:sp>
        <p:nvSpPr>
          <p:cNvPr id="3" name="Content Placeholder 2"/>
          <p:cNvSpPr>
            <a:spLocks noGrp="1"/>
          </p:cNvSpPr>
          <p:nvPr>
            <p:ph idx="1"/>
          </p:nvPr>
        </p:nvSpPr>
        <p:spPr>
          <a:xfrm>
            <a:off x="457200" y="965043"/>
            <a:ext cx="8229600" cy="3397615"/>
          </a:xfrm>
        </p:spPr>
        <p:txBody>
          <a:bodyPr>
            <a:normAutofit/>
          </a:bodyPr>
          <a:lstStyle/>
          <a:p>
            <a:r>
              <a:rPr lang="en-US" sz="1800" dirty="0">
                <a:solidFill>
                  <a:srgbClr val="003767"/>
                </a:solidFill>
                <a:latin typeface="Calibri Light" panose="020F0302020204030204" pitchFamily="34" charset="0"/>
              </a:rPr>
              <a:t>IDH differentiation syndrome: 10-12% </a:t>
            </a:r>
          </a:p>
          <a:p>
            <a:pPr lvl="1"/>
            <a:r>
              <a:rPr lang="en-US" sz="1500" dirty="0">
                <a:solidFill>
                  <a:srgbClr val="003767"/>
                </a:solidFill>
                <a:latin typeface="Calibri Light" panose="020F0302020204030204" pitchFamily="34" charset="0"/>
              </a:rPr>
              <a:t>Median time to onset 29-48 days</a:t>
            </a:r>
          </a:p>
          <a:p>
            <a:pPr lvl="1"/>
            <a:r>
              <a:rPr lang="en-US" sz="1500" dirty="0">
                <a:solidFill>
                  <a:srgbClr val="003767"/>
                </a:solidFill>
                <a:latin typeface="Calibri Light" panose="020F0302020204030204" pitchFamily="34" charset="0"/>
              </a:rPr>
              <a:t>Managed with systemic steroids, diuretics, hydroxyurea</a:t>
            </a:r>
          </a:p>
          <a:p>
            <a:pPr lvl="1"/>
            <a:r>
              <a:rPr lang="en-US" sz="1500" dirty="0">
                <a:solidFill>
                  <a:srgbClr val="003767"/>
                </a:solidFill>
                <a:latin typeface="Calibri Light" panose="020F0302020204030204" pitchFamily="34" charset="0"/>
              </a:rPr>
              <a:t>Drug discontinuation not required</a:t>
            </a:r>
          </a:p>
          <a:p>
            <a:endParaRPr lang="en-US" sz="1800" dirty="0">
              <a:solidFill>
                <a:srgbClr val="003767"/>
              </a:solidFill>
              <a:latin typeface="Calibri Light" panose="020F0302020204030204" pitchFamily="34" charset="0"/>
            </a:endParaRPr>
          </a:p>
          <a:p>
            <a:r>
              <a:rPr lang="en-US" sz="1800" dirty="0">
                <a:solidFill>
                  <a:srgbClr val="003767"/>
                </a:solidFill>
                <a:latin typeface="Calibri Light" panose="020F0302020204030204" pitchFamily="34" charset="0"/>
              </a:rPr>
              <a:t>Leukocytosis (myeloid proliferation): overall 17-36%</a:t>
            </a:r>
          </a:p>
          <a:p>
            <a:endParaRPr lang="en-US" sz="1800" dirty="0">
              <a:solidFill>
                <a:srgbClr val="003767"/>
              </a:solidFill>
              <a:latin typeface="Calibri Light" panose="020F0302020204030204" pitchFamily="34" charset="0"/>
            </a:endParaRPr>
          </a:p>
          <a:p>
            <a:r>
              <a:rPr lang="en-US" sz="1800" dirty="0">
                <a:solidFill>
                  <a:srgbClr val="003767"/>
                </a:solidFill>
                <a:latin typeface="Calibri Light" panose="020F0302020204030204" pitchFamily="34" charset="0"/>
              </a:rPr>
              <a:t>Drug-drug interactions, QT-prolongation (</a:t>
            </a:r>
            <a:r>
              <a:rPr lang="en-US" sz="1800" dirty="0" err="1">
                <a:solidFill>
                  <a:srgbClr val="003767"/>
                </a:solidFill>
                <a:latin typeface="Calibri Light" panose="020F0302020204030204" pitchFamily="34" charset="0"/>
              </a:rPr>
              <a:t>ivosidenib</a:t>
            </a:r>
            <a:r>
              <a:rPr lang="en-US" sz="1800" dirty="0">
                <a:solidFill>
                  <a:srgbClr val="003767"/>
                </a:solidFill>
                <a:latin typeface="Calibri Light" panose="020F0302020204030204" pitchFamily="34" charset="0"/>
              </a:rPr>
              <a:t>), indirect hyperbilirubinemia (</a:t>
            </a:r>
            <a:r>
              <a:rPr lang="en-US" sz="1800" dirty="0" err="1">
                <a:solidFill>
                  <a:srgbClr val="003767"/>
                </a:solidFill>
                <a:latin typeface="Calibri Light" panose="020F0302020204030204" pitchFamily="34" charset="0"/>
              </a:rPr>
              <a:t>enasidenib</a:t>
            </a:r>
            <a:r>
              <a:rPr lang="en-US" sz="1800" dirty="0">
                <a:solidFill>
                  <a:srgbClr val="003767"/>
                </a:solidFill>
                <a:latin typeface="Calibri Light" panose="020F0302020204030204" pitchFamily="34" charset="0"/>
              </a:rPr>
              <a:t>)</a:t>
            </a:r>
          </a:p>
          <a:p>
            <a:endParaRPr lang="en-US" sz="1800" dirty="0">
              <a:solidFill>
                <a:srgbClr val="003767"/>
              </a:solidFill>
              <a:latin typeface="Calibri Light" panose="020F0302020204030204" pitchFamily="34" charset="0"/>
            </a:endParaRPr>
          </a:p>
          <a:p>
            <a:endParaRPr lang="en-US" sz="1800" dirty="0">
              <a:solidFill>
                <a:srgbClr val="003767"/>
              </a:solidFill>
              <a:latin typeface="Calibri Light" panose="020F0302020204030204" pitchFamily="34" charset="0"/>
            </a:endParaRPr>
          </a:p>
          <a:p>
            <a:endParaRPr lang="en-US" sz="1800" dirty="0">
              <a:solidFill>
                <a:srgbClr val="003767"/>
              </a:solidFill>
              <a:latin typeface="Calibri Light" panose="020F0302020204030204" pitchFamily="34" charset="0"/>
            </a:endParaRPr>
          </a:p>
          <a:p>
            <a:endParaRPr lang="en-US" sz="1800" dirty="0">
              <a:solidFill>
                <a:srgbClr val="003767"/>
              </a:solidFill>
              <a:latin typeface="Calibri Light" panose="020F0302020204030204" pitchFamily="34" charset="0"/>
            </a:endParaRPr>
          </a:p>
        </p:txBody>
      </p:sp>
      <p:sp>
        <p:nvSpPr>
          <p:cNvPr id="6" name="TextBox 5">
            <a:extLst>
              <a:ext uri="{FF2B5EF4-FFF2-40B4-BE49-F238E27FC236}">
                <a16:creationId xmlns:a16="http://schemas.microsoft.com/office/drawing/2014/main" id="{BBCB895E-27DE-4D50-9CE6-CC2A01684B93}"/>
              </a:ext>
            </a:extLst>
          </p:cNvPr>
          <p:cNvSpPr txBox="1"/>
          <p:nvPr/>
        </p:nvSpPr>
        <p:spPr>
          <a:xfrm>
            <a:off x="6794466" y="3919917"/>
            <a:ext cx="2280954" cy="369332"/>
          </a:xfrm>
          <a:prstGeom prst="rect">
            <a:avLst/>
          </a:prstGeom>
          <a:noFill/>
        </p:spPr>
        <p:txBody>
          <a:bodyPr wrap="square" rtlCol="0">
            <a:spAutoFit/>
          </a:bodyPr>
          <a:lstStyle/>
          <a:p>
            <a:r>
              <a:rPr lang="en-US" sz="900" dirty="0">
                <a:solidFill>
                  <a:srgbClr val="003767"/>
                </a:solidFill>
              </a:rPr>
              <a:t>Stein E, et al. Blood 2017</a:t>
            </a:r>
          </a:p>
          <a:p>
            <a:r>
              <a:rPr lang="en-US" sz="900" dirty="0">
                <a:solidFill>
                  <a:srgbClr val="003767"/>
                </a:solidFill>
              </a:rPr>
              <a:t>DiNardo CD, et al. N </a:t>
            </a:r>
            <a:r>
              <a:rPr lang="en-US" sz="900" dirty="0" err="1">
                <a:solidFill>
                  <a:srgbClr val="003767"/>
                </a:solidFill>
              </a:rPr>
              <a:t>Engl</a:t>
            </a:r>
            <a:r>
              <a:rPr lang="en-US" sz="900" dirty="0">
                <a:solidFill>
                  <a:srgbClr val="003767"/>
                </a:solidFill>
              </a:rPr>
              <a:t> J Med 2018</a:t>
            </a:r>
          </a:p>
        </p:txBody>
      </p:sp>
    </p:spTree>
    <p:extLst>
      <p:ext uri="{BB962C8B-B14F-4D97-AF65-F5344CB8AC3E}">
        <p14:creationId xmlns:p14="http://schemas.microsoft.com/office/powerpoint/2010/main" val="45748835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1EE331-0B9C-4B67-8CB9-E106F147F236}"/>
              </a:ext>
            </a:extLst>
          </p:cNvPr>
          <p:cNvSpPr>
            <a:spLocks noGrp="1"/>
          </p:cNvSpPr>
          <p:nvPr>
            <p:ph type="title"/>
          </p:nvPr>
        </p:nvSpPr>
        <p:spPr/>
        <p:txBody>
          <a:bodyPr/>
          <a:lstStyle/>
          <a:p>
            <a:r>
              <a:rPr lang="en-US" sz="2400" dirty="0">
                <a:solidFill>
                  <a:srgbClr val="003767"/>
                </a:solidFill>
              </a:rPr>
              <a:t>Stay tuned…</a:t>
            </a:r>
          </a:p>
        </p:txBody>
      </p:sp>
      <p:sp>
        <p:nvSpPr>
          <p:cNvPr id="3" name="Content Placeholder 2">
            <a:extLst>
              <a:ext uri="{FF2B5EF4-FFF2-40B4-BE49-F238E27FC236}">
                <a16:creationId xmlns:a16="http://schemas.microsoft.com/office/drawing/2014/main" id="{9D880ED4-A8BF-4F4D-8F2F-8B8CCD6A3D57}"/>
              </a:ext>
            </a:extLst>
          </p:cNvPr>
          <p:cNvSpPr>
            <a:spLocks noGrp="1"/>
          </p:cNvSpPr>
          <p:nvPr>
            <p:ph idx="1"/>
          </p:nvPr>
        </p:nvSpPr>
        <p:spPr/>
        <p:txBody>
          <a:bodyPr/>
          <a:lstStyle/>
          <a:p>
            <a:r>
              <a:rPr lang="en-US" dirty="0">
                <a:solidFill>
                  <a:srgbClr val="003767"/>
                </a:solidFill>
                <a:latin typeface="Calibri Light" panose="020F0302020204030204" pitchFamily="34" charset="0"/>
                <a:cs typeface="Calibri Light" panose="020F0302020204030204" pitchFamily="34" charset="0"/>
              </a:rPr>
              <a:t>Triplet regimens (HMA/</a:t>
            </a:r>
            <a:r>
              <a:rPr lang="en-US" dirty="0" err="1">
                <a:solidFill>
                  <a:srgbClr val="003767"/>
                </a:solidFill>
                <a:latin typeface="Calibri Light" panose="020F0302020204030204" pitchFamily="34" charset="0"/>
                <a:cs typeface="Calibri Light" panose="020F0302020204030204" pitchFamily="34" charset="0"/>
              </a:rPr>
              <a:t>ven</a:t>
            </a:r>
            <a:r>
              <a:rPr lang="en-US" dirty="0">
                <a:solidFill>
                  <a:srgbClr val="003767"/>
                </a:solidFill>
                <a:latin typeface="Calibri Light" panose="020F0302020204030204" pitchFamily="34" charset="0"/>
                <a:cs typeface="Calibri Light" panose="020F0302020204030204" pitchFamily="34" charset="0"/>
              </a:rPr>
              <a:t> + X) </a:t>
            </a:r>
          </a:p>
          <a:p>
            <a:r>
              <a:rPr lang="en-US" dirty="0">
                <a:solidFill>
                  <a:srgbClr val="003767"/>
                </a:solidFill>
                <a:latin typeface="Calibri Light" panose="020F0302020204030204" pitchFamily="34" charset="0"/>
                <a:cs typeface="Calibri Light" panose="020F0302020204030204" pitchFamily="34" charset="0"/>
              </a:rPr>
              <a:t>Oral decitabine-</a:t>
            </a:r>
            <a:r>
              <a:rPr lang="en-US" dirty="0" err="1">
                <a:solidFill>
                  <a:srgbClr val="003767"/>
                </a:solidFill>
                <a:latin typeface="Calibri Light" panose="020F0302020204030204" pitchFamily="34" charset="0"/>
                <a:cs typeface="Calibri Light" panose="020F0302020204030204" pitchFamily="34" charset="0"/>
              </a:rPr>
              <a:t>cedazuridine</a:t>
            </a:r>
            <a:endParaRPr lang="en-US" dirty="0">
              <a:solidFill>
                <a:srgbClr val="003767"/>
              </a:solidFill>
              <a:latin typeface="Calibri Light" panose="020F0302020204030204" pitchFamily="34" charset="0"/>
              <a:cs typeface="Calibri Light" panose="020F0302020204030204" pitchFamily="34" charset="0"/>
            </a:endParaRPr>
          </a:p>
          <a:p>
            <a:r>
              <a:rPr lang="en-US" dirty="0">
                <a:solidFill>
                  <a:srgbClr val="003767"/>
                </a:solidFill>
                <a:latin typeface="Calibri Light" panose="020F0302020204030204" pitchFamily="34" charset="0"/>
                <a:cs typeface="Calibri Light" panose="020F0302020204030204" pitchFamily="34" charset="0"/>
              </a:rPr>
              <a:t>Menin inhibitors (NPM1 and MLL mutated AML)</a:t>
            </a:r>
          </a:p>
          <a:p>
            <a:r>
              <a:rPr lang="en-US" dirty="0">
                <a:solidFill>
                  <a:srgbClr val="003767"/>
                </a:solidFill>
                <a:latin typeface="Calibri Light" panose="020F0302020204030204" pitchFamily="34" charset="0"/>
                <a:cs typeface="Calibri Light" panose="020F0302020204030204" pitchFamily="34" charset="0"/>
              </a:rPr>
              <a:t>LSD-1 inhibitors</a:t>
            </a:r>
          </a:p>
        </p:txBody>
      </p:sp>
    </p:spTree>
    <p:extLst>
      <p:ext uri="{BB962C8B-B14F-4D97-AF65-F5344CB8AC3E}">
        <p14:creationId xmlns:p14="http://schemas.microsoft.com/office/powerpoint/2010/main" val="24037553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62E919-9FB5-412E-864D-620FEE790D83}"/>
              </a:ext>
            </a:extLst>
          </p:cNvPr>
          <p:cNvSpPr>
            <a:spLocks noGrp="1"/>
          </p:cNvSpPr>
          <p:nvPr>
            <p:ph type="title"/>
          </p:nvPr>
        </p:nvSpPr>
        <p:spPr/>
        <p:txBody>
          <a:bodyPr/>
          <a:lstStyle/>
          <a:p>
            <a:r>
              <a:rPr lang="en-US" sz="2400" dirty="0">
                <a:solidFill>
                  <a:srgbClr val="003767"/>
                </a:solidFill>
              </a:rPr>
              <a:t>Take home points</a:t>
            </a:r>
          </a:p>
        </p:txBody>
      </p:sp>
      <p:sp>
        <p:nvSpPr>
          <p:cNvPr id="3" name="Content Placeholder 2">
            <a:extLst>
              <a:ext uri="{FF2B5EF4-FFF2-40B4-BE49-F238E27FC236}">
                <a16:creationId xmlns:a16="http://schemas.microsoft.com/office/drawing/2014/main" id="{1AB81340-4C2F-4634-B0B9-C0BBCC6326E5}"/>
              </a:ext>
            </a:extLst>
          </p:cNvPr>
          <p:cNvSpPr>
            <a:spLocks noGrp="1"/>
          </p:cNvSpPr>
          <p:nvPr>
            <p:ph idx="1"/>
          </p:nvPr>
        </p:nvSpPr>
        <p:spPr/>
        <p:txBody>
          <a:bodyPr/>
          <a:lstStyle/>
          <a:p>
            <a:r>
              <a:rPr lang="en-US" sz="2000" dirty="0">
                <a:solidFill>
                  <a:srgbClr val="003767"/>
                </a:solidFill>
                <a:latin typeface="Calibri Light" panose="020F0302020204030204" pitchFamily="34" charset="0"/>
                <a:cs typeface="Calibri Light" panose="020F0302020204030204" pitchFamily="34" charset="0"/>
              </a:rPr>
              <a:t>HMA/</a:t>
            </a:r>
            <a:r>
              <a:rPr lang="en-US" sz="2000" dirty="0" err="1">
                <a:solidFill>
                  <a:srgbClr val="003767"/>
                </a:solidFill>
                <a:latin typeface="Calibri Light" panose="020F0302020204030204" pitchFamily="34" charset="0"/>
                <a:cs typeface="Calibri Light" panose="020F0302020204030204" pitchFamily="34" charset="0"/>
              </a:rPr>
              <a:t>venetoclax</a:t>
            </a:r>
            <a:r>
              <a:rPr lang="en-US" sz="2000" dirty="0">
                <a:solidFill>
                  <a:srgbClr val="003767"/>
                </a:solidFill>
                <a:latin typeface="Calibri Light" panose="020F0302020204030204" pitchFamily="34" charset="0"/>
                <a:cs typeface="Calibri Light" panose="020F0302020204030204" pitchFamily="34" charset="0"/>
              </a:rPr>
              <a:t> is a new standard of care for the treatment of older AML</a:t>
            </a:r>
          </a:p>
          <a:p>
            <a:endParaRPr lang="en-US" sz="2000" dirty="0">
              <a:solidFill>
                <a:srgbClr val="003767"/>
              </a:solidFill>
              <a:latin typeface="Calibri Light" panose="020F0302020204030204" pitchFamily="34" charset="0"/>
              <a:cs typeface="Calibri Light" panose="020F0302020204030204" pitchFamily="34" charset="0"/>
            </a:endParaRPr>
          </a:p>
          <a:p>
            <a:r>
              <a:rPr lang="en-US" sz="2000" dirty="0">
                <a:solidFill>
                  <a:srgbClr val="003767"/>
                </a:solidFill>
                <a:latin typeface="Calibri Light" panose="020F0302020204030204" pitchFamily="34" charset="0"/>
                <a:cs typeface="Calibri Light" panose="020F0302020204030204" pitchFamily="34" charset="0"/>
              </a:rPr>
              <a:t>Treatment is primarily outpatient – understand the toxicities, drug-drug interactions, and administration logistics </a:t>
            </a:r>
          </a:p>
          <a:p>
            <a:endParaRPr lang="en-US" sz="2000" dirty="0">
              <a:solidFill>
                <a:srgbClr val="003767"/>
              </a:solidFill>
              <a:latin typeface="Calibri Light" panose="020F0302020204030204" pitchFamily="34" charset="0"/>
              <a:cs typeface="Calibri Light" panose="020F0302020204030204" pitchFamily="34" charset="0"/>
            </a:endParaRPr>
          </a:p>
          <a:p>
            <a:r>
              <a:rPr lang="en-US" sz="2000" dirty="0">
                <a:solidFill>
                  <a:srgbClr val="003767"/>
                </a:solidFill>
                <a:latin typeface="Calibri Light" panose="020F0302020204030204" pitchFamily="34" charset="0"/>
                <a:cs typeface="Calibri Light" panose="020F0302020204030204" pitchFamily="34" charset="0"/>
              </a:rPr>
              <a:t>Novel therapies continue to be developed and approved for older AML</a:t>
            </a:r>
          </a:p>
          <a:p>
            <a:endParaRPr lang="en-US" sz="2000" dirty="0">
              <a:solidFill>
                <a:srgbClr val="003767"/>
              </a:solidFill>
              <a:latin typeface="Calibri Light" panose="020F0302020204030204" pitchFamily="34" charset="0"/>
              <a:cs typeface="Calibri Light" panose="020F0302020204030204" pitchFamily="34" charset="0"/>
            </a:endParaRPr>
          </a:p>
          <a:p>
            <a:pPr marL="0" indent="0">
              <a:buNone/>
            </a:pPr>
            <a:endParaRPr lang="en-US" sz="2000" dirty="0">
              <a:solidFill>
                <a:srgbClr val="003767"/>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27314803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290D3-7627-DA69-819B-17065D9462C3}"/>
              </a:ext>
            </a:extLst>
          </p:cNvPr>
          <p:cNvSpPr>
            <a:spLocks noGrp="1"/>
          </p:cNvSpPr>
          <p:nvPr>
            <p:ph type="ctrTitle"/>
          </p:nvPr>
        </p:nvSpPr>
        <p:spPr>
          <a:xfrm>
            <a:off x="1206892" y="635428"/>
            <a:ext cx="6858000" cy="1760855"/>
          </a:xfrm>
        </p:spPr>
        <p:txBody>
          <a:bodyPr>
            <a:normAutofit/>
          </a:bodyPr>
          <a:lstStyle/>
          <a:p>
            <a:r>
              <a:rPr lang="en-US" sz="3300" b="1" dirty="0"/>
              <a:t>Diffuse Large B Cell Lymphoma</a:t>
            </a:r>
            <a:br>
              <a:rPr lang="en-US" sz="3300" b="1" dirty="0"/>
            </a:br>
            <a:r>
              <a:rPr lang="en-US" sz="3300" b="1" dirty="0"/>
              <a:t>Update 2024</a:t>
            </a:r>
          </a:p>
        </p:txBody>
      </p:sp>
      <p:sp>
        <p:nvSpPr>
          <p:cNvPr id="3" name="Subtitle 2">
            <a:extLst>
              <a:ext uri="{FF2B5EF4-FFF2-40B4-BE49-F238E27FC236}">
                <a16:creationId xmlns:a16="http://schemas.microsoft.com/office/drawing/2014/main" id="{6D84B8EF-B625-1BED-0B37-46CD90759F42}"/>
              </a:ext>
            </a:extLst>
          </p:cNvPr>
          <p:cNvSpPr>
            <a:spLocks noGrp="1"/>
          </p:cNvSpPr>
          <p:nvPr>
            <p:ph type="subTitle" idx="1"/>
          </p:nvPr>
        </p:nvSpPr>
        <p:spPr>
          <a:xfrm>
            <a:off x="1143000" y="3026646"/>
            <a:ext cx="6858000" cy="919085"/>
          </a:xfrm>
        </p:spPr>
        <p:txBody>
          <a:bodyPr>
            <a:normAutofit fontScale="77500" lnSpcReduction="20000"/>
          </a:bodyPr>
          <a:lstStyle/>
          <a:p>
            <a:r>
              <a:rPr lang="en-US" dirty="0"/>
              <a:t>Jing-Zhou Hou, MD PhD</a:t>
            </a:r>
          </a:p>
          <a:p>
            <a:r>
              <a:rPr lang="en-US" dirty="0"/>
              <a:t>UPMC Hillman Cancer Center</a:t>
            </a:r>
          </a:p>
          <a:p>
            <a:r>
              <a:rPr lang="en-US" dirty="0"/>
              <a:t>May 9, 2023</a:t>
            </a:r>
          </a:p>
        </p:txBody>
      </p:sp>
    </p:spTree>
    <p:extLst>
      <p:ext uri="{BB962C8B-B14F-4D97-AF65-F5344CB8AC3E}">
        <p14:creationId xmlns:p14="http://schemas.microsoft.com/office/powerpoint/2010/main" val="200815005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p:cNvSpPr>
          <p:nvPr>
            <p:ph type="title"/>
          </p:nvPr>
        </p:nvSpPr>
        <p:spPr>
          <a:xfrm>
            <a:off x="1257300" y="59531"/>
            <a:ext cx="6629400" cy="536972"/>
          </a:xfrm>
        </p:spPr>
        <p:txBody>
          <a:bodyPr/>
          <a:lstStyle/>
          <a:p>
            <a:r>
              <a:rPr lang="en-US" sz="3000" b="1" dirty="0"/>
              <a:t>Frontline Therapy for Advanced DLBCL</a:t>
            </a:r>
          </a:p>
        </p:txBody>
      </p:sp>
      <p:sp>
        <p:nvSpPr>
          <p:cNvPr id="37891" name="Rectangle 3"/>
          <p:cNvSpPr>
            <a:spLocks noGrp="1"/>
          </p:cNvSpPr>
          <p:nvPr>
            <p:ph type="body" idx="1"/>
          </p:nvPr>
        </p:nvSpPr>
        <p:spPr>
          <a:xfrm>
            <a:off x="1314450" y="196344"/>
            <a:ext cx="7200901" cy="4081463"/>
          </a:xfrm>
        </p:spPr>
        <p:txBody>
          <a:bodyPr>
            <a:normAutofit fontScale="92500"/>
          </a:bodyPr>
          <a:lstStyle/>
          <a:p>
            <a:pPr>
              <a:lnSpc>
                <a:spcPct val="150000"/>
              </a:lnSpc>
            </a:pPr>
            <a:r>
              <a:rPr lang="en-US" b="1" dirty="0"/>
              <a:t>R-CHOP x6 cycles remains the current standard</a:t>
            </a:r>
          </a:p>
          <a:p>
            <a:pPr lvl="1">
              <a:lnSpc>
                <a:spcPct val="150000"/>
              </a:lnSpc>
            </a:pPr>
            <a:r>
              <a:rPr lang="en-GB" sz="1350" dirty="0"/>
              <a:t>R-CHOP vs CHOP (GELA </a:t>
            </a:r>
            <a:r>
              <a:rPr lang="en-US" sz="1350" dirty="0"/>
              <a:t>LNH 98-5: </a:t>
            </a:r>
            <a:r>
              <a:rPr lang="en-US" sz="1350" dirty="0" err="1">
                <a:ea typeface="Arial" charset="0"/>
                <a:cs typeface="Arial" charset="0"/>
              </a:rPr>
              <a:t>Coiffier</a:t>
            </a:r>
            <a:r>
              <a:rPr lang="en-US" sz="1350" dirty="0">
                <a:ea typeface="Arial" charset="0"/>
                <a:cs typeface="Arial" charset="0"/>
              </a:rPr>
              <a:t> et al. </a:t>
            </a:r>
            <a:r>
              <a:rPr lang="en-US" sz="1350" i="1" dirty="0">
                <a:ea typeface="Arial" charset="0"/>
                <a:cs typeface="Arial" charset="0"/>
              </a:rPr>
              <a:t>NEJM </a:t>
            </a:r>
            <a:r>
              <a:rPr lang="en-US" sz="1350" dirty="0">
                <a:ea typeface="Arial" charset="0"/>
                <a:cs typeface="Arial" charset="0"/>
              </a:rPr>
              <a:t>2002)</a:t>
            </a:r>
            <a:endParaRPr lang="en-US" sz="1350" dirty="0"/>
          </a:p>
          <a:p>
            <a:pPr>
              <a:lnSpc>
                <a:spcPct val="150000"/>
              </a:lnSpc>
            </a:pPr>
            <a:r>
              <a:rPr lang="en-US" sz="1800" dirty="0"/>
              <a:t>No established role for maintenance Rituximab</a:t>
            </a:r>
          </a:p>
          <a:p>
            <a:pPr lvl="1">
              <a:lnSpc>
                <a:spcPct val="150000"/>
              </a:lnSpc>
            </a:pPr>
            <a:r>
              <a:rPr lang="en-US" sz="1200" dirty="0">
                <a:ea typeface="Arial" charset="0"/>
                <a:cs typeface="Arial" charset="0"/>
              </a:rPr>
              <a:t>(ECOG 4494 trial, </a:t>
            </a:r>
            <a:r>
              <a:rPr lang="en-US" sz="1200" i="1" dirty="0">
                <a:ea typeface="Arial" charset="0"/>
                <a:cs typeface="Arial" charset="0"/>
              </a:rPr>
              <a:t>JCO</a:t>
            </a:r>
            <a:r>
              <a:rPr lang="en-US" sz="1200" dirty="0">
                <a:ea typeface="Arial" charset="0"/>
                <a:cs typeface="Arial" charset="0"/>
              </a:rPr>
              <a:t>  2006; NHL13 trial, </a:t>
            </a:r>
            <a:r>
              <a:rPr lang="en-US" sz="1200" i="1" dirty="0" err="1"/>
              <a:t>Haematologica</a:t>
            </a:r>
            <a:r>
              <a:rPr lang="en-US" sz="1200" dirty="0"/>
              <a:t> 2015)</a:t>
            </a:r>
          </a:p>
          <a:p>
            <a:pPr>
              <a:lnSpc>
                <a:spcPct val="150000"/>
              </a:lnSpc>
            </a:pPr>
            <a:r>
              <a:rPr lang="de-DE" sz="1800" dirty="0" err="1"/>
              <a:t>No</a:t>
            </a:r>
            <a:r>
              <a:rPr lang="de-DE" sz="1800" dirty="0"/>
              <a:t> </a:t>
            </a:r>
            <a:r>
              <a:rPr lang="de-DE" sz="1800" dirty="0" err="1"/>
              <a:t>benefit</a:t>
            </a:r>
            <a:r>
              <a:rPr lang="de-DE" sz="1800" dirty="0"/>
              <a:t> </a:t>
            </a:r>
            <a:r>
              <a:rPr lang="de-DE" sz="1800" dirty="0" err="1"/>
              <a:t>of</a:t>
            </a:r>
            <a:r>
              <a:rPr lang="de-DE" sz="1800" dirty="0"/>
              <a:t>  8 </a:t>
            </a:r>
            <a:r>
              <a:rPr lang="de-DE" sz="1800" dirty="0" err="1"/>
              <a:t>cycles</a:t>
            </a:r>
            <a:r>
              <a:rPr lang="de-DE" sz="1800" dirty="0"/>
              <a:t> </a:t>
            </a:r>
            <a:r>
              <a:rPr lang="de-DE" sz="1800" dirty="0" err="1"/>
              <a:t>of</a:t>
            </a:r>
            <a:r>
              <a:rPr lang="de-DE" sz="1800" dirty="0"/>
              <a:t> CHOP-R</a:t>
            </a:r>
            <a:endParaRPr lang="en-US" sz="1800" dirty="0"/>
          </a:p>
          <a:p>
            <a:r>
              <a:rPr lang="en-US" sz="1800" dirty="0"/>
              <a:t>No benefit with an additional agent</a:t>
            </a:r>
          </a:p>
          <a:p>
            <a:pPr lvl="1"/>
            <a:r>
              <a:rPr lang="en-US" sz="1500" dirty="0"/>
              <a:t>Bleomycin: R-ACVBP vs R-CHOP</a:t>
            </a:r>
          </a:p>
          <a:p>
            <a:pPr lvl="1"/>
            <a:r>
              <a:rPr lang="en-US" sz="1500" dirty="0"/>
              <a:t>Etoposide:  R-CHOEP vs R-CHOP </a:t>
            </a:r>
            <a:r>
              <a:rPr lang="en-US" sz="1200" dirty="0"/>
              <a:t>(</a:t>
            </a:r>
            <a:r>
              <a:rPr lang="en-US" sz="1200" dirty="0" err="1"/>
              <a:t>MInT</a:t>
            </a:r>
            <a:r>
              <a:rPr lang="en-US" sz="1200" dirty="0"/>
              <a:t> Trial, Lancet </a:t>
            </a:r>
            <a:r>
              <a:rPr lang="en-US" sz="1200" dirty="0" err="1"/>
              <a:t>Onc</a:t>
            </a:r>
            <a:r>
              <a:rPr lang="en-US" sz="1200" dirty="0"/>
              <a:t>, 2006)</a:t>
            </a:r>
          </a:p>
          <a:p>
            <a:r>
              <a:rPr lang="en-US" sz="1800" dirty="0"/>
              <a:t>Dose Dense: </a:t>
            </a:r>
          </a:p>
          <a:p>
            <a:pPr lvl="1"/>
            <a:r>
              <a:rPr lang="en-US" sz="1500" dirty="0"/>
              <a:t>RECOVER:  R-CHOP-21 vs R-CHOP-14</a:t>
            </a:r>
          </a:p>
          <a:p>
            <a:pPr lvl="1"/>
            <a:r>
              <a:rPr lang="en-US" sz="1500" dirty="0"/>
              <a:t>Mega dose Rituxan: R-mega-CHOP</a:t>
            </a:r>
          </a:p>
          <a:p>
            <a:r>
              <a:rPr lang="en-US" sz="1800" dirty="0"/>
              <a:t>Upfront Autologous SCT</a:t>
            </a:r>
          </a:p>
        </p:txBody>
      </p:sp>
    </p:spTree>
    <p:extLst>
      <p:ext uri="{BB962C8B-B14F-4D97-AF65-F5344CB8AC3E}">
        <p14:creationId xmlns:p14="http://schemas.microsoft.com/office/powerpoint/2010/main" val="37054764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641271A-5894-D1B6-DD44-F795614CA774}"/>
              </a:ext>
            </a:extLst>
          </p:cNvPr>
          <p:cNvPicPr>
            <a:picLocks noChangeAspect="1"/>
          </p:cNvPicPr>
          <p:nvPr/>
        </p:nvPicPr>
        <p:blipFill rotWithShape="1">
          <a:blip r:embed="rId2"/>
          <a:srcRect l="13169" t="13475" r="9155" b="8529"/>
          <a:stretch/>
        </p:blipFill>
        <p:spPr>
          <a:xfrm>
            <a:off x="90152" y="135228"/>
            <a:ext cx="7102699" cy="4011769"/>
          </a:xfrm>
          <a:prstGeom prst="rect">
            <a:avLst/>
          </a:prstGeom>
        </p:spPr>
      </p:pic>
    </p:spTree>
    <p:extLst>
      <p:ext uri="{BB962C8B-B14F-4D97-AF65-F5344CB8AC3E}">
        <p14:creationId xmlns:p14="http://schemas.microsoft.com/office/powerpoint/2010/main" val="301101513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87931" y="919188"/>
            <a:ext cx="7717054" cy="3789948"/>
          </a:xfrm>
        </p:spPr>
        <p:txBody>
          <a:bodyPr>
            <a:noAutofit/>
          </a:bodyPr>
          <a:lstStyle/>
          <a:p>
            <a:pPr>
              <a:lnSpc>
                <a:spcPct val="150000"/>
              </a:lnSpc>
            </a:pPr>
            <a:r>
              <a:rPr lang="en-US" sz="1400" dirty="0">
                <a:solidFill>
                  <a:schemeClr val="tx1">
                    <a:lumMod val="95000"/>
                    <a:lumOff val="5000"/>
                  </a:schemeClr>
                </a:solidFill>
              </a:rPr>
              <a:t>Second generation anti-CD20 Ab (</a:t>
            </a:r>
            <a:r>
              <a:rPr lang="en-US" sz="1400" dirty="0" err="1">
                <a:solidFill>
                  <a:schemeClr val="tx1">
                    <a:lumMod val="95000"/>
                    <a:lumOff val="5000"/>
                  </a:schemeClr>
                </a:solidFill>
              </a:rPr>
              <a:t>Gazava</a:t>
            </a:r>
            <a:r>
              <a:rPr lang="en-US" sz="1400" dirty="0">
                <a:solidFill>
                  <a:schemeClr val="tx1">
                    <a:lumMod val="95000"/>
                    <a:lumOff val="5000"/>
                  </a:schemeClr>
                </a:solidFill>
              </a:rPr>
              <a:t>/</a:t>
            </a:r>
            <a:r>
              <a:rPr lang="en-US" sz="1400" dirty="0" err="1">
                <a:solidFill>
                  <a:schemeClr val="tx1">
                    <a:lumMod val="95000"/>
                    <a:lumOff val="5000"/>
                  </a:schemeClr>
                </a:solidFill>
              </a:rPr>
              <a:t>Obinutuzumab</a:t>
            </a:r>
            <a:r>
              <a:rPr lang="en-US" sz="1400" dirty="0">
                <a:solidFill>
                  <a:schemeClr val="tx1">
                    <a:lumMod val="95000"/>
                    <a:lumOff val="5000"/>
                  </a:schemeClr>
                </a:solidFill>
              </a:rPr>
              <a:t>)</a:t>
            </a:r>
          </a:p>
          <a:p>
            <a:pPr lvl="1">
              <a:lnSpc>
                <a:spcPct val="150000"/>
              </a:lnSpc>
            </a:pPr>
            <a:r>
              <a:rPr lang="en-US" sz="1600" dirty="0">
                <a:solidFill>
                  <a:schemeClr val="tx1">
                    <a:lumMod val="95000"/>
                    <a:lumOff val="5000"/>
                  </a:schemeClr>
                </a:solidFill>
              </a:rPr>
              <a:t>G-CHOP vs R-CHOP (GAYO trial, JCO 2017)</a:t>
            </a:r>
          </a:p>
          <a:p>
            <a:pPr>
              <a:lnSpc>
                <a:spcPct val="150000"/>
              </a:lnSpc>
            </a:pPr>
            <a:r>
              <a:rPr lang="en-US" sz="1400" dirty="0">
                <a:solidFill>
                  <a:schemeClr val="tx1">
                    <a:lumMod val="95000"/>
                    <a:lumOff val="5000"/>
                  </a:schemeClr>
                </a:solidFill>
              </a:rPr>
              <a:t>Dosed Adjusted EPOCH-R vs R-CHOP (Alliance/CALGB 50303, JCO 2019)</a:t>
            </a:r>
          </a:p>
          <a:p>
            <a:pPr>
              <a:lnSpc>
                <a:spcPct val="150000"/>
              </a:lnSpc>
            </a:pPr>
            <a:r>
              <a:rPr lang="en-US" sz="1400" dirty="0">
                <a:solidFill>
                  <a:schemeClr val="tx1">
                    <a:lumMod val="95000"/>
                    <a:lumOff val="5000"/>
                  </a:schemeClr>
                </a:solidFill>
              </a:rPr>
              <a:t>Immunomodulator</a:t>
            </a:r>
          </a:p>
          <a:p>
            <a:pPr lvl="1">
              <a:lnSpc>
                <a:spcPct val="150000"/>
              </a:lnSpc>
            </a:pPr>
            <a:r>
              <a:rPr lang="en-US" sz="1600" dirty="0">
                <a:solidFill>
                  <a:schemeClr val="tx1">
                    <a:lumMod val="95000"/>
                    <a:lumOff val="5000"/>
                  </a:schemeClr>
                </a:solidFill>
              </a:rPr>
              <a:t>Lenalidomide + R-CHOP vs R-CHOP for ABC type DLBCL</a:t>
            </a:r>
          </a:p>
          <a:p>
            <a:pPr marL="342900" lvl="1" indent="0">
              <a:lnSpc>
                <a:spcPct val="150000"/>
              </a:lnSpc>
              <a:buNone/>
            </a:pPr>
            <a:r>
              <a:rPr lang="en-US" sz="1600" dirty="0">
                <a:solidFill>
                  <a:schemeClr val="tx1">
                    <a:lumMod val="95000"/>
                    <a:lumOff val="5000"/>
                  </a:schemeClr>
                </a:solidFill>
              </a:rPr>
              <a:t>	(ROBUST trial, </a:t>
            </a:r>
            <a:r>
              <a:rPr lang="en-US" sz="1600" dirty="0" err="1">
                <a:solidFill>
                  <a:schemeClr val="tx1">
                    <a:lumMod val="95000"/>
                    <a:lumOff val="5000"/>
                  </a:schemeClr>
                </a:solidFill>
              </a:rPr>
              <a:t>Celgene.com</a:t>
            </a:r>
            <a:r>
              <a:rPr lang="en-US" sz="1600" dirty="0">
                <a:solidFill>
                  <a:schemeClr val="tx1">
                    <a:lumMod val="95000"/>
                    <a:lumOff val="5000"/>
                  </a:schemeClr>
                </a:solidFill>
              </a:rPr>
              <a:t> 2019)</a:t>
            </a:r>
          </a:p>
          <a:p>
            <a:pPr>
              <a:lnSpc>
                <a:spcPct val="150000"/>
              </a:lnSpc>
            </a:pPr>
            <a:r>
              <a:rPr lang="en-US" sz="1400" dirty="0">
                <a:solidFill>
                  <a:schemeClr val="tx1">
                    <a:lumMod val="95000"/>
                    <a:lumOff val="5000"/>
                  </a:schemeClr>
                </a:solidFill>
              </a:rPr>
              <a:t>Ibrutinib + R-CHOP  vs R-CHOP for ABC type DLBCL</a:t>
            </a:r>
          </a:p>
          <a:p>
            <a:pPr lvl="1">
              <a:lnSpc>
                <a:spcPct val="150000"/>
              </a:lnSpc>
            </a:pPr>
            <a:r>
              <a:rPr lang="en-US" sz="1200" dirty="0">
                <a:solidFill>
                  <a:schemeClr val="tx1">
                    <a:lumMod val="95000"/>
                    <a:lumOff val="5000"/>
                  </a:schemeClr>
                </a:solidFill>
              </a:rPr>
              <a:t>The study did not meet its primary end point in the ITT (Younes A et al, JCO, 2019).</a:t>
            </a:r>
          </a:p>
        </p:txBody>
      </p:sp>
      <p:sp>
        <p:nvSpPr>
          <p:cNvPr id="4" name="Title 1"/>
          <p:cNvSpPr>
            <a:spLocks noGrp="1"/>
          </p:cNvSpPr>
          <p:nvPr>
            <p:ph type="title"/>
          </p:nvPr>
        </p:nvSpPr>
        <p:spPr>
          <a:xfrm>
            <a:off x="991101" y="74570"/>
            <a:ext cx="7289032" cy="671362"/>
          </a:xfrm>
        </p:spPr>
        <p:txBody>
          <a:bodyPr>
            <a:noAutofit/>
          </a:bodyPr>
          <a:lstStyle/>
          <a:p>
            <a:r>
              <a:rPr lang="en-US" sz="2800" dirty="0">
                <a:solidFill>
                  <a:schemeClr val="tx1">
                    <a:lumMod val="95000"/>
                    <a:lumOff val="5000"/>
                  </a:schemeClr>
                </a:solidFill>
              </a:rPr>
              <a:t>Strategies to Improve Treatment Outcome</a:t>
            </a:r>
          </a:p>
        </p:txBody>
      </p:sp>
    </p:spTree>
    <p:extLst>
      <p:ext uri="{BB962C8B-B14F-4D97-AF65-F5344CB8AC3E}">
        <p14:creationId xmlns:p14="http://schemas.microsoft.com/office/powerpoint/2010/main" val="188905974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CB77777-52F2-5BBE-C6EA-B1415C68DC90}"/>
              </a:ext>
            </a:extLst>
          </p:cNvPr>
          <p:cNvSpPr>
            <a:spLocks noGrp="1"/>
          </p:cNvSpPr>
          <p:nvPr>
            <p:ph type="title"/>
          </p:nvPr>
        </p:nvSpPr>
        <p:spPr>
          <a:xfrm>
            <a:off x="628650" y="139065"/>
            <a:ext cx="7886700" cy="881188"/>
          </a:xfrm>
        </p:spPr>
        <p:txBody>
          <a:bodyPr>
            <a:noAutofit/>
          </a:bodyPr>
          <a:lstStyle/>
          <a:p>
            <a:pPr algn="ctr"/>
            <a:r>
              <a:rPr lang="en-US" sz="2700" dirty="0">
                <a:solidFill>
                  <a:schemeClr val="tx1">
                    <a:lumMod val="95000"/>
                    <a:lumOff val="5000"/>
                  </a:schemeClr>
                </a:solidFill>
              </a:rPr>
              <a:t>Efficacy and safety of lenalidomide in DLBCL: a meta-analysis of randomized controlled trials</a:t>
            </a:r>
          </a:p>
        </p:txBody>
      </p:sp>
      <p:pic>
        <p:nvPicPr>
          <p:cNvPr id="3074" name="Picture 2" descr="Fig. 2">
            <a:extLst>
              <a:ext uri="{FF2B5EF4-FFF2-40B4-BE49-F238E27FC236}">
                <a16:creationId xmlns:a16="http://schemas.microsoft.com/office/drawing/2014/main" id="{F0C52CDB-28C4-CB2D-D2C7-C0252DF4B5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9350" y="1123785"/>
            <a:ext cx="4071486" cy="126597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Fig. 3">
            <a:extLst>
              <a:ext uri="{FF2B5EF4-FFF2-40B4-BE49-F238E27FC236}">
                <a16:creationId xmlns:a16="http://schemas.microsoft.com/office/drawing/2014/main" id="{13405377-A9C3-C701-0738-847C086354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9350" y="2966159"/>
            <a:ext cx="4107580" cy="128789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able 4">
            <a:extLst>
              <a:ext uri="{FF2B5EF4-FFF2-40B4-BE49-F238E27FC236}">
                <a16:creationId xmlns:a16="http://schemas.microsoft.com/office/drawing/2014/main" id="{90AD5D2A-D7F2-D69E-F6AF-AB89DCB07833}"/>
              </a:ext>
            </a:extLst>
          </p:cNvPr>
          <p:cNvGraphicFramePr>
            <a:graphicFrameLocks noGrp="1"/>
          </p:cNvGraphicFramePr>
          <p:nvPr>
            <p:extLst>
              <p:ext uri="{D42A27DB-BD31-4B8C-83A1-F6EECF244321}">
                <p14:modId xmlns:p14="http://schemas.microsoft.com/office/powerpoint/2010/main" val="1489029404"/>
              </p:ext>
            </p:extLst>
          </p:nvPr>
        </p:nvGraphicFramePr>
        <p:xfrm>
          <a:off x="4678759" y="1185607"/>
          <a:ext cx="4362652" cy="3354040"/>
        </p:xfrm>
        <a:graphic>
          <a:graphicData uri="http://schemas.openxmlformats.org/drawingml/2006/table">
            <a:tbl>
              <a:tblPr/>
              <a:tblGrid>
                <a:gridCol w="623236">
                  <a:extLst>
                    <a:ext uri="{9D8B030D-6E8A-4147-A177-3AD203B41FA5}">
                      <a16:colId xmlns:a16="http://schemas.microsoft.com/office/drawing/2014/main" val="2147315365"/>
                    </a:ext>
                  </a:extLst>
                </a:gridCol>
                <a:gridCol w="623236">
                  <a:extLst>
                    <a:ext uri="{9D8B030D-6E8A-4147-A177-3AD203B41FA5}">
                      <a16:colId xmlns:a16="http://schemas.microsoft.com/office/drawing/2014/main" val="1763944262"/>
                    </a:ext>
                  </a:extLst>
                </a:gridCol>
                <a:gridCol w="623236">
                  <a:extLst>
                    <a:ext uri="{9D8B030D-6E8A-4147-A177-3AD203B41FA5}">
                      <a16:colId xmlns:a16="http://schemas.microsoft.com/office/drawing/2014/main" val="1626840636"/>
                    </a:ext>
                  </a:extLst>
                </a:gridCol>
                <a:gridCol w="623236">
                  <a:extLst>
                    <a:ext uri="{9D8B030D-6E8A-4147-A177-3AD203B41FA5}">
                      <a16:colId xmlns:a16="http://schemas.microsoft.com/office/drawing/2014/main" val="1366299865"/>
                    </a:ext>
                  </a:extLst>
                </a:gridCol>
                <a:gridCol w="623236">
                  <a:extLst>
                    <a:ext uri="{9D8B030D-6E8A-4147-A177-3AD203B41FA5}">
                      <a16:colId xmlns:a16="http://schemas.microsoft.com/office/drawing/2014/main" val="3681358224"/>
                    </a:ext>
                  </a:extLst>
                </a:gridCol>
                <a:gridCol w="623236">
                  <a:extLst>
                    <a:ext uri="{9D8B030D-6E8A-4147-A177-3AD203B41FA5}">
                      <a16:colId xmlns:a16="http://schemas.microsoft.com/office/drawing/2014/main" val="549529295"/>
                    </a:ext>
                  </a:extLst>
                </a:gridCol>
                <a:gridCol w="623236">
                  <a:extLst>
                    <a:ext uri="{9D8B030D-6E8A-4147-A177-3AD203B41FA5}">
                      <a16:colId xmlns:a16="http://schemas.microsoft.com/office/drawing/2014/main" val="2244999102"/>
                    </a:ext>
                  </a:extLst>
                </a:gridCol>
              </a:tblGrid>
              <a:tr h="248681">
                <a:tc>
                  <a:txBody>
                    <a:bodyPr/>
                    <a:lstStyle/>
                    <a:p>
                      <a:pPr algn="l" fontAlgn="t" latinLnBrk="0"/>
                      <a:r>
                        <a:rPr lang="en-US" sz="700">
                          <a:effectLst/>
                        </a:rPr>
                        <a:t>Secondary outcomes</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dirty="0">
                          <a:effectLst/>
                        </a:rPr>
                        <a:t>No. of studies</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a:effectLst/>
                        </a:rPr>
                        <a:t>No. of patients</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i="1">
                          <a:effectLst/>
                        </a:rPr>
                        <a:t>I</a:t>
                      </a:r>
                      <a:r>
                        <a:rPr lang="en-US" sz="700" baseline="30000">
                          <a:effectLst/>
                        </a:rPr>
                        <a:t>2</a:t>
                      </a:r>
                      <a:r>
                        <a:rPr lang="en-US" sz="700">
                          <a:effectLst/>
                        </a:rPr>
                        <a:t> (%)</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i="1">
                          <a:effectLst/>
                        </a:rPr>
                        <a:t>P</a:t>
                      </a:r>
                      <a:r>
                        <a:rPr lang="en-US" sz="700">
                          <a:effectLst/>
                        </a:rPr>
                        <a:t> value for heterogeneity</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a:effectLst/>
                        </a:rPr>
                        <a:t>HR (95%CI)</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i="1">
                          <a:effectLst/>
                        </a:rPr>
                        <a:t>P</a:t>
                      </a:r>
                      <a:r>
                        <a:rPr lang="en-US" sz="700">
                          <a:effectLst/>
                        </a:rPr>
                        <a:t> value for effects model</a:t>
                      </a:r>
                    </a:p>
                  </a:txBody>
                  <a:tcPr marL="21470" marR="21470" marT="21470" marB="21470">
                    <a:lnL w="19050" cap="flat" cmpd="sng" algn="ctr">
                      <a:solidFill>
                        <a:srgbClr val="D5D5D5"/>
                      </a:solidFill>
                      <a:prstDash val="solid"/>
                      <a:round/>
                      <a:headEnd type="none" w="med" len="med"/>
                      <a:tailEnd type="none" w="med" len="med"/>
                    </a:lnL>
                    <a:lnR w="9525"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extLst>
                  <a:ext uri="{0D108BD9-81ED-4DB2-BD59-A6C34878D82A}">
                    <a16:rowId xmlns:a16="http://schemas.microsoft.com/office/drawing/2014/main" val="4225138210"/>
                  </a:ext>
                </a:extLst>
              </a:tr>
              <a:tr h="145811">
                <a:tc gridSpan="7">
                  <a:txBody>
                    <a:bodyPr/>
                    <a:lstStyle/>
                    <a:p>
                      <a:pPr algn="l" fontAlgn="t" latinLnBrk="0"/>
                      <a:r>
                        <a:rPr lang="en-US" sz="700" i="1" dirty="0">
                          <a:effectLst/>
                          <a:latin typeface="Merriweather Sans" pitchFamily="2" charset="0"/>
                        </a:rPr>
                        <a:t>PFS</a:t>
                      </a:r>
                      <a:endParaRPr lang="en-US" sz="700" dirty="0">
                        <a:effectLst/>
                        <a:latin typeface="Merriweather Sans" pitchFamily="2" charset="0"/>
                      </a:endParaRPr>
                    </a:p>
                  </a:txBody>
                  <a:tcPr marL="21470" marR="21470" marT="21470" marB="21470">
                    <a:lnL w="19050" cap="flat" cmpd="sng" algn="ctr">
                      <a:solidFill>
                        <a:srgbClr val="D5D5D5"/>
                      </a:solidFill>
                      <a:prstDash val="solid"/>
                      <a:round/>
                      <a:headEnd type="none" w="med" len="med"/>
                      <a:tailEnd type="none" w="med" len="med"/>
                    </a:lnL>
                    <a:lnR w="9525"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03141691"/>
                  </a:ext>
                </a:extLst>
              </a:tr>
              <a:tr h="248681">
                <a:tc>
                  <a:txBody>
                    <a:bodyPr/>
                    <a:lstStyle/>
                    <a:p>
                      <a:pPr algn="l" fontAlgn="t" latinLnBrk="0"/>
                      <a:r>
                        <a:rPr lang="en-US" sz="700">
                          <a:effectLst/>
                          <a:latin typeface="Merriweather Sans" pitchFamily="2" charset="0"/>
                        </a:rPr>
                        <a:t>ALL</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a:effectLst/>
                          <a:latin typeface="Merriweather Sans" pitchFamily="2" charset="0"/>
                        </a:rPr>
                        <a:t>5</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fontAlgn="t" latinLnBrk="0"/>
                      <a:r>
                        <a:rPr lang="en-US" sz="700">
                          <a:effectLst/>
                          <a:latin typeface="Merriweather Sans" pitchFamily="2" charset="0"/>
                        </a:rPr>
                        <a:t>1899</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fontAlgn="t" latinLnBrk="0"/>
                      <a:r>
                        <a:rPr lang="en-US" sz="700">
                          <a:effectLst/>
                          <a:latin typeface="Merriweather Sans" pitchFamily="2" charset="0"/>
                        </a:rPr>
                        <a:t>3.6</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a:effectLst/>
                          <a:latin typeface="Merriweather Sans" pitchFamily="2" charset="0"/>
                        </a:rPr>
                        <a:t>0.386</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a:effectLst/>
                          <a:latin typeface="Merriweather Sans" pitchFamily="2" charset="0"/>
                        </a:rPr>
                        <a:t>0.77 (0.66, 0.90)</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i="1">
                          <a:effectLst/>
                          <a:latin typeface="Merriweather Sans" pitchFamily="2" charset="0"/>
                        </a:rPr>
                        <a:t>0.001</a:t>
                      </a:r>
                      <a:endParaRPr lang="en-US" sz="700">
                        <a:effectLst/>
                        <a:latin typeface="Merriweather Sans" pitchFamily="2" charset="0"/>
                      </a:endParaRPr>
                    </a:p>
                  </a:txBody>
                  <a:tcPr marL="21470" marR="21470" marT="21470" marB="21470">
                    <a:lnL w="19050" cap="flat" cmpd="sng" algn="ctr">
                      <a:solidFill>
                        <a:srgbClr val="D5D5D5"/>
                      </a:solidFill>
                      <a:prstDash val="solid"/>
                      <a:round/>
                      <a:headEnd type="none" w="med" len="med"/>
                      <a:tailEnd type="none" w="med" len="med"/>
                    </a:lnL>
                    <a:lnR w="9525"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extLst>
                  <a:ext uri="{0D108BD9-81ED-4DB2-BD59-A6C34878D82A}">
                    <a16:rowId xmlns:a16="http://schemas.microsoft.com/office/drawing/2014/main" val="3789191912"/>
                  </a:ext>
                </a:extLst>
              </a:tr>
              <a:tr h="145811">
                <a:tc gridSpan="7">
                  <a:txBody>
                    <a:bodyPr/>
                    <a:lstStyle/>
                    <a:p>
                      <a:pPr algn="l" fontAlgn="t" latinLnBrk="0"/>
                      <a:r>
                        <a:rPr lang="en-US" sz="700">
                          <a:effectLst/>
                          <a:latin typeface="Merriweather Sans" pitchFamily="2" charset="0"/>
                        </a:rPr>
                        <a:t>Disease status</a:t>
                      </a:r>
                    </a:p>
                  </a:txBody>
                  <a:tcPr marL="21470" marR="21470" marT="21470" marB="21470">
                    <a:lnL w="19050" cap="flat" cmpd="sng" algn="ctr">
                      <a:solidFill>
                        <a:srgbClr val="D5D5D5"/>
                      </a:solidFill>
                      <a:prstDash val="solid"/>
                      <a:round/>
                      <a:headEnd type="none" w="med" len="med"/>
                      <a:tailEnd type="none" w="med" len="med"/>
                    </a:lnL>
                    <a:lnR w="9525"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51312590"/>
                  </a:ext>
                </a:extLst>
              </a:tr>
              <a:tr h="248681">
                <a:tc>
                  <a:txBody>
                    <a:bodyPr/>
                    <a:lstStyle/>
                    <a:p>
                      <a:pPr algn="l" fontAlgn="t" latinLnBrk="0"/>
                      <a:r>
                        <a:rPr lang="en-US" sz="700">
                          <a:effectLst/>
                          <a:latin typeface="Merriweather Sans" pitchFamily="2" charset="0"/>
                        </a:rPr>
                        <a:t> Untreated</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a:effectLst/>
                          <a:latin typeface="Merriweather Sans" pitchFamily="2" charset="0"/>
                        </a:rPr>
                        <a:t>4</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fontAlgn="t" latinLnBrk="0"/>
                      <a:r>
                        <a:rPr lang="en-US" sz="700">
                          <a:effectLst/>
                          <a:latin typeface="Merriweather Sans" pitchFamily="2" charset="0"/>
                        </a:rPr>
                        <a:t>1790</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fontAlgn="t" latinLnBrk="0"/>
                      <a:r>
                        <a:rPr lang="en-US" sz="700" dirty="0">
                          <a:effectLst/>
                          <a:latin typeface="Merriweather Sans" pitchFamily="2" charset="0"/>
                        </a:rPr>
                        <a:t>10.1</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dirty="0">
                          <a:effectLst/>
                          <a:latin typeface="Merriweather Sans" pitchFamily="2" charset="0"/>
                        </a:rPr>
                        <a:t>0.343</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a:effectLst/>
                          <a:latin typeface="Merriweather Sans" pitchFamily="2" charset="0"/>
                        </a:rPr>
                        <a:t>0.79 (0.67, 0.94)</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i="1">
                          <a:effectLst/>
                          <a:latin typeface="Merriweather Sans" pitchFamily="2" charset="0"/>
                        </a:rPr>
                        <a:t>0.006</a:t>
                      </a:r>
                      <a:endParaRPr lang="en-US" sz="700">
                        <a:effectLst/>
                        <a:latin typeface="Merriweather Sans" pitchFamily="2" charset="0"/>
                      </a:endParaRPr>
                    </a:p>
                  </a:txBody>
                  <a:tcPr marL="21470" marR="21470" marT="21470" marB="21470">
                    <a:lnL w="19050" cap="flat" cmpd="sng" algn="ctr">
                      <a:solidFill>
                        <a:srgbClr val="D5D5D5"/>
                      </a:solidFill>
                      <a:prstDash val="solid"/>
                      <a:round/>
                      <a:headEnd type="none" w="med" len="med"/>
                      <a:tailEnd type="none" w="med" len="med"/>
                    </a:lnL>
                    <a:lnR w="9525"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extLst>
                  <a:ext uri="{0D108BD9-81ED-4DB2-BD59-A6C34878D82A}">
                    <a16:rowId xmlns:a16="http://schemas.microsoft.com/office/drawing/2014/main" val="4108712600"/>
                  </a:ext>
                </a:extLst>
              </a:tr>
              <a:tr h="145811">
                <a:tc gridSpan="7">
                  <a:txBody>
                    <a:bodyPr/>
                    <a:lstStyle/>
                    <a:p>
                      <a:pPr algn="l" fontAlgn="t" latinLnBrk="0"/>
                      <a:r>
                        <a:rPr lang="en-US" sz="700">
                          <a:effectLst/>
                          <a:latin typeface="Merriweather Sans" pitchFamily="2" charset="0"/>
                        </a:rPr>
                        <a:t>Regimen</a:t>
                      </a:r>
                    </a:p>
                  </a:txBody>
                  <a:tcPr marL="21470" marR="21470" marT="21470" marB="21470">
                    <a:lnL w="19050" cap="flat" cmpd="sng" algn="ctr">
                      <a:solidFill>
                        <a:srgbClr val="D5D5D5"/>
                      </a:solidFill>
                      <a:prstDash val="solid"/>
                      <a:round/>
                      <a:headEnd type="none" w="med" len="med"/>
                      <a:tailEnd type="none" w="med" len="med"/>
                    </a:lnL>
                    <a:lnR w="9525"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529326721"/>
                  </a:ext>
                </a:extLst>
              </a:tr>
              <a:tr h="248681">
                <a:tc>
                  <a:txBody>
                    <a:bodyPr/>
                    <a:lstStyle/>
                    <a:p>
                      <a:pPr algn="l" fontAlgn="t" latinLnBrk="0"/>
                      <a:r>
                        <a:rPr lang="en-US" sz="700">
                          <a:effectLst/>
                          <a:latin typeface="Merriweather Sans" pitchFamily="2" charset="0"/>
                        </a:rPr>
                        <a:t> R-CHOP based</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a:effectLst/>
                          <a:latin typeface="Merriweather Sans" pitchFamily="2" charset="0"/>
                        </a:rPr>
                        <a:t>3</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fontAlgn="t" latinLnBrk="0"/>
                      <a:r>
                        <a:rPr lang="en-US" sz="700">
                          <a:effectLst/>
                          <a:latin typeface="Merriweather Sans" pitchFamily="2" charset="0"/>
                        </a:rPr>
                        <a:t>1549</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fontAlgn="t" latinLnBrk="0"/>
                      <a:r>
                        <a:rPr lang="en-US" sz="700">
                          <a:effectLst/>
                          <a:latin typeface="Merriweather Sans" pitchFamily="2" charset="0"/>
                        </a:rPr>
                        <a:t>0</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a:effectLst/>
                          <a:latin typeface="Merriweather Sans" pitchFamily="2" charset="0"/>
                        </a:rPr>
                        <a:t>0.550</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a:effectLst/>
                          <a:latin typeface="Merriweather Sans" pitchFamily="2" charset="0"/>
                        </a:rPr>
                        <a:t>0.75 (0.62, 0.90)</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i="1">
                          <a:effectLst/>
                          <a:latin typeface="Merriweather Sans" pitchFamily="2" charset="0"/>
                        </a:rPr>
                        <a:t>0.002</a:t>
                      </a:r>
                      <a:endParaRPr lang="en-US" sz="700">
                        <a:effectLst/>
                        <a:latin typeface="Merriweather Sans" pitchFamily="2" charset="0"/>
                      </a:endParaRPr>
                    </a:p>
                  </a:txBody>
                  <a:tcPr marL="21470" marR="21470" marT="21470" marB="21470">
                    <a:lnL w="19050" cap="flat" cmpd="sng" algn="ctr">
                      <a:solidFill>
                        <a:srgbClr val="D5D5D5"/>
                      </a:solidFill>
                      <a:prstDash val="solid"/>
                      <a:round/>
                      <a:headEnd type="none" w="med" len="med"/>
                      <a:tailEnd type="none" w="med" len="med"/>
                    </a:lnL>
                    <a:lnR w="9525"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extLst>
                  <a:ext uri="{0D108BD9-81ED-4DB2-BD59-A6C34878D82A}">
                    <a16:rowId xmlns:a16="http://schemas.microsoft.com/office/drawing/2014/main" val="1972116896"/>
                  </a:ext>
                </a:extLst>
              </a:tr>
              <a:tr h="145811">
                <a:tc gridSpan="7">
                  <a:txBody>
                    <a:bodyPr/>
                    <a:lstStyle/>
                    <a:p>
                      <a:pPr algn="l" fontAlgn="t" latinLnBrk="0"/>
                      <a:r>
                        <a:rPr lang="en-US" sz="700">
                          <a:effectLst/>
                          <a:latin typeface="Merriweather Sans" pitchFamily="2" charset="0"/>
                        </a:rPr>
                        <a:t>Median age</a:t>
                      </a:r>
                    </a:p>
                  </a:txBody>
                  <a:tcPr marL="21470" marR="21470" marT="21470" marB="21470">
                    <a:lnL w="19050" cap="flat" cmpd="sng" algn="ctr">
                      <a:solidFill>
                        <a:srgbClr val="D5D5D5"/>
                      </a:solidFill>
                      <a:prstDash val="solid"/>
                      <a:round/>
                      <a:headEnd type="none" w="med" len="med"/>
                      <a:tailEnd type="none" w="med" len="med"/>
                    </a:lnL>
                    <a:lnR w="9525"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522297602"/>
                  </a:ext>
                </a:extLst>
              </a:tr>
              <a:tr h="248681">
                <a:tc>
                  <a:txBody>
                    <a:bodyPr/>
                    <a:lstStyle/>
                    <a:p>
                      <a:pPr algn="l" fontAlgn="t" latinLnBrk="0"/>
                      <a:r>
                        <a:rPr lang="en-US" sz="700">
                          <a:effectLst/>
                          <a:latin typeface="Merriweather Sans" pitchFamily="2" charset="0"/>
                        </a:rPr>
                        <a:t>  ≥ 65</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a:effectLst/>
                          <a:latin typeface="Merriweather Sans" pitchFamily="2" charset="0"/>
                        </a:rPr>
                        <a:t>5</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fontAlgn="t" latinLnBrk="0"/>
                      <a:r>
                        <a:rPr lang="en-US" sz="700">
                          <a:effectLst/>
                          <a:latin typeface="Merriweather Sans" pitchFamily="2" charset="0"/>
                        </a:rPr>
                        <a:t>1899</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fontAlgn="t" latinLnBrk="0"/>
                      <a:r>
                        <a:rPr lang="en-US" sz="700">
                          <a:effectLst/>
                          <a:latin typeface="Merriweather Sans" pitchFamily="2" charset="0"/>
                        </a:rPr>
                        <a:t>3.6</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a:effectLst/>
                          <a:latin typeface="Merriweather Sans" pitchFamily="2" charset="0"/>
                        </a:rPr>
                        <a:t>0.386</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a:effectLst/>
                          <a:latin typeface="Merriweather Sans" pitchFamily="2" charset="0"/>
                        </a:rPr>
                        <a:t>0.77 (0.66, 0.90)</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i="1">
                          <a:effectLst/>
                          <a:latin typeface="Merriweather Sans" pitchFamily="2" charset="0"/>
                        </a:rPr>
                        <a:t>0.001</a:t>
                      </a:r>
                      <a:endParaRPr lang="en-US" sz="700">
                        <a:effectLst/>
                        <a:latin typeface="Merriweather Sans" pitchFamily="2" charset="0"/>
                      </a:endParaRPr>
                    </a:p>
                  </a:txBody>
                  <a:tcPr marL="21470" marR="21470" marT="21470" marB="21470">
                    <a:lnL w="19050" cap="flat" cmpd="sng" algn="ctr">
                      <a:solidFill>
                        <a:srgbClr val="D5D5D5"/>
                      </a:solidFill>
                      <a:prstDash val="solid"/>
                      <a:round/>
                      <a:headEnd type="none" w="med" len="med"/>
                      <a:tailEnd type="none" w="med" len="med"/>
                    </a:lnL>
                    <a:lnR w="9525"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extLst>
                  <a:ext uri="{0D108BD9-81ED-4DB2-BD59-A6C34878D82A}">
                    <a16:rowId xmlns:a16="http://schemas.microsoft.com/office/drawing/2014/main" val="3241432666"/>
                  </a:ext>
                </a:extLst>
              </a:tr>
              <a:tr h="145811">
                <a:tc gridSpan="7">
                  <a:txBody>
                    <a:bodyPr/>
                    <a:lstStyle/>
                    <a:p>
                      <a:pPr algn="l" fontAlgn="t" latinLnBrk="0"/>
                      <a:r>
                        <a:rPr lang="en-US" sz="700">
                          <a:effectLst/>
                          <a:latin typeface="Merriweather Sans" pitchFamily="2" charset="0"/>
                        </a:rPr>
                        <a:t>Subtype</a:t>
                      </a:r>
                    </a:p>
                  </a:txBody>
                  <a:tcPr marL="21470" marR="21470" marT="21470" marB="21470">
                    <a:lnL w="19050" cap="flat" cmpd="sng" algn="ctr">
                      <a:solidFill>
                        <a:srgbClr val="D5D5D5"/>
                      </a:solidFill>
                      <a:prstDash val="solid"/>
                      <a:round/>
                      <a:headEnd type="none" w="med" len="med"/>
                      <a:tailEnd type="none" w="med" len="med"/>
                    </a:lnL>
                    <a:lnR w="9525"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031303"/>
                  </a:ext>
                </a:extLst>
              </a:tr>
              <a:tr h="248681">
                <a:tc>
                  <a:txBody>
                    <a:bodyPr/>
                    <a:lstStyle/>
                    <a:p>
                      <a:pPr algn="l" fontAlgn="t" latinLnBrk="0"/>
                      <a:r>
                        <a:rPr lang="en-US" sz="700">
                          <a:effectLst/>
                          <a:latin typeface="Merriweather Sans" pitchFamily="2" charset="0"/>
                        </a:rPr>
                        <a:t> Non-GCB</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a:effectLst/>
                          <a:latin typeface="Merriweather Sans" pitchFamily="2" charset="0"/>
                        </a:rPr>
                        <a:t>3</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fontAlgn="t" latinLnBrk="0"/>
                      <a:r>
                        <a:rPr lang="en-US" sz="700">
                          <a:effectLst/>
                          <a:latin typeface="Merriweather Sans" pitchFamily="2" charset="0"/>
                        </a:rPr>
                        <a:t>834</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fontAlgn="t" latinLnBrk="0"/>
                      <a:r>
                        <a:rPr lang="en-US" sz="700">
                          <a:effectLst/>
                          <a:latin typeface="Merriweather Sans" pitchFamily="2" charset="0"/>
                        </a:rPr>
                        <a:t>47.6</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a:effectLst/>
                          <a:latin typeface="Merriweather Sans" pitchFamily="2" charset="0"/>
                        </a:rPr>
                        <a:t>0.148</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a:effectLst/>
                          <a:latin typeface="Merriweather Sans" pitchFamily="2" charset="0"/>
                        </a:rPr>
                        <a:t>0.83(0.66, 1.05)</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a:effectLst/>
                          <a:latin typeface="Merriweather Sans" pitchFamily="2" charset="0"/>
                        </a:rPr>
                        <a:t>0.125</a:t>
                      </a:r>
                    </a:p>
                  </a:txBody>
                  <a:tcPr marL="21470" marR="21470" marT="21470" marB="21470">
                    <a:lnL w="19050" cap="flat" cmpd="sng" algn="ctr">
                      <a:solidFill>
                        <a:srgbClr val="D5D5D5"/>
                      </a:solidFill>
                      <a:prstDash val="solid"/>
                      <a:round/>
                      <a:headEnd type="none" w="med" len="med"/>
                      <a:tailEnd type="none" w="med" len="med"/>
                    </a:lnL>
                    <a:lnR w="9525"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extLst>
                  <a:ext uri="{0D108BD9-81ED-4DB2-BD59-A6C34878D82A}">
                    <a16:rowId xmlns:a16="http://schemas.microsoft.com/office/drawing/2014/main" val="3510243478"/>
                  </a:ext>
                </a:extLst>
              </a:tr>
              <a:tr h="248681">
                <a:tc>
                  <a:txBody>
                    <a:bodyPr/>
                    <a:lstStyle/>
                    <a:p>
                      <a:pPr algn="l" fontAlgn="t" latinLnBrk="0"/>
                      <a:r>
                        <a:rPr lang="en-US" sz="700">
                          <a:effectLst/>
                          <a:latin typeface="Merriweather Sans" pitchFamily="2" charset="0"/>
                        </a:rPr>
                        <a:t> GCB</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a:effectLst/>
                          <a:latin typeface="Merriweather Sans" pitchFamily="2" charset="0"/>
                        </a:rPr>
                        <a:t>3</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fontAlgn="t" latinLnBrk="0"/>
                      <a:r>
                        <a:rPr lang="en-US" sz="700">
                          <a:effectLst/>
                          <a:latin typeface="Merriweather Sans" pitchFamily="2" charset="0"/>
                        </a:rPr>
                        <a:t>350</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fontAlgn="t" latinLnBrk="0"/>
                      <a:r>
                        <a:rPr lang="en-US" sz="700">
                          <a:effectLst/>
                          <a:latin typeface="Merriweather Sans" pitchFamily="2" charset="0"/>
                        </a:rPr>
                        <a:t>0</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a:effectLst/>
                          <a:latin typeface="Merriweather Sans" pitchFamily="2" charset="0"/>
                        </a:rPr>
                        <a:t>0.484</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a:effectLst/>
                          <a:latin typeface="Merriweather Sans" pitchFamily="2" charset="0"/>
                        </a:rPr>
                        <a:t>0.70 (0.48, 1.03)</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a:effectLst/>
                          <a:latin typeface="Merriweather Sans" pitchFamily="2" charset="0"/>
                        </a:rPr>
                        <a:t>0.070</a:t>
                      </a:r>
                    </a:p>
                  </a:txBody>
                  <a:tcPr marL="21470" marR="21470" marT="21470" marB="21470">
                    <a:lnL w="19050" cap="flat" cmpd="sng" algn="ctr">
                      <a:solidFill>
                        <a:srgbClr val="D5D5D5"/>
                      </a:solidFill>
                      <a:prstDash val="solid"/>
                      <a:round/>
                      <a:headEnd type="none" w="med" len="med"/>
                      <a:tailEnd type="none" w="med" len="med"/>
                    </a:lnL>
                    <a:lnR w="9525"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extLst>
                  <a:ext uri="{0D108BD9-81ED-4DB2-BD59-A6C34878D82A}">
                    <a16:rowId xmlns:a16="http://schemas.microsoft.com/office/drawing/2014/main" val="740466180"/>
                  </a:ext>
                </a:extLst>
              </a:tr>
              <a:tr h="145811">
                <a:tc gridSpan="7">
                  <a:txBody>
                    <a:bodyPr/>
                    <a:lstStyle/>
                    <a:p>
                      <a:pPr algn="l" fontAlgn="t" latinLnBrk="0"/>
                      <a:r>
                        <a:rPr lang="en-US" sz="700" i="1">
                          <a:effectLst/>
                          <a:latin typeface="Merriweather Sans" pitchFamily="2" charset="0"/>
                        </a:rPr>
                        <a:t>OS</a:t>
                      </a:r>
                      <a:endParaRPr lang="en-US" sz="700">
                        <a:effectLst/>
                        <a:latin typeface="Merriweather Sans" pitchFamily="2" charset="0"/>
                      </a:endParaRPr>
                    </a:p>
                  </a:txBody>
                  <a:tcPr marL="21470" marR="21470" marT="21470" marB="21470">
                    <a:lnL w="19050" cap="flat" cmpd="sng" algn="ctr">
                      <a:solidFill>
                        <a:srgbClr val="D5D5D5"/>
                      </a:solidFill>
                      <a:prstDash val="solid"/>
                      <a:round/>
                      <a:headEnd type="none" w="med" len="med"/>
                      <a:tailEnd type="none" w="med" len="med"/>
                    </a:lnL>
                    <a:lnR w="9525"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595244823"/>
                  </a:ext>
                </a:extLst>
              </a:tr>
              <a:tr h="248681">
                <a:tc>
                  <a:txBody>
                    <a:bodyPr/>
                    <a:lstStyle/>
                    <a:p>
                      <a:pPr algn="l" fontAlgn="t" latinLnBrk="0"/>
                      <a:r>
                        <a:rPr lang="en-US" sz="700">
                          <a:effectLst/>
                          <a:latin typeface="Merriweather Sans" pitchFamily="2" charset="0"/>
                        </a:rPr>
                        <a:t>ALL</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a:effectLst/>
                          <a:latin typeface="Merriweather Sans" pitchFamily="2" charset="0"/>
                        </a:rPr>
                        <a:t>5</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fontAlgn="t" latinLnBrk="0"/>
                      <a:r>
                        <a:rPr lang="en-US" sz="700">
                          <a:effectLst/>
                          <a:latin typeface="Merriweather Sans" pitchFamily="2" charset="0"/>
                        </a:rPr>
                        <a:t>1601</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fontAlgn="t" latinLnBrk="0"/>
                      <a:r>
                        <a:rPr lang="en-US" sz="700">
                          <a:effectLst/>
                          <a:latin typeface="Merriweather Sans" pitchFamily="2" charset="0"/>
                        </a:rPr>
                        <a:t>0</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a:effectLst/>
                          <a:latin typeface="Merriweather Sans" pitchFamily="2" charset="0"/>
                        </a:rPr>
                        <a:t>0.592</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a:effectLst/>
                          <a:latin typeface="Merriweather Sans" pitchFamily="2" charset="0"/>
                        </a:rPr>
                        <a:t>0.99 (0.83, 1.20)</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a:txBody>
                    <a:bodyPr/>
                    <a:lstStyle/>
                    <a:p>
                      <a:pPr algn="l" fontAlgn="t" latinLnBrk="0"/>
                      <a:r>
                        <a:rPr lang="en-US" sz="700">
                          <a:effectLst/>
                          <a:latin typeface="Merriweather Sans" pitchFamily="2" charset="0"/>
                        </a:rPr>
                        <a:t>0.950</a:t>
                      </a:r>
                    </a:p>
                  </a:txBody>
                  <a:tcPr marL="21470" marR="21470" marT="21470" marB="21470">
                    <a:lnL w="19050" cap="flat" cmpd="sng" algn="ctr">
                      <a:solidFill>
                        <a:srgbClr val="D5D5D5"/>
                      </a:solidFill>
                      <a:prstDash val="solid"/>
                      <a:round/>
                      <a:headEnd type="none" w="med" len="med"/>
                      <a:tailEnd type="none" w="med" len="med"/>
                    </a:lnL>
                    <a:lnR w="9525"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extLst>
                  <a:ext uri="{0D108BD9-81ED-4DB2-BD59-A6C34878D82A}">
                    <a16:rowId xmlns:a16="http://schemas.microsoft.com/office/drawing/2014/main" val="3431093290"/>
                  </a:ext>
                </a:extLst>
              </a:tr>
              <a:tr h="145811">
                <a:tc gridSpan="7">
                  <a:txBody>
                    <a:bodyPr/>
                    <a:lstStyle/>
                    <a:p>
                      <a:pPr algn="l" fontAlgn="t" latinLnBrk="0"/>
                      <a:r>
                        <a:rPr lang="en-US" sz="700" i="1" dirty="0">
                          <a:effectLst/>
                          <a:latin typeface="Merriweather Sans" pitchFamily="2" charset="0"/>
                        </a:rPr>
                        <a:t>EFS</a:t>
                      </a:r>
                      <a:endParaRPr lang="en-US" sz="700" dirty="0">
                        <a:effectLst/>
                        <a:latin typeface="Merriweather Sans" pitchFamily="2" charset="0"/>
                      </a:endParaRPr>
                    </a:p>
                  </a:txBody>
                  <a:tcPr marL="21470" marR="21470" marT="21470" marB="21470">
                    <a:lnL w="19050" cap="flat" cmpd="sng" algn="ctr">
                      <a:solidFill>
                        <a:srgbClr val="D5D5D5"/>
                      </a:solidFill>
                      <a:prstDash val="solid"/>
                      <a:round/>
                      <a:headEnd type="none" w="med" len="med"/>
                      <a:tailEnd type="none" w="med" len="med"/>
                    </a:lnL>
                    <a:lnR w="9525"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5D5D5"/>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861205829"/>
                  </a:ext>
                </a:extLst>
              </a:tr>
              <a:tr h="248681">
                <a:tc>
                  <a:txBody>
                    <a:bodyPr/>
                    <a:lstStyle/>
                    <a:p>
                      <a:pPr algn="l" fontAlgn="t" latinLnBrk="0"/>
                      <a:r>
                        <a:rPr lang="en-US" sz="700" dirty="0">
                          <a:effectLst/>
                          <a:latin typeface="Merriweather Sans" pitchFamily="2" charset="0"/>
                        </a:rPr>
                        <a:t>ALL</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ADADA"/>
                      </a:solidFill>
                      <a:prstDash val="solid"/>
                      <a:round/>
                      <a:headEnd type="none" w="med" len="med"/>
                      <a:tailEnd type="none" w="med" len="med"/>
                    </a:lnB>
                    <a:solidFill>
                      <a:srgbClr val="FFFFFF"/>
                    </a:solidFill>
                  </a:tcPr>
                </a:tc>
                <a:tc>
                  <a:txBody>
                    <a:bodyPr/>
                    <a:lstStyle/>
                    <a:p>
                      <a:pPr algn="l" fontAlgn="t" latinLnBrk="0"/>
                      <a:r>
                        <a:rPr lang="en-US" sz="700">
                          <a:effectLst/>
                          <a:latin typeface="Merriweather Sans" pitchFamily="2" charset="0"/>
                        </a:rPr>
                        <a:t>3</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ADADA"/>
                      </a:solidFill>
                      <a:prstDash val="solid"/>
                      <a:round/>
                      <a:headEnd type="none" w="med" len="med"/>
                      <a:tailEnd type="none" w="med" len="med"/>
                    </a:lnB>
                    <a:solidFill>
                      <a:srgbClr val="FFFFFF"/>
                    </a:solidFill>
                  </a:tcPr>
                </a:tc>
                <a:tc>
                  <a:txBody>
                    <a:bodyPr/>
                    <a:lstStyle/>
                    <a:p>
                      <a:pPr fontAlgn="t" latinLnBrk="0"/>
                      <a:r>
                        <a:rPr lang="en-US" sz="700">
                          <a:effectLst/>
                          <a:latin typeface="Merriweather Sans" pitchFamily="2" charset="0"/>
                        </a:rPr>
                        <a:t>847</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ADADA"/>
                      </a:solidFill>
                      <a:prstDash val="solid"/>
                      <a:round/>
                      <a:headEnd type="none" w="med" len="med"/>
                      <a:tailEnd type="none" w="med" len="med"/>
                    </a:lnB>
                    <a:solidFill>
                      <a:srgbClr val="FFFFFF"/>
                    </a:solidFill>
                  </a:tcPr>
                </a:tc>
                <a:tc>
                  <a:txBody>
                    <a:bodyPr/>
                    <a:lstStyle/>
                    <a:p>
                      <a:pPr fontAlgn="t" latinLnBrk="0"/>
                      <a:r>
                        <a:rPr lang="en-US" sz="700">
                          <a:effectLst/>
                          <a:latin typeface="Merriweather Sans" pitchFamily="2" charset="0"/>
                        </a:rPr>
                        <a:t>0</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ADADA"/>
                      </a:solidFill>
                      <a:prstDash val="solid"/>
                      <a:round/>
                      <a:headEnd type="none" w="med" len="med"/>
                      <a:tailEnd type="none" w="med" len="med"/>
                    </a:lnB>
                    <a:solidFill>
                      <a:srgbClr val="FFFFFF"/>
                    </a:solidFill>
                  </a:tcPr>
                </a:tc>
                <a:tc>
                  <a:txBody>
                    <a:bodyPr/>
                    <a:lstStyle/>
                    <a:p>
                      <a:pPr algn="l" fontAlgn="t" latinLnBrk="0"/>
                      <a:r>
                        <a:rPr lang="en-US" sz="700">
                          <a:effectLst/>
                          <a:latin typeface="Merriweather Sans" pitchFamily="2" charset="0"/>
                        </a:rPr>
                        <a:t>0.818</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ADADA"/>
                      </a:solidFill>
                      <a:prstDash val="solid"/>
                      <a:round/>
                      <a:headEnd type="none" w="med" len="med"/>
                      <a:tailEnd type="none" w="med" len="med"/>
                    </a:lnB>
                    <a:solidFill>
                      <a:srgbClr val="FFFFFF"/>
                    </a:solidFill>
                  </a:tcPr>
                </a:tc>
                <a:tc>
                  <a:txBody>
                    <a:bodyPr/>
                    <a:lstStyle/>
                    <a:p>
                      <a:pPr algn="l" fontAlgn="t" latinLnBrk="0"/>
                      <a:r>
                        <a:rPr lang="en-US" sz="700">
                          <a:effectLst/>
                          <a:latin typeface="Merriweather Sans" pitchFamily="2" charset="0"/>
                        </a:rPr>
                        <a:t>0.99 (0.81, 1.21)</a:t>
                      </a:r>
                    </a:p>
                  </a:txBody>
                  <a:tcPr marL="21470" marR="21470" marT="21470" marB="21470">
                    <a:lnL w="19050" cap="flat" cmpd="sng" algn="ctr">
                      <a:solidFill>
                        <a:srgbClr val="D5D5D5"/>
                      </a:solidFill>
                      <a:prstDash val="solid"/>
                      <a:round/>
                      <a:headEnd type="none" w="med" len="med"/>
                      <a:tailEnd type="none" w="med" len="med"/>
                    </a:lnL>
                    <a:lnR w="19050"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ADADA"/>
                      </a:solidFill>
                      <a:prstDash val="solid"/>
                      <a:round/>
                      <a:headEnd type="none" w="med" len="med"/>
                      <a:tailEnd type="none" w="med" len="med"/>
                    </a:lnB>
                    <a:solidFill>
                      <a:srgbClr val="FFFFFF"/>
                    </a:solidFill>
                  </a:tcPr>
                </a:tc>
                <a:tc>
                  <a:txBody>
                    <a:bodyPr/>
                    <a:lstStyle/>
                    <a:p>
                      <a:pPr algn="l" fontAlgn="t" latinLnBrk="0"/>
                      <a:r>
                        <a:rPr lang="en-US" sz="700" dirty="0">
                          <a:effectLst/>
                          <a:latin typeface="Merriweather Sans" pitchFamily="2" charset="0"/>
                        </a:rPr>
                        <a:t>0.927</a:t>
                      </a:r>
                    </a:p>
                  </a:txBody>
                  <a:tcPr marL="21470" marR="21470" marT="21470" marB="21470">
                    <a:lnL w="19050" cap="flat" cmpd="sng" algn="ctr">
                      <a:solidFill>
                        <a:srgbClr val="D5D5D5"/>
                      </a:solidFill>
                      <a:prstDash val="solid"/>
                      <a:round/>
                      <a:headEnd type="none" w="med" len="med"/>
                      <a:tailEnd type="none" w="med" len="med"/>
                    </a:lnL>
                    <a:lnR w="9525" cap="flat" cmpd="sng" algn="ctr">
                      <a:solidFill>
                        <a:srgbClr val="D5D5D5"/>
                      </a:solidFill>
                      <a:prstDash val="solid"/>
                      <a:round/>
                      <a:headEnd type="none" w="med" len="med"/>
                      <a:tailEnd type="none" w="med" len="med"/>
                    </a:lnR>
                    <a:lnT w="19050" cap="flat" cmpd="sng" algn="ctr">
                      <a:solidFill>
                        <a:srgbClr val="D5D5D5"/>
                      </a:solidFill>
                      <a:prstDash val="solid"/>
                      <a:round/>
                      <a:headEnd type="none" w="med" len="med"/>
                      <a:tailEnd type="none" w="med" len="med"/>
                    </a:lnT>
                    <a:lnB w="19050" cap="flat" cmpd="sng" algn="ctr">
                      <a:solidFill>
                        <a:srgbClr val="DADADA"/>
                      </a:solidFill>
                      <a:prstDash val="solid"/>
                      <a:round/>
                      <a:headEnd type="none" w="med" len="med"/>
                      <a:tailEnd type="none" w="med" len="med"/>
                    </a:lnB>
                    <a:solidFill>
                      <a:srgbClr val="FFFFFF"/>
                    </a:solidFill>
                  </a:tcPr>
                </a:tc>
                <a:extLst>
                  <a:ext uri="{0D108BD9-81ED-4DB2-BD59-A6C34878D82A}">
                    <a16:rowId xmlns:a16="http://schemas.microsoft.com/office/drawing/2014/main" val="3173814702"/>
                  </a:ext>
                </a:extLst>
              </a:tr>
            </a:tbl>
          </a:graphicData>
        </a:graphic>
      </p:graphicFrame>
      <p:sp>
        <p:nvSpPr>
          <p:cNvPr id="6" name="TextBox 5">
            <a:extLst>
              <a:ext uri="{FF2B5EF4-FFF2-40B4-BE49-F238E27FC236}">
                <a16:creationId xmlns:a16="http://schemas.microsoft.com/office/drawing/2014/main" id="{A918EDA8-1485-3C01-99C0-9BF5913868D5}"/>
              </a:ext>
            </a:extLst>
          </p:cNvPr>
          <p:cNvSpPr txBox="1"/>
          <p:nvPr/>
        </p:nvSpPr>
        <p:spPr>
          <a:xfrm>
            <a:off x="7348041" y="4905322"/>
            <a:ext cx="1954381" cy="230832"/>
          </a:xfrm>
          <a:prstGeom prst="rect">
            <a:avLst/>
          </a:prstGeom>
          <a:noFill/>
        </p:spPr>
        <p:txBody>
          <a:bodyPr wrap="none" rtlCol="0">
            <a:spAutoFit/>
          </a:bodyPr>
          <a:lstStyle/>
          <a:p>
            <a:r>
              <a:rPr lang="en-US" sz="900" dirty="0"/>
              <a:t>Liu J. et al, Clinical Exp Med, 2022</a:t>
            </a:r>
          </a:p>
        </p:txBody>
      </p:sp>
      <p:sp>
        <p:nvSpPr>
          <p:cNvPr id="7" name="TextBox 6">
            <a:extLst>
              <a:ext uri="{FF2B5EF4-FFF2-40B4-BE49-F238E27FC236}">
                <a16:creationId xmlns:a16="http://schemas.microsoft.com/office/drawing/2014/main" id="{41D7FEB4-7C63-386F-16E5-CB4309D3664C}"/>
              </a:ext>
            </a:extLst>
          </p:cNvPr>
          <p:cNvSpPr txBox="1"/>
          <p:nvPr/>
        </p:nvSpPr>
        <p:spPr>
          <a:xfrm>
            <a:off x="194868" y="800620"/>
            <a:ext cx="518091" cy="369332"/>
          </a:xfrm>
          <a:prstGeom prst="rect">
            <a:avLst/>
          </a:prstGeom>
          <a:noFill/>
        </p:spPr>
        <p:txBody>
          <a:bodyPr wrap="none" rtlCol="0">
            <a:spAutoFit/>
          </a:bodyPr>
          <a:lstStyle/>
          <a:p>
            <a:r>
              <a:rPr lang="en-US" sz="1800" b="1" dirty="0"/>
              <a:t>CR</a:t>
            </a:r>
          </a:p>
        </p:txBody>
      </p:sp>
      <p:sp>
        <p:nvSpPr>
          <p:cNvPr id="8" name="TextBox 7">
            <a:extLst>
              <a:ext uri="{FF2B5EF4-FFF2-40B4-BE49-F238E27FC236}">
                <a16:creationId xmlns:a16="http://schemas.microsoft.com/office/drawing/2014/main" id="{732ABDAB-DD08-4DD8-4E61-EF0E2685304C}"/>
              </a:ext>
            </a:extLst>
          </p:cNvPr>
          <p:cNvSpPr txBox="1"/>
          <p:nvPr/>
        </p:nvSpPr>
        <p:spPr>
          <a:xfrm>
            <a:off x="166035" y="2493295"/>
            <a:ext cx="633507" cy="369332"/>
          </a:xfrm>
          <a:prstGeom prst="rect">
            <a:avLst/>
          </a:prstGeom>
          <a:noFill/>
        </p:spPr>
        <p:txBody>
          <a:bodyPr wrap="none" rtlCol="0">
            <a:spAutoFit/>
          </a:bodyPr>
          <a:lstStyle/>
          <a:p>
            <a:r>
              <a:rPr lang="en-US" sz="1800" b="1" dirty="0"/>
              <a:t>PFS</a:t>
            </a:r>
          </a:p>
        </p:txBody>
      </p:sp>
      <p:sp>
        <p:nvSpPr>
          <p:cNvPr id="9" name="TextBox 8">
            <a:extLst>
              <a:ext uri="{FF2B5EF4-FFF2-40B4-BE49-F238E27FC236}">
                <a16:creationId xmlns:a16="http://schemas.microsoft.com/office/drawing/2014/main" id="{05D852A3-37D0-B689-74EC-3F1B3E4BEC22}"/>
              </a:ext>
            </a:extLst>
          </p:cNvPr>
          <p:cNvSpPr txBox="1"/>
          <p:nvPr/>
        </p:nvSpPr>
        <p:spPr>
          <a:xfrm>
            <a:off x="4522267" y="911842"/>
            <a:ext cx="518091" cy="369332"/>
          </a:xfrm>
          <a:prstGeom prst="rect">
            <a:avLst/>
          </a:prstGeom>
          <a:noFill/>
        </p:spPr>
        <p:txBody>
          <a:bodyPr wrap="none" rtlCol="0">
            <a:spAutoFit/>
          </a:bodyPr>
          <a:lstStyle/>
          <a:p>
            <a:r>
              <a:rPr lang="en-US" sz="1800" b="1" dirty="0"/>
              <a:t>OS</a:t>
            </a:r>
          </a:p>
        </p:txBody>
      </p:sp>
      <p:sp>
        <p:nvSpPr>
          <p:cNvPr id="10" name="Oval 9">
            <a:extLst>
              <a:ext uri="{FF2B5EF4-FFF2-40B4-BE49-F238E27FC236}">
                <a16:creationId xmlns:a16="http://schemas.microsoft.com/office/drawing/2014/main" id="{CF005E42-B8CA-EEA5-AE83-7D5368CE4021}"/>
              </a:ext>
            </a:extLst>
          </p:cNvPr>
          <p:cNvSpPr/>
          <p:nvPr/>
        </p:nvSpPr>
        <p:spPr>
          <a:xfrm>
            <a:off x="4380378" y="3719245"/>
            <a:ext cx="4597585" cy="542315"/>
          </a:xfrm>
          <a:prstGeom prst="ellipse">
            <a:avLst/>
          </a:prstGeom>
          <a:noFill/>
          <a:ln w="28575">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412126704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30CB26-B573-EA55-CB52-C39BCCF137C6}"/>
              </a:ext>
            </a:extLst>
          </p:cNvPr>
          <p:cNvSpPr>
            <a:spLocks noGrp="1"/>
          </p:cNvSpPr>
          <p:nvPr>
            <p:ph type="title"/>
          </p:nvPr>
        </p:nvSpPr>
        <p:spPr>
          <a:xfrm>
            <a:off x="4043073" y="2382"/>
            <a:ext cx="4508371" cy="433613"/>
          </a:xfrm>
        </p:spPr>
        <p:txBody>
          <a:bodyPr>
            <a:noAutofit/>
          </a:bodyPr>
          <a:lstStyle/>
          <a:p>
            <a:r>
              <a:rPr lang="en-US" sz="2700" b="1" dirty="0"/>
              <a:t>Pola-R-CHP vs R-CHOP</a:t>
            </a:r>
          </a:p>
        </p:txBody>
      </p:sp>
      <p:pic>
        <p:nvPicPr>
          <p:cNvPr id="2050" name="Picture 2">
            <a:extLst>
              <a:ext uri="{FF2B5EF4-FFF2-40B4-BE49-F238E27FC236}">
                <a16:creationId xmlns:a16="http://schemas.microsoft.com/office/drawing/2014/main" id="{519B2E30-ACFF-E756-E2D8-5FBDF4BAC8C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61" y="21995"/>
            <a:ext cx="3924986" cy="507967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graph of a patient's survival&#10;&#10;Description automatically generated with medium confidence">
            <a:extLst>
              <a:ext uri="{FF2B5EF4-FFF2-40B4-BE49-F238E27FC236}">
                <a16:creationId xmlns:a16="http://schemas.microsoft.com/office/drawing/2014/main" id="{865A0FE5-FB64-FCCB-82A9-B100919AC8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34229" y="398944"/>
            <a:ext cx="4544650" cy="3732672"/>
          </a:xfrm>
          <a:prstGeom prst="rect">
            <a:avLst/>
          </a:prstGeom>
        </p:spPr>
      </p:pic>
      <p:sp>
        <p:nvSpPr>
          <p:cNvPr id="6" name="TextBox 5">
            <a:extLst>
              <a:ext uri="{FF2B5EF4-FFF2-40B4-BE49-F238E27FC236}">
                <a16:creationId xmlns:a16="http://schemas.microsoft.com/office/drawing/2014/main" id="{952E412C-68FC-D778-9054-3836F5632072}"/>
              </a:ext>
            </a:extLst>
          </p:cNvPr>
          <p:cNvSpPr txBox="1"/>
          <p:nvPr/>
        </p:nvSpPr>
        <p:spPr>
          <a:xfrm>
            <a:off x="4286309" y="4110833"/>
            <a:ext cx="4795346" cy="1477328"/>
          </a:xfrm>
          <a:prstGeom prst="rect">
            <a:avLst/>
          </a:prstGeom>
          <a:solidFill>
            <a:schemeClr val="bg1"/>
          </a:solidFill>
        </p:spPr>
        <p:txBody>
          <a:bodyPr wrap="square">
            <a:spAutoFit/>
          </a:bodyPr>
          <a:lstStyle/>
          <a:p>
            <a:r>
              <a:rPr lang="en-US" sz="1800" dirty="0">
                <a:solidFill>
                  <a:srgbClr val="4D4D4D"/>
                </a:solidFill>
                <a:latin typeface="OTNEJMQuadraat"/>
              </a:rPr>
              <a:t>“Among patients with previously untreated intermediate-risk or high-risk DLBCL, the risk of disease progression, relapse, or death was lower among those who received </a:t>
            </a:r>
            <a:r>
              <a:rPr lang="en-US" sz="1800" dirty="0" err="1">
                <a:solidFill>
                  <a:srgbClr val="4D4D4D"/>
                </a:solidFill>
                <a:latin typeface="OTNEJMQuadraat"/>
              </a:rPr>
              <a:t>pola</a:t>
            </a:r>
            <a:r>
              <a:rPr lang="en-US" sz="1800" dirty="0">
                <a:solidFill>
                  <a:srgbClr val="4D4D4D"/>
                </a:solidFill>
                <a:latin typeface="OTNEJMQuadraat"/>
              </a:rPr>
              <a:t>-R-CHP than among those who received R-CHOP.”</a:t>
            </a:r>
            <a:endParaRPr lang="en-US" sz="1800" dirty="0"/>
          </a:p>
        </p:txBody>
      </p:sp>
      <p:sp>
        <p:nvSpPr>
          <p:cNvPr id="7" name="TextBox 6">
            <a:extLst>
              <a:ext uri="{FF2B5EF4-FFF2-40B4-BE49-F238E27FC236}">
                <a16:creationId xmlns:a16="http://schemas.microsoft.com/office/drawing/2014/main" id="{72FBD91D-EB6F-2D61-3AFD-1A35FD01EDE3}"/>
              </a:ext>
            </a:extLst>
          </p:cNvPr>
          <p:cNvSpPr txBox="1"/>
          <p:nvPr/>
        </p:nvSpPr>
        <p:spPr>
          <a:xfrm>
            <a:off x="2647925" y="5010852"/>
            <a:ext cx="1486304" cy="230832"/>
          </a:xfrm>
          <a:prstGeom prst="rect">
            <a:avLst/>
          </a:prstGeom>
          <a:noFill/>
        </p:spPr>
        <p:txBody>
          <a:bodyPr wrap="none" rtlCol="0">
            <a:spAutoFit/>
          </a:bodyPr>
          <a:lstStyle/>
          <a:p>
            <a:r>
              <a:rPr lang="en-US" sz="900" dirty="0"/>
              <a:t>Tilly H. et al, NEJM, 2022</a:t>
            </a:r>
          </a:p>
        </p:txBody>
      </p:sp>
      <p:sp>
        <p:nvSpPr>
          <p:cNvPr id="8" name="Oval 7">
            <a:extLst>
              <a:ext uri="{FF2B5EF4-FFF2-40B4-BE49-F238E27FC236}">
                <a16:creationId xmlns:a16="http://schemas.microsoft.com/office/drawing/2014/main" id="{D8D02877-C31C-E499-718A-A920CACEEFA9}"/>
              </a:ext>
            </a:extLst>
          </p:cNvPr>
          <p:cNvSpPr/>
          <p:nvPr/>
        </p:nvSpPr>
        <p:spPr>
          <a:xfrm>
            <a:off x="6386400" y="2104003"/>
            <a:ext cx="2419729" cy="836487"/>
          </a:xfrm>
          <a:prstGeom prst="ellipse">
            <a:avLst/>
          </a:prstGeom>
          <a:noFill/>
          <a:ln w="28575">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269564166"/>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67C475-EA64-3C6D-020E-12B2C3A74BAC}"/>
              </a:ext>
            </a:extLst>
          </p:cNvPr>
          <p:cNvSpPr>
            <a:spLocks noGrp="1"/>
          </p:cNvSpPr>
          <p:nvPr>
            <p:ph type="title"/>
          </p:nvPr>
        </p:nvSpPr>
        <p:spPr>
          <a:xfrm>
            <a:off x="628649" y="117409"/>
            <a:ext cx="7886700" cy="650182"/>
          </a:xfrm>
        </p:spPr>
        <p:txBody>
          <a:bodyPr/>
          <a:lstStyle/>
          <a:p>
            <a:r>
              <a:rPr lang="en-US" dirty="0"/>
              <a:t>Treatment Options of </a:t>
            </a:r>
            <a:r>
              <a:rPr lang="en-US" dirty="0" err="1"/>
              <a:t>rrDLBCL</a:t>
            </a:r>
            <a:endParaRPr lang="en-US" dirty="0"/>
          </a:p>
        </p:txBody>
      </p:sp>
      <p:pic>
        <p:nvPicPr>
          <p:cNvPr id="1026" name="Picture 2">
            <a:extLst>
              <a:ext uri="{FF2B5EF4-FFF2-40B4-BE49-F238E27FC236}">
                <a16:creationId xmlns:a16="http://schemas.microsoft.com/office/drawing/2014/main" id="{2538B175-6414-B42A-4E64-36874A32712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8202" y="693903"/>
            <a:ext cx="7167593" cy="36869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678748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5E090B-BB2D-2479-C6BD-E17D24F4F2DB}"/>
              </a:ext>
            </a:extLst>
          </p:cNvPr>
          <p:cNvSpPr>
            <a:spLocks noGrp="1"/>
          </p:cNvSpPr>
          <p:nvPr>
            <p:ph type="title"/>
          </p:nvPr>
        </p:nvSpPr>
        <p:spPr>
          <a:xfrm>
            <a:off x="554691" y="276226"/>
            <a:ext cx="7886700" cy="264038"/>
          </a:xfrm>
        </p:spPr>
        <p:txBody>
          <a:bodyPr>
            <a:noAutofit/>
          </a:bodyPr>
          <a:lstStyle/>
          <a:p>
            <a:pPr algn="ctr"/>
            <a:r>
              <a:rPr lang="en-US" sz="2400" b="1" dirty="0">
                <a:solidFill>
                  <a:srgbClr val="1C1D1F"/>
                </a:solidFill>
                <a:latin typeface="acumin-pro"/>
              </a:rPr>
              <a:t>Is CAR T Therapy Potentially Curative for </a:t>
            </a:r>
            <a:r>
              <a:rPr lang="en-US" sz="2400" b="1" dirty="0" err="1">
                <a:solidFill>
                  <a:srgbClr val="1C1D1F"/>
                </a:solidFill>
                <a:latin typeface="acumin-pro"/>
              </a:rPr>
              <a:t>rrNHL</a:t>
            </a:r>
            <a:r>
              <a:rPr lang="en-US" sz="2400" b="1" dirty="0">
                <a:solidFill>
                  <a:srgbClr val="1C1D1F"/>
                </a:solidFill>
                <a:latin typeface="acumin-pro"/>
              </a:rPr>
              <a:t>? </a:t>
            </a:r>
            <a:endParaRPr lang="en-US" sz="2400" dirty="0"/>
          </a:p>
        </p:txBody>
      </p:sp>
      <p:pic>
        <p:nvPicPr>
          <p:cNvPr id="9" name="New picture">
            <a:extLst>
              <a:ext uri="{FF2B5EF4-FFF2-40B4-BE49-F238E27FC236}">
                <a16:creationId xmlns:a16="http://schemas.microsoft.com/office/drawing/2014/main" id="{D21296A1-FA2B-D553-5F07-911BBD4EBCA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491" y="1730198"/>
            <a:ext cx="5019114" cy="17783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
        <p:nvSpPr>
          <p:cNvPr id="11" name="TextBox 10">
            <a:extLst>
              <a:ext uri="{FF2B5EF4-FFF2-40B4-BE49-F238E27FC236}">
                <a16:creationId xmlns:a16="http://schemas.microsoft.com/office/drawing/2014/main" id="{8C481F9B-0E0D-85B4-A70D-D45F1A77B00F}"/>
              </a:ext>
            </a:extLst>
          </p:cNvPr>
          <p:cNvSpPr txBox="1"/>
          <p:nvPr/>
        </p:nvSpPr>
        <p:spPr>
          <a:xfrm>
            <a:off x="295836" y="789927"/>
            <a:ext cx="4276165" cy="1200329"/>
          </a:xfrm>
          <a:prstGeom prst="rect">
            <a:avLst/>
          </a:prstGeom>
          <a:noFill/>
        </p:spPr>
        <p:txBody>
          <a:bodyPr wrap="square">
            <a:spAutoFit/>
          </a:bodyPr>
          <a:lstStyle/>
          <a:p>
            <a:pPr algn="ctr" fontAlgn="base"/>
            <a:r>
              <a:rPr lang="en-US" sz="1800" b="1" dirty="0">
                <a:solidFill>
                  <a:srgbClr val="1C1D1F"/>
                </a:solidFill>
                <a:latin typeface="acumin-pro"/>
              </a:rPr>
              <a:t>Five-year follow-up of ZUMA-1 supports the </a:t>
            </a:r>
            <a:r>
              <a:rPr lang="en-US" sz="1800" b="1" dirty="0">
                <a:solidFill>
                  <a:srgbClr val="FF0000"/>
                </a:solidFill>
                <a:latin typeface="acumin-pro"/>
              </a:rPr>
              <a:t>curative</a:t>
            </a:r>
            <a:r>
              <a:rPr lang="en-US" sz="1800" b="1" dirty="0">
                <a:solidFill>
                  <a:srgbClr val="1C1D1F"/>
                </a:solidFill>
                <a:latin typeface="acumin-pro"/>
              </a:rPr>
              <a:t> potential of </a:t>
            </a:r>
            <a:r>
              <a:rPr lang="en-US" sz="1800" b="1" dirty="0" err="1">
                <a:solidFill>
                  <a:srgbClr val="1C1D1F"/>
                </a:solidFill>
                <a:latin typeface="acumin-pro"/>
              </a:rPr>
              <a:t>axicabtagene</a:t>
            </a:r>
            <a:r>
              <a:rPr lang="en-US" sz="1800" b="1" dirty="0">
                <a:solidFill>
                  <a:srgbClr val="1C1D1F"/>
                </a:solidFill>
                <a:latin typeface="acumin-pro"/>
              </a:rPr>
              <a:t> </a:t>
            </a:r>
            <a:r>
              <a:rPr lang="en-US" sz="1800" b="1" dirty="0" err="1">
                <a:solidFill>
                  <a:srgbClr val="1C1D1F"/>
                </a:solidFill>
                <a:latin typeface="acumin-pro"/>
              </a:rPr>
              <a:t>ciloleucel</a:t>
            </a:r>
            <a:r>
              <a:rPr lang="en-US" sz="1800" b="1" dirty="0">
                <a:solidFill>
                  <a:srgbClr val="1C1D1F"/>
                </a:solidFill>
                <a:latin typeface="acumin-pro"/>
              </a:rPr>
              <a:t> in refractory large B-cell lymphoma</a:t>
            </a:r>
          </a:p>
        </p:txBody>
      </p:sp>
      <p:sp>
        <p:nvSpPr>
          <p:cNvPr id="13" name="TextBox 12">
            <a:extLst>
              <a:ext uri="{FF2B5EF4-FFF2-40B4-BE49-F238E27FC236}">
                <a16:creationId xmlns:a16="http://schemas.microsoft.com/office/drawing/2014/main" id="{6B351BD5-F5BC-3DB3-2036-9BA4D777A148}"/>
              </a:ext>
            </a:extLst>
          </p:cNvPr>
          <p:cNvSpPr txBox="1"/>
          <p:nvPr/>
        </p:nvSpPr>
        <p:spPr>
          <a:xfrm>
            <a:off x="97492" y="3687095"/>
            <a:ext cx="5316656" cy="830997"/>
          </a:xfrm>
          <a:prstGeom prst="rect">
            <a:avLst/>
          </a:prstGeom>
          <a:noFill/>
        </p:spPr>
        <p:txBody>
          <a:bodyPr wrap="square">
            <a:spAutoFit/>
          </a:bodyPr>
          <a:lstStyle/>
          <a:p>
            <a:r>
              <a:rPr lang="en-US" sz="1200" dirty="0">
                <a:solidFill>
                  <a:srgbClr val="1A1A1A"/>
                </a:solidFill>
                <a:latin typeface="acumin-pro"/>
              </a:rPr>
              <a:t>Median OS in patients who received treatment was 25.8 months and the 5-year OS rate was 42.6%.</a:t>
            </a:r>
          </a:p>
          <a:p>
            <a:r>
              <a:rPr lang="en-US" sz="1200" dirty="0">
                <a:solidFill>
                  <a:srgbClr val="1A1A1A"/>
                </a:solidFill>
                <a:latin typeface="acumin-pro"/>
              </a:rPr>
              <a:t>Among those who achieved a CR, median OS was not reached (95% CI, 63.4 months-NE), and the 5-year OS rate was 64.4% (95% CI, 50.8-75.1).</a:t>
            </a:r>
            <a:endParaRPr lang="en-US" sz="1200" dirty="0"/>
          </a:p>
        </p:txBody>
      </p:sp>
      <p:sp>
        <p:nvSpPr>
          <p:cNvPr id="14" name="TextBox 13">
            <a:extLst>
              <a:ext uri="{FF2B5EF4-FFF2-40B4-BE49-F238E27FC236}">
                <a16:creationId xmlns:a16="http://schemas.microsoft.com/office/drawing/2014/main" id="{50454830-400A-6C88-A935-3923F1A3614C}"/>
              </a:ext>
            </a:extLst>
          </p:cNvPr>
          <p:cNvSpPr txBox="1"/>
          <p:nvPr/>
        </p:nvSpPr>
        <p:spPr>
          <a:xfrm>
            <a:off x="458190" y="4872037"/>
            <a:ext cx="1729961" cy="230832"/>
          </a:xfrm>
          <a:prstGeom prst="rect">
            <a:avLst/>
          </a:prstGeom>
          <a:noFill/>
        </p:spPr>
        <p:txBody>
          <a:bodyPr wrap="none" rtlCol="0">
            <a:spAutoFit/>
          </a:bodyPr>
          <a:lstStyle/>
          <a:p>
            <a:r>
              <a:rPr lang="en-US" sz="900" dirty="0" err="1"/>
              <a:t>Neelepa</a:t>
            </a:r>
            <a:r>
              <a:rPr lang="en-US" sz="900" dirty="0"/>
              <a:t> SS et al, Blood, 2023</a:t>
            </a:r>
          </a:p>
        </p:txBody>
      </p:sp>
      <p:sp>
        <p:nvSpPr>
          <p:cNvPr id="16" name="TextBox 15">
            <a:extLst>
              <a:ext uri="{FF2B5EF4-FFF2-40B4-BE49-F238E27FC236}">
                <a16:creationId xmlns:a16="http://schemas.microsoft.com/office/drawing/2014/main" id="{A4311218-B9A7-7A2C-4322-8F839DFCF2F4}"/>
              </a:ext>
            </a:extLst>
          </p:cNvPr>
          <p:cNvSpPr txBox="1"/>
          <p:nvPr/>
        </p:nvSpPr>
        <p:spPr>
          <a:xfrm>
            <a:off x="5634319" y="3687095"/>
            <a:ext cx="3314700" cy="1061829"/>
          </a:xfrm>
          <a:prstGeom prst="rect">
            <a:avLst/>
          </a:prstGeom>
          <a:noFill/>
        </p:spPr>
        <p:txBody>
          <a:bodyPr wrap="square">
            <a:spAutoFit/>
          </a:bodyPr>
          <a:lstStyle/>
          <a:p>
            <a:r>
              <a:rPr lang="en-US" sz="1050" dirty="0"/>
              <a:t>Median DOR in patients with FL was 38.6 months </a:t>
            </a:r>
          </a:p>
          <a:p>
            <a:r>
              <a:rPr lang="en-US" sz="1050" dirty="0"/>
              <a:t>Median DOR was not reached in patients with a </a:t>
            </a:r>
            <a:r>
              <a:rPr lang="en-US" sz="1050" dirty="0" err="1"/>
              <a:t>CRand</a:t>
            </a:r>
            <a:r>
              <a:rPr lang="en-US" sz="1050" dirty="0"/>
              <a:t> was 4.9 months in those with a PR. </a:t>
            </a:r>
          </a:p>
          <a:p>
            <a:r>
              <a:rPr lang="en-US" sz="1050" dirty="0"/>
              <a:t>At data cutoff, 51% (65/127) were in ongoing CR. </a:t>
            </a:r>
          </a:p>
          <a:p>
            <a:r>
              <a:rPr lang="en-US" sz="1050" b="1" dirty="0">
                <a:solidFill>
                  <a:srgbClr val="FF0000"/>
                </a:solidFill>
              </a:rPr>
              <a:t>Among those who achieved a CR (n=100), 65% were in ongoing response at data cutoff</a:t>
            </a:r>
          </a:p>
        </p:txBody>
      </p:sp>
      <p:pic>
        <p:nvPicPr>
          <p:cNvPr id="17" name="Picture 16">
            <a:extLst>
              <a:ext uri="{FF2B5EF4-FFF2-40B4-BE49-F238E27FC236}">
                <a16:creationId xmlns:a16="http://schemas.microsoft.com/office/drawing/2014/main" id="{B1FEF4FC-687D-5805-D756-A1C03FFCCCDF}"/>
              </a:ext>
            </a:extLst>
          </p:cNvPr>
          <p:cNvPicPr>
            <a:picLocks noChangeAspect="1"/>
          </p:cNvPicPr>
          <p:nvPr/>
        </p:nvPicPr>
        <p:blipFill>
          <a:blip r:embed="rId3"/>
          <a:stretch>
            <a:fillRect/>
          </a:stretch>
        </p:blipFill>
        <p:spPr>
          <a:xfrm>
            <a:off x="5748253" y="1650033"/>
            <a:ext cx="2858231" cy="1858538"/>
          </a:xfrm>
          <a:prstGeom prst="rect">
            <a:avLst/>
          </a:prstGeom>
        </p:spPr>
      </p:pic>
      <p:sp>
        <p:nvSpPr>
          <p:cNvPr id="19" name="TextBox 18">
            <a:extLst>
              <a:ext uri="{FF2B5EF4-FFF2-40B4-BE49-F238E27FC236}">
                <a16:creationId xmlns:a16="http://schemas.microsoft.com/office/drawing/2014/main" id="{B89C71F4-4E82-C491-7AEC-19E40F349C7E}"/>
              </a:ext>
            </a:extLst>
          </p:cNvPr>
          <p:cNvSpPr txBox="1"/>
          <p:nvPr/>
        </p:nvSpPr>
        <p:spPr>
          <a:xfrm>
            <a:off x="5198996" y="794398"/>
            <a:ext cx="3460912" cy="1200329"/>
          </a:xfrm>
          <a:prstGeom prst="rect">
            <a:avLst/>
          </a:prstGeom>
          <a:noFill/>
        </p:spPr>
        <p:txBody>
          <a:bodyPr wrap="square">
            <a:spAutoFit/>
          </a:bodyPr>
          <a:lstStyle/>
          <a:p>
            <a:pPr algn="ctr" fontAlgn="base"/>
            <a:r>
              <a:rPr lang="en-US" sz="1800" b="1" dirty="0">
                <a:solidFill>
                  <a:srgbClr val="1C1D1F"/>
                </a:solidFill>
                <a:latin typeface="acumin-pro"/>
              </a:rPr>
              <a:t>Three-Year Follow-Up Analysis of </a:t>
            </a:r>
            <a:r>
              <a:rPr lang="en-US" sz="1800" b="1" dirty="0" err="1">
                <a:solidFill>
                  <a:srgbClr val="1C1D1F"/>
                </a:solidFill>
                <a:latin typeface="acumin-pro"/>
              </a:rPr>
              <a:t>Axicabtagene</a:t>
            </a:r>
            <a:r>
              <a:rPr lang="en-US" sz="1800" b="1" dirty="0">
                <a:solidFill>
                  <a:srgbClr val="1C1D1F"/>
                </a:solidFill>
                <a:latin typeface="acumin-pro"/>
              </a:rPr>
              <a:t> </a:t>
            </a:r>
            <a:r>
              <a:rPr lang="en-US" sz="1800" b="1" dirty="0" err="1">
                <a:solidFill>
                  <a:srgbClr val="1C1D1F"/>
                </a:solidFill>
                <a:latin typeface="acumin-pro"/>
              </a:rPr>
              <a:t>Ciloleucel</a:t>
            </a:r>
            <a:r>
              <a:rPr lang="en-US" sz="1800" b="1" dirty="0">
                <a:solidFill>
                  <a:srgbClr val="1C1D1F"/>
                </a:solidFill>
                <a:latin typeface="acumin-pro"/>
              </a:rPr>
              <a:t> in Relapsed/Refractory Indolent NHL (ZUMA-5)</a:t>
            </a:r>
          </a:p>
        </p:txBody>
      </p:sp>
      <p:sp>
        <p:nvSpPr>
          <p:cNvPr id="20" name="TextBox 19">
            <a:extLst>
              <a:ext uri="{FF2B5EF4-FFF2-40B4-BE49-F238E27FC236}">
                <a16:creationId xmlns:a16="http://schemas.microsoft.com/office/drawing/2014/main" id="{B5D16B05-A82E-9EB4-0C6C-E859211BA243}"/>
              </a:ext>
            </a:extLst>
          </p:cNvPr>
          <p:cNvSpPr txBox="1"/>
          <p:nvPr/>
        </p:nvSpPr>
        <p:spPr>
          <a:xfrm>
            <a:off x="6423148" y="4872037"/>
            <a:ext cx="1729961" cy="230832"/>
          </a:xfrm>
          <a:prstGeom prst="rect">
            <a:avLst/>
          </a:prstGeom>
          <a:noFill/>
        </p:spPr>
        <p:txBody>
          <a:bodyPr wrap="none" rtlCol="0">
            <a:spAutoFit/>
          </a:bodyPr>
          <a:lstStyle/>
          <a:p>
            <a:r>
              <a:rPr lang="en-US" sz="900" dirty="0" err="1"/>
              <a:t>Neelepa</a:t>
            </a:r>
            <a:r>
              <a:rPr lang="en-US" sz="900" dirty="0"/>
              <a:t> SS et al, Blood, 2023</a:t>
            </a:r>
          </a:p>
        </p:txBody>
      </p:sp>
      <p:sp>
        <p:nvSpPr>
          <p:cNvPr id="21" name="TextBox 20">
            <a:extLst>
              <a:ext uri="{FF2B5EF4-FFF2-40B4-BE49-F238E27FC236}">
                <a16:creationId xmlns:a16="http://schemas.microsoft.com/office/drawing/2014/main" id="{DF940D6A-CFC4-B739-A09A-2A12AFD94004}"/>
              </a:ext>
            </a:extLst>
          </p:cNvPr>
          <p:cNvSpPr txBox="1"/>
          <p:nvPr/>
        </p:nvSpPr>
        <p:spPr>
          <a:xfrm>
            <a:off x="7034741" y="1698181"/>
            <a:ext cx="633507" cy="369332"/>
          </a:xfrm>
          <a:prstGeom prst="rect">
            <a:avLst/>
          </a:prstGeom>
          <a:noFill/>
        </p:spPr>
        <p:txBody>
          <a:bodyPr wrap="none" rtlCol="0">
            <a:spAutoFit/>
          </a:bodyPr>
          <a:lstStyle/>
          <a:p>
            <a:r>
              <a:rPr lang="en-US" sz="1800" b="1" dirty="0"/>
              <a:t>PFS</a:t>
            </a:r>
          </a:p>
        </p:txBody>
      </p:sp>
      <p:pic>
        <p:nvPicPr>
          <p:cNvPr id="2" name="Picture 1">
            <a:extLst>
              <a:ext uri="{FF2B5EF4-FFF2-40B4-BE49-F238E27FC236}">
                <a16:creationId xmlns:a16="http://schemas.microsoft.com/office/drawing/2014/main" id="{CC4B4278-5C9F-472F-5C5A-5A28150300D2}"/>
              </a:ext>
            </a:extLst>
          </p:cNvPr>
          <p:cNvPicPr/>
          <p:nvPr/>
        </p:nvPicPr>
        <p:blipFill>
          <a:blip r:embed="rId4"/>
          <a:stretch>
            <a:fillRect/>
          </a:stretch>
        </p:blipFill>
        <p:spPr>
          <a:xfrm>
            <a:off x="0" y="2381"/>
            <a:ext cx="9144000" cy="5143500"/>
          </a:xfrm>
          <a:prstGeom prst="rect">
            <a:avLst/>
          </a:prstGeom>
        </p:spPr>
      </p:pic>
    </p:spTree>
    <p:extLst>
      <p:ext uri="{BB962C8B-B14F-4D97-AF65-F5344CB8AC3E}">
        <p14:creationId xmlns:p14="http://schemas.microsoft.com/office/powerpoint/2010/main" val="281244845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E6C3C229-3A22-FD39-697B-EFB721F443E3}"/>
              </a:ext>
            </a:extLst>
          </p:cNvPr>
          <p:cNvSpPr>
            <a:spLocks noGrp="1"/>
          </p:cNvSpPr>
          <p:nvPr>
            <p:ph type="title"/>
          </p:nvPr>
        </p:nvSpPr>
        <p:spPr/>
        <p:txBody>
          <a:bodyPr/>
          <a:lstStyle/>
          <a:p>
            <a:r>
              <a:rPr lang="en-US"/>
              <a:t>Number of Autologous HCTs in the U.S. by Selected Disease</a:t>
            </a:r>
            <a:endParaRPr lang="en-US" dirty="0"/>
          </a:p>
        </p:txBody>
      </p:sp>
      <p:pic>
        <p:nvPicPr>
          <p:cNvPr id="3" name="Picture 2">
            <a:extLst>
              <a:ext uri="{FF2B5EF4-FFF2-40B4-BE49-F238E27FC236}">
                <a16:creationId xmlns:a16="http://schemas.microsoft.com/office/drawing/2014/main" id="{2634B5C1-6FBF-03E8-F742-41F8582F3830}"/>
              </a:ext>
            </a:extLst>
          </p:cNvPr>
          <p:cNvPicPr/>
          <p:nvPr/>
        </p:nvPicPr>
        <p:blipFill>
          <a:blip r:embed="rId3"/>
          <a:stretch>
            <a:fillRect/>
          </a:stretch>
        </p:blipFill>
        <p:spPr>
          <a:xfrm>
            <a:off x="0" y="2381"/>
            <a:ext cx="9144000" cy="5143500"/>
          </a:xfrm>
          <a:prstGeom prst="rect">
            <a:avLst/>
          </a:prstGeom>
        </p:spPr>
      </p:pic>
    </p:spTree>
    <p:extLst>
      <p:ext uri="{BB962C8B-B14F-4D97-AF65-F5344CB8AC3E}">
        <p14:creationId xmlns:p14="http://schemas.microsoft.com/office/powerpoint/2010/main" val="185348534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266DC6F8-0050-6138-FEFC-992A0D513E96}"/>
              </a:ext>
            </a:extLst>
          </p:cNvPr>
          <p:cNvSpPr>
            <a:spLocks noGrp="1"/>
          </p:cNvSpPr>
          <p:nvPr>
            <p:ph type="title"/>
          </p:nvPr>
        </p:nvSpPr>
        <p:spPr/>
        <p:txBody>
          <a:bodyPr/>
          <a:lstStyle/>
          <a:p>
            <a:r>
              <a:rPr lang="en-US" sz="2100"/>
              <a:t>Number of Autologous HCTs for </a:t>
            </a:r>
            <a:r>
              <a:rPr lang="en-US"/>
              <a:t>Diffuse Large B-Cell Lymphoma (DLBCL) </a:t>
            </a:r>
            <a:r>
              <a:rPr lang="en-US" sz="2100"/>
              <a:t>in the U.S.</a:t>
            </a:r>
            <a:endParaRPr lang="en-US" sz="2100" dirty="0"/>
          </a:p>
        </p:txBody>
      </p:sp>
      <p:pic>
        <p:nvPicPr>
          <p:cNvPr id="3" name="Picture 2">
            <a:extLst>
              <a:ext uri="{FF2B5EF4-FFF2-40B4-BE49-F238E27FC236}">
                <a16:creationId xmlns:a16="http://schemas.microsoft.com/office/drawing/2014/main" id="{B6D5A461-033E-893B-4BCB-26548BD4A9EF}"/>
              </a:ext>
            </a:extLst>
          </p:cNvPr>
          <p:cNvPicPr/>
          <p:nvPr/>
        </p:nvPicPr>
        <p:blipFill>
          <a:blip r:embed="rId3"/>
          <a:stretch>
            <a:fillRect/>
          </a:stretch>
        </p:blipFill>
        <p:spPr>
          <a:xfrm>
            <a:off x="0" y="2381"/>
            <a:ext cx="9144000" cy="5143500"/>
          </a:xfrm>
          <a:prstGeom prst="rect">
            <a:avLst/>
          </a:prstGeom>
        </p:spPr>
      </p:pic>
    </p:spTree>
    <p:extLst>
      <p:ext uri="{BB962C8B-B14F-4D97-AF65-F5344CB8AC3E}">
        <p14:creationId xmlns:p14="http://schemas.microsoft.com/office/powerpoint/2010/main" val="347310138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F70E2D-27D4-1C85-F189-460C9756107F}"/>
              </a:ext>
            </a:extLst>
          </p:cNvPr>
          <p:cNvSpPr>
            <a:spLocks noGrp="1"/>
          </p:cNvSpPr>
          <p:nvPr>
            <p:ph type="title"/>
          </p:nvPr>
        </p:nvSpPr>
        <p:spPr>
          <a:xfrm>
            <a:off x="628650" y="130841"/>
            <a:ext cx="7886700" cy="524049"/>
          </a:xfrm>
        </p:spPr>
        <p:txBody>
          <a:bodyPr>
            <a:normAutofit fontScale="90000"/>
          </a:bodyPr>
          <a:lstStyle/>
          <a:p>
            <a:pPr algn="ctr"/>
            <a:r>
              <a:rPr lang="en-US" b="1" i="0" u="none" strike="noStrike" dirty="0">
                <a:solidFill>
                  <a:srgbClr val="222222"/>
                </a:solidFill>
                <a:effectLst/>
                <a:latin typeface="Harding"/>
              </a:rPr>
              <a:t>FDA-approved CAR T cell therapies</a:t>
            </a:r>
            <a:endParaRPr lang="en-US" dirty="0"/>
          </a:p>
        </p:txBody>
      </p:sp>
      <p:pic>
        <p:nvPicPr>
          <p:cNvPr id="1026" name="Picture 2" descr="Fig. 1">
            <a:extLst>
              <a:ext uri="{FF2B5EF4-FFF2-40B4-BE49-F238E27FC236}">
                <a16:creationId xmlns:a16="http://schemas.microsoft.com/office/drawing/2014/main" id="{BCB4278E-5FC8-FED4-78F0-BB304E4194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6524" y="714815"/>
            <a:ext cx="6689677" cy="3552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399250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5E778C-0A61-C91C-7296-08B8B8EDE1A9}"/>
              </a:ext>
            </a:extLst>
          </p:cNvPr>
          <p:cNvSpPr>
            <a:spLocks noGrp="1"/>
          </p:cNvSpPr>
          <p:nvPr>
            <p:ph type="title"/>
          </p:nvPr>
        </p:nvSpPr>
        <p:spPr>
          <a:xfrm>
            <a:off x="287852" y="108342"/>
            <a:ext cx="8671693" cy="521414"/>
          </a:xfrm>
        </p:spPr>
        <p:txBody>
          <a:bodyPr>
            <a:noAutofit/>
          </a:bodyPr>
          <a:lstStyle/>
          <a:p>
            <a:pPr algn="ctr"/>
            <a:r>
              <a:rPr lang="en-US" sz="2400" b="1" dirty="0">
                <a:latin typeface="+mn-lt"/>
              </a:rPr>
              <a:t>Pivotal Phase </a:t>
            </a:r>
            <a:r>
              <a:rPr lang="en-US" sz="2400" i="1" dirty="0">
                <a:latin typeface="+mn-lt"/>
              </a:rPr>
              <a:t>2</a:t>
            </a:r>
            <a:r>
              <a:rPr lang="en-US" sz="2400" b="1" dirty="0">
                <a:latin typeface="+mn-lt"/>
              </a:rPr>
              <a:t> and 3: CD19‐CAR T vs Auto SCT in Refractory DLBCL</a:t>
            </a:r>
          </a:p>
        </p:txBody>
      </p:sp>
      <p:sp>
        <p:nvSpPr>
          <p:cNvPr id="4" name="Content Placeholder 3">
            <a:extLst>
              <a:ext uri="{FF2B5EF4-FFF2-40B4-BE49-F238E27FC236}">
                <a16:creationId xmlns:a16="http://schemas.microsoft.com/office/drawing/2014/main" id="{D04DCAE1-047E-8051-5FD7-A7843DC6C153}"/>
              </a:ext>
            </a:extLst>
          </p:cNvPr>
          <p:cNvSpPr>
            <a:spLocks noGrp="1"/>
          </p:cNvSpPr>
          <p:nvPr>
            <p:ph idx="1"/>
          </p:nvPr>
        </p:nvSpPr>
        <p:spPr>
          <a:xfrm>
            <a:off x="257453" y="864172"/>
            <a:ext cx="8792859" cy="3883433"/>
          </a:xfrm>
        </p:spPr>
        <p:txBody>
          <a:bodyPr>
            <a:noAutofit/>
          </a:bodyPr>
          <a:lstStyle/>
          <a:p>
            <a:pPr marL="0" indent="0">
              <a:buNone/>
            </a:pPr>
            <a:r>
              <a:rPr lang="en-US" sz="1500" dirty="0"/>
              <a:t>Study		Treatment (n)	CR	EFS/PFS 		OS 	     OS (4yr).     CRS (</a:t>
            </a:r>
            <a:r>
              <a:rPr lang="en-US" sz="1500" u="sng" dirty="0"/>
              <a:t>&gt;</a:t>
            </a:r>
            <a:r>
              <a:rPr lang="en-US" sz="1500" dirty="0"/>
              <a:t>3) 	  ICANS (</a:t>
            </a:r>
            <a:r>
              <a:rPr lang="en-US" sz="1500" u="sng" dirty="0"/>
              <a:t>&gt;</a:t>
            </a:r>
            <a:r>
              <a:rPr lang="en-US" sz="1500" dirty="0"/>
              <a:t>3)</a:t>
            </a:r>
          </a:p>
          <a:p>
            <a:pPr marL="0" indent="0">
              <a:buNone/>
            </a:pPr>
            <a:endParaRPr lang="en-US" sz="750" dirty="0"/>
          </a:p>
          <a:p>
            <a:pPr marL="0" indent="0">
              <a:buNone/>
            </a:pPr>
            <a:r>
              <a:rPr lang="en-US" sz="1650" b="1" dirty="0"/>
              <a:t>ZUMA-7	</a:t>
            </a:r>
            <a:r>
              <a:rPr lang="en-US" sz="1650" b="1" dirty="0" err="1"/>
              <a:t>Axi-cel</a:t>
            </a:r>
            <a:r>
              <a:rPr lang="en-US" sz="1650" b="1" dirty="0"/>
              <a:t> (180)	65%	8.3 (</a:t>
            </a:r>
            <a:r>
              <a:rPr lang="en-US" sz="1650" b="1" dirty="0" err="1"/>
              <a:t>mo</a:t>
            </a:r>
            <a:r>
              <a:rPr lang="en-US" sz="1650" b="1" dirty="0"/>
              <a:t>)	61% (2yr)    56%	 (6%)  	21%</a:t>
            </a:r>
            <a:r>
              <a:rPr lang="en-US" sz="1500" b="1" dirty="0"/>
              <a:t>	</a:t>
            </a:r>
          </a:p>
          <a:p>
            <a:pPr marL="0" indent="0">
              <a:buNone/>
            </a:pPr>
            <a:r>
              <a:rPr lang="en-US" sz="1500" b="1" dirty="0"/>
              <a:t>		</a:t>
            </a:r>
            <a:r>
              <a:rPr lang="en-US" sz="1500" dirty="0" err="1">
                <a:solidFill>
                  <a:schemeClr val="bg1">
                    <a:lumMod val="50000"/>
                  </a:schemeClr>
                </a:solidFill>
              </a:rPr>
              <a:t>AutoSCT</a:t>
            </a:r>
            <a:r>
              <a:rPr lang="en-US" sz="1500" dirty="0">
                <a:solidFill>
                  <a:schemeClr val="bg1">
                    <a:lumMod val="50000"/>
                  </a:schemeClr>
                </a:solidFill>
              </a:rPr>
              <a:t> (179)	32%	2.0 (</a:t>
            </a:r>
            <a:r>
              <a:rPr lang="en-US" sz="1500" dirty="0" err="1">
                <a:solidFill>
                  <a:schemeClr val="bg1">
                    <a:lumMod val="50000"/>
                  </a:schemeClr>
                </a:solidFill>
              </a:rPr>
              <a:t>mo</a:t>
            </a:r>
            <a:r>
              <a:rPr lang="en-US" sz="1500" dirty="0">
                <a:solidFill>
                  <a:schemeClr val="bg1">
                    <a:lumMod val="50000"/>
                  </a:schemeClr>
                </a:solidFill>
              </a:rPr>
              <a:t>)		52%	        46%	</a:t>
            </a:r>
          </a:p>
          <a:p>
            <a:pPr marL="0" indent="0">
              <a:buNone/>
            </a:pPr>
            <a:r>
              <a:rPr lang="en-US" sz="1500" i="1" dirty="0"/>
              <a:t>ZUMA-1		</a:t>
            </a:r>
            <a:r>
              <a:rPr lang="en-US" sz="1500" i="1" dirty="0" err="1"/>
              <a:t>Axi-cel</a:t>
            </a:r>
            <a:r>
              <a:rPr lang="en-US" sz="1500" i="1" dirty="0"/>
              <a:t> (101)	54%	5.9 (</a:t>
            </a:r>
            <a:r>
              <a:rPr lang="en-US" sz="1500" i="1" dirty="0" err="1"/>
              <a:t>mo</a:t>
            </a:r>
            <a:r>
              <a:rPr lang="en-US" sz="1500" i="1" dirty="0"/>
              <a:t>)		50%		          92%(10%)     67% (32%)</a:t>
            </a:r>
          </a:p>
          <a:p>
            <a:pPr marL="0" indent="0">
              <a:buNone/>
            </a:pPr>
            <a:r>
              <a:rPr lang="en-US" sz="1500" dirty="0"/>
              <a:t>	</a:t>
            </a:r>
          </a:p>
          <a:p>
            <a:pPr marL="0" indent="0">
              <a:buNone/>
            </a:pPr>
            <a:r>
              <a:rPr lang="en-US" sz="1650" b="1" dirty="0"/>
              <a:t>TRANSFORM 	</a:t>
            </a:r>
            <a:r>
              <a:rPr lang="en-US" sz="1650" b="1" dirty="0" err="1"/>
              <a:t>Liso-cel</a:t>
            </a:r>
            <a:r>
              <a:rPr lang="en-US" sz="1650" b="1" dirty="0"/>
              <a:t> (92)	74%	NR		73% (18mo)		1%	4%</a:t>
            </a:r>
          </a:p>
          <a:p>
            <a:pPr marL="0" indent="0">
              <a:buNone/>
            </a:pPr>
            <a:r>
              <a:rPr lang="en-US" sz="1500" dirty="0"/>
              <a:t>		</a:t>
            </a:r>
            <a:r>
              <a:rPr lang="en-US" sz="1500" dirty="0" err="1">
                <a:solidFill>
                  <a:schemeClr val="bg1">
                    <a:lumMod val="50000"/>
                  </a:schemeClr>
                </a:solidFill>
              </a:rPr>
              <a:t>AutoSCT</a:t>
            </a:r>
            <a:r>
              <a:rPr lang="en-US" sz="1500" dirty="0">
                <a:solidFill>
                  <a:schemeClr val="bg1">
                    <a:lumMod val="50000"/>
                  </a:schemeClr>
                </a:solidFill>
              </a:rPr>
              <a:t> (92)	43%	2.4 (</a:t>
            </a:r>
            <a:r>
              <a:rPr lang="en-US" sz="1500" dirty="0" err="1">
                <a:solidFill>
                  <a:schemeClr val="bg1">
                    <a:lumMod val="50000"/>
                  </a:schemeClr>
                </a:solidFill>
              </a:rPr>
              <a:t>mo</a:t>
            </a:r>
            <a:r>
              <a:rPr lang="en-US" sz="1500" dirty="0">
                <a:solidFill>
                  <a:schemeClr val="bg1">
                    <a:lumMod val="50000"/>
                  </a:schemeClr>
                </a:solidFill>
              </a:rPr>
              <a:t>)		54%</a:t>
            </a:r>
          </a:p>
          <a:p>
            <a:pPr marL="0" indent="0">
              <a:buNone/>
            </a:pPr>
            <a:r>
              <a:rPr lang="en-US" sz="1500" i="1" dirty="0"/>
              <a:t>TRANSCEND	</a:t>
            </a:r>
            <a:r>
              <a:rPr lang="en-US" sz="1500" i="1" dirty="0" err="1"/>
              <a:t>Liso-cel</a:t>
            </a:r>
            <a:r>
              <a:rPr lang="en-US" sz="1500" i="1" dirty="0"/>
              <a:t> (256)	53%	42%		45%		         42% (2%) 	30% (10%)</a:t>
            </a:r>
          </a:p>
          <a:p>
            <a:pPr marL="0" indent="0">
              <a:buNone/>
            </a:pPr>
            <a:endParaRPr lang="en-US" sz="1500" dirty="0"/>
          </a:p>
          <a:p>
            <a:pPr marL="0" indent="0">
              <a:buNone/>
            </a:pPr>
            <a:r>
              <a:rPr lang="en-US" sz="1650" b="1" dirty="0"/>
              <a:t>BELINDA	Tisa-</a:t>
            </a:r>
            <a:r>
              <a:rPr lang="en-US" sz="1650" b="1" dirty="0" err="1"/>
              <a:t>cel</a:t>
            </a:r>
            <a:r>
              <a:rPr lang="en-US" sz="1650" b="1" dirty="0"/>
              <a:t> (162)	28%	3 (</a:t>
            </a:r>
            <a:r>
              <a:rPr lang="en-US" sz="1650" b="1" dirty="0" err="1"/>
              <a:t>mo</a:t>
            </a:r>
            <a:r>
              <a:rPr lang="en-US" sz="1650" b="1" dirty="0"/>
              <a:t>)		16.9 (</a:t>
            </a:r>
            <a:r>
              <a:rPr lang="en-US" sz="1650" b="1" dirty="0" err="1"/>
              <a:t>mo</a:t>
            </a:r>
            <a:r>
              <a:rPr lang="en-US" sz="1650" b="1" dirty="0"/>
              <a:t>)		5%	2%</a:t>
            </a:r>
          </a:p>
          <a:p>
            <a:pPr marL="0" indent="0">
              <a:buNone/>
            </a:pPr>
            <a:r>
              <a:rPr lang="en-US" sz="1500" dirty="0"/>
              <a:t>		</a:t>
            </a:r>
            <a:r>
              <a:rPr lang="en-US" sz="1500" dirty="0" err="1">
                <a:solidFill>
                  <a:schemeClr val="bg1">
                    <a:lumMod val="50000"/>
                  </a:schemeClr>
                </a:solidFill>
              </a:rPr>
              <a:t>AutoSCT</a:t>
            </a:r>
            <a:r>
              <a:rPr lang="en-US" sz="1500" dirty="0">
                <a:solidFill>
                  <a:schemeClr val="bg1">
                    <a:lumMod val="50000"/>
                  </a:schemeClr>
                </a:solidFill>
              </a:rPr>
              <a:t>	(160)	28%	3 (</a:t>
            </a:r>
            <a:r>
              <a:rPr lang="en-US" sz="1500" dirty="0" err="1">
                <a:solidFill>
                  <a:schemeClr val="bg1">
                    <a:lumMod val="50000"/>
                  </a:schemeClr>
                </a:solidFill>
              </a:rPr>
              <a:t>mo</a:t>
            </a:r>
            <a:r>
              <a:rPr lang="en-US" sz="1500" dirty="0">
                <a:solidFill>
                  <a:schemeClr val="bg1">
                    <a:lumMod val="50000"/>
                  </a:schemeClr>
                </a:solidFill>
              </a:rPr>
              <a:t>)		15.3 (</a:t>
            </a:r>
            <a:r>
              <a:rPr lang="en-US" sz="1500" dirty="0" err="1">
                <a:solidFill>
                  <a:schemeClr val="bg1">
                    <a:lumMod val="50000"/>
                  </a:schemeClr>
                </a:solidFill>
              </a:rPr>
              <a:t>mo</a:t>
            </a:r>
            <a:r>
              <a:rPr lang="en-US" sz="1500" dirty="0">
                <a:solidFill>
                  <a:schemeClr val="bg1">
                    <a:lumMod val="50000"/>
                  </a:schemeClr>
                </a:solidFill>
              </a:rPr>
              <a:t>)</a:t>
            </a:r>
          </a:p>
          <a:p>
            <a:pPr marL="0" indent="0">
              <a:buNone/>
            </a:pPr>
            <a:r>
              <a:rPr lang="en-US" sz="1500" i="1" dirty="0"/>
              <a:t>JULIET		Tisa-</a:t>
            </a:r>
            <a:r>
              <a:rPr lang="en-US" sz="1500" i="1" dirty="0" err="1"/>
              <a:t>cel</a:t>
            </a:r>
            <a:r>
              <a:rPr lang="en-US" sz="1500" i="1" dirty="0"/>
              <a:t> (115)	40%	NA		40%		       58% (22%)	21% (11%)</a:t>
            </a:r>
          </a:p>
        </p:txBody>
      </p:sp>
      <p:sp>
        <p:nvSpPr>
          <p:cNvPr id="5" name="TextBox 4">
            <a:extLst>
              <a:ext uri="{FF2B5EF4-FFF2-40B4-BE49-F238E27FC236}">
                <a16:creationId xmlns:a16="http://schemas.microsoft.com/office/drawing/2014/main" id="{467C8CAE-5654-62E4-6CD4-B75D84F19949}"/>
              </a:ext>
            </a:extLst>
          </p:cNvPr>
          <p:cNvSpPr txBox="1"/>
          <p:nvPr/>
        </p:nvSpPr>
        <p:spPr>
          <a:xfrm>
            <a:off x="747164" y="4871235"/>
            <a:ext cx="5917004" cy="230832"/>
          </a:xfrm>
          <a:prstGeom prst="rect">
            <a:avLst/>
          </a:prstGeom>
          <a:noFill/>
        </p:spPr>
        <p:txBody>
          <a:bodyPr wrap="none" rtlCol="0">
            <a:spAutoFit/>
          </a:bodyPr>
          <a:lstStyle/>
          <a:p>
            <a:pPr defTabSz="685800" fontAlgn="auto">
              <a:spcBef>
                <a:spcPts val="0"/>
              </a:spcBef>
              <a:spcAft>
                <a:spcPts val="0"/>
              </a:spcAft>
            </a:pPr>
            <a:r>
              <a:rPr lang="en-US" sz="900" dirty="0">
                <a:solidFill>
                  <a:prstClr val="black"/>
                </a:solidFill>
                <a:latin typeface="Calibri" panose="020F0502020204030204"/>
                <a:ea typeface="+mn-ea"/>
                <a:cs typeface="+mn-cs"/>
              </a:rPr>
              <a:t>Locke FL et al, NEJM, 2022; Westin JR et al, NEJM 2023;     </a:t>
            </a:r>
            <a:r>
              <a:rPr lang="en-US" sz="900" dirty="0" err="1">
                <a:solidFill>
                  <a:prstClr val="black"/>
                </a:solidFill>
                <a:latin typeface="Calibri" panose="020F0502020204030204"/>
                <a:ea typeface="+mn-ea"/>
                <a:cs typeface="+mn-cs"/>
              </a:rPr>
              <a:t>Abrasom</a:t>
            </a:r>
            <a:r>
              <a:rPr lang="en-US" sz="900" dirty="0">
                <a:solidFill>
                  <a:prstClr val="black"/>
                </a:solidFill>
                <a:latin typeface="Calibri" panose="020F0502020204030204"/>
                <a:ea typeface="+mn-ea"/>
                <a:cs typeface="+mn-cs"/>
              </a:rPr>
              <a:t> JS et al, Blood, 2023;        Bishop M et al, NEJM, 2023;    </a:t>
            </a:r>
          </a:p>
        </p:txBody>
      </p:sp>
      <p:cxnSp>
        <p:nvCxnSpPr>
          <p:cNvPr id="7" name="Straight Connector 6">
            <a:extLst>
              <a:ext uri="{FF2B5EF4-FFF2-40B4-BE49-F238E27FC236}">
                <a16:creationId xmlns:a16="http://schemas.microsoft.com/office/drawing/2014/main" id="{A52DBF48-FEE3-770C-A46A-5700C9C04E27}"/>
              </a:ext>
            </a:extLst>
          </p:cNvPr>
          <p:cNvCxnSpPr/>
          <p:nvPr/>
        </p:nvCxnSpPr>
        <p:spPr>
          <a:xfrm>
            <a:off x="242887" y="1221360"/>
            <a:ext cx="8643938"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BA46081-6FC4-CCC7-9534-01269C051967}"/>
              </a:ext>
            </a:extLst>
          </p:cNvPr>
          <p:cNvCxnSpPr/>
          <p:nvPr/>
        </p:nvCxnSpPr>
        <p:spPr>
          <a:xfrm>
            <a:off x="257452" y="792735"/>
            <a:ext cx="8643938"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DB3B936-5B1B-1651-7E08-EB082B0A63ED}"/>
              </a:ext>
            </a:extLst>
          </p:cNvPr>
          <p:cNvCxnSpPr/>
          <p:nvPr/>
        </p:nvCxnSpPr>
        <p:spPr>
          <a:xfrm>
            <a:off x="257452" y="4747605"/>
            <a:ext cx="8643938"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B4DF7D39-EECF-2E59-5564-0B2200FF015E}"/>
              </a:ext>
            </a:extLst>
          </p:cNvPr>
          <p:cNvCxnSpPr/>
          <p:nvPr/>
        </p:nvCxnSpPr>
        <p:spPr>
          <a:xfrm>
            <a:off x="6888256" y="6297987"/>
            <a:ext cx="685800" cy="68580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039186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32CFE-671E-5003-C7BF-DA332F11A125}"/>
              </a:ext>
            </a:extLst>
          </p:cNvPr>
          <p:cNvSpPr>
            <a:spLocks noGrp="1"/>
          </p:cNvSpPr>
          <p:nvPr>
            <p:ph type="title"/>
          </p:nvPr>
        </p:nvSpPr>
        <p:spPr>
          <a:xfrm>
            <a:off x="223838" y="214593"/>
            <a:ext cx="8696325" cy="405304"/>
          </a:xfrm>
        </p:spPr>
        <p:txBody>
          <a:bodyPr>
            <a:normAutofit fontScale="90000"/>
          </a:bodyPr>
          <a:lstStyle/>
          <a:p>
            <a:pPr algn="ctr"/>
            <a:r>
              <a:rPr lang="en-US" sz="2700" b="1" dirty="0">
                <a:latin typeface="+mn-lt"/>
              </a:rPr>
              <a:t>CD19‐CAR T  for in relapsed/refractory Follicular Lymphoma</a:t>
            </a:r>
            <a:br>
              <a:rPr lang="en-US" sz="2700" b="1" dirty="0">
                <a:latin typeface="+mn-lt"/>
              </a:rPr>
            </a:br>
            <a:r>
              <a:rPr lang="en-US" sz="2700" b="1" dirty="0">
                <a:latin typeface="+mn-lt"/>
              </a:rPr>
              <a:t>Pivotal phase 2 Studies</a:t>
            </a:r>
            <a:endParaRPr lang="en-US" sz="2700" dirty="0"/>
          </a:p>
        </p:txBody>
      </p:sp>
      <p:sp>
        <p:nvSpPr>
          <p:cNvPr id="3" name="Content Placeholder 2">
            <a:extLst>
              <a:ext uri="{FF2B5EF4-FFF2-40B4-BE49-F238E27FC236}">
                <a16:creationId xmlns:a16="http://schemas.microsoft.com/office/drawing/2014/main" id="{B9A3FC45-6AA1-2238-983A-B2165707106A}"/>
              </a:ext>
            </a:extLst>
          </p:cNvPr>
          <p:cNvSpPr>
            <a:spLocks noGrp="1"/>
          </p:cNvSpPr>
          <p:nvPr>
            <p:ph idx="1"/>
          </p:nvPr>
        </p:nvSpPr>
        <p:spPr>
          <a:xfrm>
            <a:off x="400050" y="1404241"/>
            <a:ext cx="8315325" cy="2279276"/>
          </a:xfrm>
        </p:spPr>
        <p:txBody>
          <a:bodyPr>
            <a:normAutofit/>
          </a:bodyPr>
          <a:lstStyle/>
          <a:p>
            <a:pPr marL="0" indent="0">
              <a:buNone/>
            </a:pPr>
            <a:r>
              <a:rPr lang="en-US" sz="1650" dirty="0"/>
              <a:t>Study (n)	Treatment	CR	DOR	EFS/PFS	 	CRS (</a:t>
            </a:r>
            <a:r>
              <a:rPr lang="en-US" sz="1650" u="sng" dirty="0"/>
              <a:t>&gt;</a:t>
            </a:r>
            <a:r>
              <a:rPr lang="en-US" sz="1650" dirty="0"/>
              <a:t>3) 	ICANS (</a:t>
            </a:r>
            <a:r>
              <a:rPr lang="en-US" sz="1650" u="sng" dirty="0"/>
              <a:t>&gt;</a:t>
            </a:r>
            <a:r>
              <a:rPr lang="en-US" sz="1650" dirty="0"/>
              <a:t>3)</a:t>
            </a:r>
          </a:p>
          <a:p>
            <a:pPr marL="0" indent="0">
              <a:buNone/>
            </a:pPr>
            <a:endParaRPr lang="en-US" sz="750" dirty="0"/>
          </a:p>
          <a:p>
            <a:pPr marL="0" indent="0">
              <a:buNone/>
            </a:pPr>
            <a:r>
              <a:rPr lang="en-US" sz="1800" b="1" dirty="0"/>
              <a:t>ZUMA-5 (84)	</a:t>
            </a:r>
            <a:r>
              <a:rPr lang="en-US" sz="1800" b="1" dirty="0" err="1"/>
              <a:t>Axi-cel</a:t>
            </a:r>
            <a:r>
              <a:rPr lang="en-US" sz="1800" b="1" dirty="0"/>
              <a:t>		62%		</a:t>
            </a:r>
            <a:r>
              <a:rPr lang="en-US" sz="1800" b="1" dirty="0" err="1"/>
              <a:t>na</a:t>
            </a:r>
            <a:r>
              <a:rPr lang="en-US" sz="1800" b="1" dirty="0"/>
              <a:t>		84% (8%)	77% (21%)</a:t>
            </a:r>
          </a:p>
          <a:p>
            <a:pPr marL="0" indent="0">
              <a:buNone/>
            </a:pPr>
            <a:endParaRPr lang="en-US" sz="750" dirty="0"/>
          </a:p>
          <a:p>
            <a:pPr marL="0" indent="0">
              <a:buNone/>
            </a:pPr>
            <a:r>
              <a:rPr lang="en-US" sz="1650" dirty="0"/>
              <a:t>TRANSCEND	</a:t>
            </a:r>
            <a:r>
              <a:rPr lang="en-US" sz="1650" dirty="0" err="1"/>
              <a:t>Liso-cel</a:t>
            </a:r>
            <a:r>
              <a:rPr lang="en-US" sz="1650" dirty="0"/>
              <a:t>		94%	81.9%	80.7% (12mo)	58% (1%)	15% (2%)</a:t>
            </a:r>
          </a:p>
          <a:p>
            <a:pPr marL="0" indent="0">
              <a:buNone/>
            </a:pPr>
            <a:r>
              <a:rPr lang="en-US" sz="1650" dirty="0"/>
              <a:t>  -FL (101)		</a:t>
            </a:r>
          </a:p>
          <a:p>
            <a:pPr marL="0" indent="0">
              <a:buNone/>
            </a:pPr>
            <a:endParaRPr lang="en-US" sz="750" dirty="0"/>
          </a:p>
          <a:p>
            <a:pPr marL="0" indent="0">
              <a:buNone/>
            </a:pPr>
            <a:r>
              <a:rPr lang="en-US" sz="1650" dirty="0"/>
              <a:t>ELARA (97)	Tisa-</a:t>
            </a:r>
            <a:r>
              <a:rPr lang="en-US" sz="1650" dirty="0" err="1"/>
              <a:t>cel</a:t>
            </a:r>
            <a:r>
              <a:rPr lang="en-US" sz="1650" dirty="0"/>
              <a:t>		69.1%		</a:t>
            </a:r>
            <a:r>
              <a:rPr lang="en-US" sz="1650" dirty="0" err="1"/>
              <a:t>na</a:t>
            </a:r>
            <a:r>
              <a:rPr lang="en-US" sz="1650" dirty="0"/>
              <a:t>		48.5% (0%)	37.1% (3%)</a:t>
            </a:r>
          </a:p>
        </p:txBody>
      </p:sp>
      <p:sp>
        <p:nvSpPr>
          <p:cNvPr id="4" name="TextBox 3">
            <a:extLst>
              <a:ext uri="{FF2B5EF4-FFF2-40B4-BE49-F238E27FC236}">
                <a16:creationId xmlns:a16="http://schemas.microsoft.com/office/drawing/2014/main" id="{D792056C-24F1-E044-6F9C-9A85B8178EE5}"/>
              </a:ext>
            </a:extLst>
          </p:cNvPr>
          <p:cNvSpPr txBox="1"/>
          <p:nvPr/>
        </p:nvSpPr>
        <p:spPr>
          <a:xfrm>
            <a:off x="223838" y="4437023"/>
            <a:ext cx="2645066" cy="577081"/>
          </a:xfrm>
          <a:prstGeom prst="rect">
            <a:avLst/>
          </a:prstGeom>
          <a:noFill/>
        </p:spPr>
        <p:txBody>
          <a:bodyPr wrap="square" rtlCol="0">
            <a:spAutoFit/>
          </a:bodyPr>
          <a:lstStyle/>
          <a:p>
            <a:pPr defTabSz="685800" fontAlgn="auto">
              <a:spcBef>
                <a:spcPts val="0"/>
              </a:spcBef>
              <a:spcAft>
                <a:spcPts val="0"/>
              </a:spcAft>
            </a:pPr>
            <a:r>
              <a:rPr lang="en-US" sz="1050" dirty="0">
                <a:solidFill>
                  <a:prstClr val="black"/>
                </a:solidFill>
                <a:latin typeface="Calibri" panose="020F0502020204030204"/>
                <a:ea typeface="+mn-ea"/>
                <a:cs typeface="+mn-cs"/>
              </a:rPr>
              <a:t>Jacobson CA et al, </a:t>
            </a:r>
            <a:r>
              <a:rPr lang="en-US" sz="1050" i="1" dirty="0">
                <a:solidFill>
                  <a:prstClr val="black"/>
                </a:solidFill>
                <a:latin typeface="Calibri" panose="020F0502020204030204"/>
                <a:ea typeface="+mn-ea"/>
                <a:cs typeface="+mn-cs"/>
              </a:rPr>
              <a:t>Lancet </a:t>
            </a:r>
            <a:r>
              <a:rPr lang="en-US" sz="1050" i="1" dirty="0" err="1">
                <a:solidFill>
                  <a:prstClr val="black"/>
                </a:solidFill>
                <a:latin typeface="Calibri" panose="020F0502020204030204"/>
                <a:ea typeface="+mn-ea"/>
                <a:cs typeface="+mn-cs"/>
              </a:rPr>
              <a:t>Onc</a:t>
            </a:r>
            <a:r>
              <a:rPr lang="en-US" sz="1050" dirty="0">
                <a:solidFill>
                  <a:prstClr val="black"/>
                </a:solidFill>
                <a:latin typeface="Calibri" panose="020F0502020204030204"/>
                <a:ea typeface="+mn-ea"/>
                <a:cs typeface="+mn-cs"/>
              </a:rPr>
              <a:t>, 2022</a:t>
            </a:r>
          </a:p>
          <a:p>
            <a:pPr defTabSz="685800" fontAlgn="auto">
              <a:spcBef>
                <a:spcPts val="0"/>
              </a:spcBef>
              <a:spcAft>
                <a:spcPts val="0"/>
              </a:spcAft>
            </a:pPr>
            <a:r>
              <a:rPr lang="en-US" sz="1050" dirty="0" err="1">
                <a:solidFill>
                  <a:srgbClr val="000000"/>
                </a:solidFill>
                <a:latin typeface="ui-sans-serif"/>
                <a:ea typeface="+mn-ea"/>
                <a:cs typeface="+mn-cs"/>
              </a:rPr>
              <a:t>Morschhauser</a:t>
            </a:r>
            <a:r>
              <a:rPr lang="en-US" sz="1050" dirty="0">
                <a:solidFill>
                  <a:srgbClr val="000000"/>
                </a:solidFill>
                <a:latin typeface="ui-sans-serif"/>
                <a:ea typeface="+mn-ea"/>
                <a:cs typeface="+mn-cs"/>
              </a:rPr>
              <a:t> F et al, </a:t>
            </a:r>
            <a:r>
              <a:rPr lang="en-US" sz="1050" i="1" dirty="0" err="1">
                <a:solidFill>
                  <a:srgbClr val="000000"/>
                </a:solidFill>
                <a:latin typeface="ui-sans-serif"/>
                <a:ea typeface="+mn-ea"/>
                <a:cs typeface="+mn-cs"/>
              </a:rPr>
              <a:t>Hematol</a:t>
            </a:r>
            <a:r>
              <a:rPr lang="en-US" sz="1050" i="1" dirty="0">
                <a:solidFill>
                  <a:srgbClr val="000000"/>
                </a:solidFill>
                <a:latin typeface="ui-sans-serif"/>
                <a:ea typeface="+mn-ea"/>
                <a:cs typeface="+mn-cs"/>
              </a:rPr>
              <a:t> Oncol</a:t>
            </a:r>
            <a:r>
              <a:rPr lang="en-US" sz="1050" dirty="0">
                <a:solidFill>
                  <a:srgbClr val="000000"/>
                </a:solidFill>
                <a:latin typeface="ui-sans-serif"/>
                <a:ea typeface="+mn-ea"/>
                <a:cs typeface="+mn-cs"/>
              </a:rPr>
              <a:t>.  2023 </a:t>
            </a:r>
          </a:p>
          <a:p>
            <a:pPr defTabSz="685800" fontAlgn="auto">
              <a:spcBef>
                <a:spcPts val="0"/>
              </a:spcBef>
              <a:spcAft>
                <a:spcPts val="0"/>
              </a:spcAft>
            </a:pPr>
            <a:r>
              <a:rPr lang="en-US" sz="1050" dirty="0">
                <a:solidFill>
                  <a:prstClr val="black"/>
                </a:solidFill>
                <a:latin typeface="Calibri" panose="020F0502020204030204"/>
                <a:ea typeface="+mn-ea"/>
                <a:cs typeface="+mn-cs"/>
              </a:rPr>
              <a:t>Fowler NH et al, </a:t>
            </a:r>
            <a:r>
              <a:rPr lang="en-US" sz="1050" i="1" dirty="0">
                <a:solidFill>
                  <a:prstClr val="black"/>
                </a:solidFill>
                <a:latin typeface="Calibri" panose="020F0502020204030204"/>
                <a:ea typeface="+mn-ea"/>
                <a:cs typeface="+mn-cs"/>
              </a:rPr>
              <a:t>Nat Med</a:t>
            </a:r>
            <a:r>
              <a:rPr lang="en-US" sz="1050" dirty="0">
                <a:solidFill>
                  <a:prstClr val="black"/>
                </a:solidFill>
                <a:latin typeface="Calibri" panose="020F0502020204030204"/>
                <a:ea typeface="+mn-ea"/>
                <a:cs typeface="+mn-cs"/>
              </a:rPr>
              <a:t>, 2022</a:t>
            </a:r>
          </a:p>
        </p:txBody>
      </p:sp>
      <p:cxnSp>
        <p:nvCxnSpPr>
          <p:cNvPr id="6" name="Straight Connector 5">
            <a:extLst>
              <a:ext uri="{FF2B5EF4-FFF2-40B4-BE49-F238E27FC236}">
                <a16:creationId xmlns:a16="http://schemas.microsoft.com/office/drawing/2014/main" id="{670A330A-2CD6-9872-B71D-ECCA4BD41762}"/>
              </a:ext>
            </a:extLst>
          </p:cNvPr>
          <p:cNvCxnSpPr>
            <a:cxnSpLocks/>
          </p:cNvCxnSpPr>
          <p:nvPr/>
        </p:nvCxnSpPr>
        <p:spPr>
          <a:xfrm>
            <a:off x="400050" y="1293302"/>
            <a:ext cx="7960659"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56BAB89-D6F1-48E4-BD88-CC85923C1C6E}"/>
              </a:ext>
            </a:extLst>
          </p:cNvPr>
          <p:cNvCxnSpPr>
            <a:cxnSpLocks/>
          </p:cNvCxnSpPr>
          <p:nvPr/>
        </p:nvCxnSpPr>
        <p:spPr>
          <a:xfrm>
            <a:off x="403412" y="1750501"/>
            <a:ext cx="7960659"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8168F99-E838-485C-AFBC-AA9AB10C1856}"/>
              </a:ext>
            </a:extLst>
          </p:cNvPr>
          <p:cNvCxnSpPr>
            <a:cxnSpLocks/>
          </p:cNvCxnSpPr>
          <p:nvPr/>
        </p:nvCxnSpPr>
        <p:spPr>
          <a:xfrm>
            <a:off x="400050" y="3649897"/>
            <a:ext cx="7960659"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62206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1407736-42B7-A57C-1A2B-F15ED2BA7AAF}"/>
              </a:ext>
            </a:extLst>
          </p:cNvPr>
          <p:cNvPicPr>
            <a:picLocks noChangeAspect="1"/>
          </p:cNvPicPr>
          <p:nvPr/>
        </p:nvPicPr>
        <p:blipFill rotWithShape="1">
          <a:blip r:embed="rId2"/>
          <a:srcRect l="12605" t="11847" r="8803" b="9154"/>
          <a:stretch/>
        </p:blipFill>
        <p:spPr>
          <a:xfrm>
            <a:off x="244698" y="96591"/>
            <a:ext cx="7186412" cy="4063286"/>
          </a:xfrm>
          <a:prstGeom prst="rect">
            <a:avLst/>
          </a:prstGeom>
        </p:spPr>
      </p:pic>
    </p:spTree>
    <p:extLst>
      <p:ext uri="{BB962C8B-B14F-4D97-AF65-F5344CB8AC3E}">
        <p14:creationId xmlns:p14="http://schemas.microsoft.com/office/powerpoint/2010/main" val="124971267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5E090B-BB2D-2479-C6BD-E17D24F4F2DB}"/>
              </a:ext>
            </a:extLst>
          </p:cNvPr>
          <p:cNvSpPr>
            <a:spLocks noGrp="1"/>
          </p:cNvSpPr>
          <p:nvPr>
            <p:ph type="title"/>
          </p:nvPr>
        </p:nvSpPr>
        <p:spPr>
          <a:xfrm>
            <a:off x="561910" y="208286"/>
            <a:ext cx="7886700" cy="264038"/>
          </a:xfrm>
        </p:spPr>
        <p:txBody>
          <a:bodyPr>
            <a:noAutofit/>
          </a:bodyPr>
          <a:lstStyle/>
          <a:p>
            <a:pPr algn="ctr"/>
            <a:r>
              <a:rPr lang="en-US" sz="2700" b="1" dirty="0">
                <a:solidFill>
                  <a:srgbClr val="1C1D1F"/>
                </a:solidFill>
              </a:rPr>
              <a:t>Is CAR T Therapy Potentially Curative for </a:t>
            </a:r>
            <a:r>
              <a:rPr lang="en-US" sz="2700" b="1" dirty="0" err="1">
                <a:solidFill>
                  <a:srgbClr val="1C1D1F"/>
                </a:solidFill>
              </a:rPr>
              <a:t>rrDLBCL</a:t>
            </a:r>
            <a:r>
              <a:rPr lang="en-US" sz="2700" b="1" dirty="0">
                <a:solidFill>
                  <a:srgbClr val="1C1D1F"/>
                </a:solidFill>
              </a:rPr>
              <a:t>? </a:t>
            </a:r>
            <a:endParaRPr lang="en-US" sz="2700" dirty="0"/>
          </a:p>
        </p:txBody>
      </p:sp>
      <p:pic>
        <p:nvPicPr>
          <p:cNvPr id="9" name="New picture">
            <a:extLst>
              <a:ext uri="{FF2B5EF4-FFF2-40B4-BE49-F238E27FC236}">
                <a16:creationId xmlns:a16="http://schemas.microsoft.com/office/drawing/2014/main" id="{D21296A1-FA2B-D553-5F07-911BBD4EBCA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1" y="1572020"/>
            <a:ext cx="4458871" cy="2007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
        <p:nvSpPr>
          <p:cNvPr id="11" name="TextBox 10">
            <a:extLst>
              <a:ext uri="{FF2B5EF4-FFF2-40B4-BE49-F238E27FC236}">
                <a16:creationId xmlns:a16="http://schemas.microsoft.com/office/drawing/2014/main" id="{8C481F9B-0E0D-85B4-A70D-D45F1A77B00F}"/>
              </a:ext>
            </a:extLst>
          </p:cNvPr>
          <p:cNvSpPr txBox="1"/>
          <p:nvPr/>
        </p:nvSpPr>
        <p:spPr>
          <a:xfrm>
            <a:off x="-69587" y="941201"/>
            <a:ext cx="4276165" cy="738664"/>
          </a:xfrm>
          <a:prstGeom prst="rect">
            <a:avLst/>
          </a:prstGeom>
          <a:noFill/>
        </p:spPr>
        <p:txBody>
          <a:bodyPr wrap="square">
            <a:spAutoFit/>
          </a:bodyPr>
          <a:lstStyle/>
          <a:p>
            <a:pPr algn="ctr" fontAlgn="base"/>
            <a:r>
              <a:rPr lang="en-US" sz="1400" b="1" dirty="0">
                <a:solidFill>
                  <a:srgbClr val="1C1D1F"/>
                </a:solidFill>
                <a:latin typeface="acumin-pro"/>
              </a:rPr>
              <a:t>Five-year follow-up of ZUMA-1 supports the </a:t>
            </a:r>
            <a:r>
              <a:rPr lang="en-US" sz="1400" b="1" dirty="0">
                <a:solidFill>
                  <a:srgbClr val="FF0000"/>
                </a:solidFill>
                <a:latin typeface="acumin-pro"/>
              </a:rPr>
              <a:t>curative</a:t>
            </a:r>
            <a:r>
              <a:rPr lang="en-US" sz="1400" b="1" dirty="0">
                <a:solidFill>
                  <a:srgbClr val="1C1D1F"/>
                </a:solidFill>
                <a:latin typeface="acumin-pro"/>
              </a:rPr>
              <a:t> potential of </a:t>
            </a:r>
            <a:r>
              <a:rPr lang="en-US" sz="1400" b="1" dirty="0" err="1">
                <a:solidFill>
                  <a:srgbClr val="1C1D1F"/>
                </a:solidFill>
                <a:latin typeface="acumin-pro"/>
              </a:rPr>
              <a:t>axicabtagene</a:t>
            </a:r>
            <a:r>
              <a:rPr lang="en-US" sz="1400" b="1" dirty="0">
                <a:solidFill>
                  <a:srgbClr val="1C1D1F"/>
                </a:solidFill>
                <a:latin typeface="acumin-pro"/>
              </a:rPr>
              <a:t> </a:t>
            </a:r>
            <a:r>
              <a:rPr lang="en-US" sz="1400" b="1" dirty="0" err="1">
                <a:solidFill>
                  <a:srgbClr val="1C1D1F"/>
                </a:solidFill>
                <a:latin typeface="acumin-pro"/>
              </a:rPr>
              <a:t>ciloleucel</a:t>
            </a:r>
            <a:r>
              <a:rPr lang="en-US" sz="1400" b="1" dirty="0">
                <a:solidFill>
                  <a:srgbClr val="1C1D1F"/>
                </a:solidFill>
                <a:latin typeface="acumin-pro"/>
              </a:rPr>
              <a:t> in refractory large B-cell lymphoma</a:t>
            </a:r>
          </a:p>
        </p:txBody>
      </p:sp>
      <p:sp>
        <p:nvSpPr>
          <p:cNvPr id="13" name="TextBox 12">
            <a:extLst>
              <a:ext uri="{FF2B5EF4-FFF2-40B4-BE49-F238E27FC236}">
                <a16:creationId xmlns:a16="http://schemas.microsoft.com/office/drawing/2014/main" id="{6B351BD5-F5BC-3DB3-2036-9BA4D777A148}"/>
              </a:ext>
            </a:extLst>
          </p:cNvPr>
          <p:cNvSpPr txBox="1"/>
          <p:nvPr/>
        </p:nvSpPr>
        <p:spPr>
          <a:xfrm>
            <a:off x="0" y="3612510"/>
            <a:ext cx="4458871" cy="1015663"/>
          </a:xfrm>
          <a:prstGeom prst="rect">
            <a:avLst/>
          </a:prstGeom>
          <a:solidFill>
            <a:schemeClr val="bg1"/>
          </a:solidFill>
        </p:spPr>
        <p:txBody>
          <a:bodyPr wrap="square">
            <a:spAutoFit/>
          </a:bodyPr>
          <a:lstStyle/>
          <a:p>
            <a:r>
              <a:rPr lang="en-US" sz="1200" dirty="0">
                <a:solidFill>
                  <a:srgbClr val="1A1A1A"/>
                </a:solidFill>
                <a:latin typeface="acumin-pro"/>
              </a:rPr>
              <a:t>Median OS in patients who received treatment was 25.8 months and the 5-year OS rate was 42.6%.</a:t>
            </a:r>
          </a:p>
          <a:p>
            <a:r>
              <a:rPr lang="en-US" sz="1200" dirty="0">
                <a:solidFill>
                  <a:srgbClr val="1A1A1A"/>
                </a:solidFill>
                <a:latin typeface="acumin-pro"/>
              </a:rPr>
              <a:t>Among those who achieved a CR, median OS was not reached (95% CI, 63.4 months-NE), and the 5-year OS rate was 64.4% (95% CI, 50.8-75.1).</a:t>
            </a:r>
            <a:endParaRPr lang="en-US" sz="1200" dirty="0"/>
          </a:p>
        </p:txBody>
      </p:sp>
      <p:sp>
        <p:nvSpPr>
          <p:cNvPr id="14" name="TextBox 13">
            <a:extLst>
              <a:ext uri="{FF2B5EF4-FFF2-40B4-BE49-F238E27FC236}">
                <a16:creationId xmlns:a16="http://schemas.microsoft.com/office/drawing/2014/main" id="{50454830-400A-6C88-A935-3923F1A3614C}"/>
              </a:ext>
            </a:extLst>
          </p:cNvPr>
          <p:cNvSpPr txBox="1"/>
          <p:nvPr/>
        </p:nvSpPr>
        <p:spPr>
          <a:xfrm>
            <a:off x="24028" y="4978557"/>
            <a:ext cx="1729961" cy="230832"/>
          </a:xfrm>
          <a:prstGeom prst="rect">
            <a:avLst/>
          </a:prstGeom>
          <a:noFill/>
        </p:spPr>
        <p:txBody>
          <a:bodyPr wrap="none" rtlCol="0">
            <a:spAutoFit/>
          </a:bodyPr>
          <a:lstStyle/>
          <a:p>
            <a:r>
              <a:rPr lang="en-US" sz="900" dirty="0" err="1"/>
              <a:t>Neelepa</a:t>
            </a:r>
            <a:r>
              <a:rPr lang="en-US" sz="900" dirty="0"/>
              <a:t> SS et al, Blood, 2023</a:t>
            </a:r>
          </a:p>
        </p:txBody>
      </p:sp>
      <p:sp>
        <p:nvSpPr>
          <p:cNvPr id="21" name="TextBox 20">
            <a:extLst>
              <a:ext uri="{FF2B5EF4-FFF2-40B4-BE49-F238E27FC236}">
                <a16:creationId xmlns:a16="http://schemas.microsoft.com/office/drawing/2014/main" id="{DF940D6A-CFC4-B739-A09A-2A12AFD94004}"/>
              </a:ext>
            </a:extLst>
          </p:cNvPr>
          <p:cNvSpPr txBox="1"/>
          <p:nvPr/>
        </p:nvSpPr>
        <p:spPr>
          <a:xfrm>
            <a:off x="5475460" y="718821"/>
            <a:ext cx="3462551" cy="276999"/>
          </a:xfrm>
          <a:prstGeom prst="rect">
            <a:avLst/>
          </a:prstGeom>
          <a:noFill/>
        </p:spPr>
        <p:txBody>
          <a:bodyPr wrap="none" rtlCol="0">
            <a:spAutoFit/>
          </a:bodyPr>
          <a:lstStyle/>
          <a:p>
            <a:r>
              <a:rPr lang="en-US" sz="1200" b="1" dirty="0">
                <a:solidFill>
                  <a:schemeClr val="tx1">
                    <a:lumMod val="95000"/>
                    <a:lumOff val="5000"/>
                  </a:schemeClr>
                </a:solidFill>
              </a:rPr>
              <a:t>ZUMA-7 (</a:t>
            </a:r>
            <a:r>
              <a:rPr lang="en-US" sz="1200" dirty="0">
                <a:solidFill>
                  <a:schemeClr val="tx1">
                    <a:lumMod val="95000"/>
                    <a:lumOff val="5000"/>
                  </a:schemeClr>
                </a:solidFill>
                <a:latin typeface="OTNEJMQuadraat"/>
              </a:rPr>
              <a:t>a median f/u 47.2 </a:t>
            </a:r>
            <a:r>
              <a:rPr lang="en-US" sz="1200" dirty="0" err="1">
                <a:solidFill>
                  <a:schemeClr val="tx1">
                    <a:lumMod val="95000"/>
                    <a:lumOff val="5000"/>
                  </a:schemeClr>
                </a:solidFill>
                <a:latin typeface="OTNEJMQuadraat"/>
              </a:rPr>
              <a:t>mo</a:t>
            </a:r>
            <a:r>
              <a:rPr lang="en-US" sz="1200" dirty="0">
                <a:solidFill>
                  <a:schemeClr val="tx1">
                    <a:lumMod val="95000"/>
                    <a:lumOff val="5000"/>
                  </a:schemeClr>
                </a:solidFill>
                <a:latin typeface="OTNEJMQuadraat"/>
              </a:rPr>
              <a:t>) for Relapse </a:t>
            </a:r>
            <a:r>
              <a:rPr lang="en-US" sz="1200" u="sng" dirty="0">
                <a:solidFill>
                  <a:schemeClr val="tx1">
                    <a:lumMod val="95000"/>
                    <a:lumOff val="5000"/>
                  </a:schemeClr>
                </a:solidFill>
                <a:latin typeface="OTNEJMQuadraat"/>
              </a:rPr>
              <a:t>&lt;</a:t>
            </a:r>
            <a:r>
              <a:rPr lang="en-US" sz="1200" dirty="0">
                <a:solidFill>
                  <a:schemeClr val="tx1">
                    <a:lumMod val="95000"/>
                    <a:lumOff val="5000"/>
                  </a:schemeClr>
                </a:solidFill>
                <a:latin typeface="OTNEJMQuadraat"/>
              </a:rPr>
              <a:t>12mo</a:t>
            </a:r>
            <a:endParaRPr lang="en-US" sz="1200" b="1" dirty="0">
              <a:solidFill>
                <a:schemeClr val="tx1">
                  <a:lumMod val="95000"/>
                  <a:lumOff val="5000"/>
                </a:schemeClr>
              </a:solidFill>
            </a:endParaRPr>
          </a:p>
        </p:txBody>
      </p:sp>
      <p:pic>
        <p:nvPicPr>
          <p:cNvPr id="2" name="Picture 1" descr="Image">
            <a:extLst>
              <a:ext uri="{FF2B5EF4-FFF2-40B4-BE49-F238E27FC236}">
                <a16:creationId xmlns:a16="http://schemas.microsoft.com/office/drawing/2014/main" id="{95A76603-952C-F21D-7D71-A3C428C44DD5}"/>
              </a:ext>
            </a:extLst>
          </p:cNvPr>
          <p:cNvPicPr>
            <a:picLocks noChangeAspect="1"/>
          </p:cNvPicPr>
          <p:nvPr/>
        </p:nvPicPr>
        <p:blipFill>
          <a:blip r:embed="rId3" cstate="print"/>
          <a:stretch>
            <a:fillRect/>
          </a:stretch>
        </p:blipFill>
        <p:spPr>
          <a:xfrm>
            <a:off x="6106425" y="1163251"/>
            <a:ext cx="2766581" cy="1379192"/>
          </a:xfrm>
          <a:prstGeom prst="rect">
            <a:avLst/>
          </a:prstGeom>
        </p:spPr>
      </p:pic>
      <p:sp>
        <p:nvSpPr>
          <p:cNvPr id="3" name="Text Box 4">
            <a:extLst>
              <a:ext uri="{FF2B5EF4-FFF2-40B4-BE49-F238E27FC236}">
                <a16:creationId xmlns:a16="http://schemas.microsoft.com/office/drawing/2014/main" id="{AB5F2DE3-94A0-04D0-0C22-0AF8EE6C4E97}"/>
              </a:ext>
            </a:extLst>
          </p:cNvPr>
          <p:cNvSpPr txBox="1">
            <a:spLocks noChangeArrowheads="1"/>
          </p:cNvSpPr>
          <p:nvPr/>
        </p:nvSpPr>
        <p:spPr bwMode="auto">
          <a:xfrm>
            <a:off x="4867794" y="4120341"/>
            <a:ext cx="1342724" cy="268663"/>
          </a:xfrm>
          <a:prstGeom prst="rect">
            <a:avLst/>
          </a:prstGeom>
          <a:noFill/>
          <a:ln w="9525">
            <a:noFill/>
            <a:miter lim="800000"/>
            <a:headEnd/>
            <a:tailEnd/>
          </a:ln>
        </p:spPr>
        <p:txBody>
          <a:bodyPr wrap="square" lIns="0" tIns="0" rIns="0" bIns="0">
            <a:spAutoFit/>
          </a:bodyPr>
          <a:lstStyle/>
          <a:p>
            <a:pPr>
              <a:lnSpc>
                <a:spcPct val="97000"/>
              </a:lnSpc>
              <a:buClr>
                <a:srgbClr val="FFFFFF"/>
              </a:buClr>
              <a:buSzPct val="45000"/>
              <a:tabLst>
                <a:tab pos="542925" algn="l"/>
                <a:tab pos="1085850" algn="l"/>
                <a:tab pos="1628775" algn="l"/>
                <a:tab pos="2171700" algn="l"/>
                <a:tab pos="2714625" algn="l"/>
              </a:tabLst>
            </a:pPr>
            <a:r>
              <a:rPr lang="en-GB" sz="900" dirty="0">
                <a:solidFill>
                  <a:schemeClr val="tx1">
                    <a:lumMod val="95000"/>
                    <a:lumOff val="5000"/>
                  </a:schemeClr>
                </a:solidFill>
              </a:rPr>
              <a:t>Westin JR et al. NEJM 2023</a:t>
            </a:r>
          </a:p>
        </p:txBody>
      </p:sp>
      <p:pic>
        <p:nvPicPr>
          <p:cNvPr id="5" name="Picture 4" descr="Image">
            <a:extLst>
              <a:ext uri="{FF2B5EF4-FFF2-40B4-BE49-F238E27FC236}">
                <a16:creationId xmlns:a16="http://schemas.microsoft.com/office/drawing/2014/main" id="{1D8015D9-8269-CD32-D8A4-6DAA7B78AC27}"/>
              </a:ext>
            </a:extLst>
          </p:cNvPr>
          <p:cNvPicPr>
            <a:picLocks noChangeAspect="1"/>
          </p:cNvPicPr>
          <p:nvPr/>
        </p:nvPicPr>
        <p:blipFill>
          <a:blip r:embed="rId4" cstate="print"/>
          <a:stretch>
            <a:fillRect/>
          </a:stretch>
        </p:blipFill>
        <p:spPr>
          <a:xfrm>
            <a:off x="6073922" y="2486815"/>
            <a:ext cx="2831586" cy="2535179"/>
          </a:xfrm>
          <a:prstGeom prst="rect">
            <a:avLst/>
          </a:prstGeom>
        </p:spPr>
      </p:pic>
      <p:sp>
        <p:nvSpPr>
          <p:cNvPr id="8" name="TextBox 7">
            <a:extLst>
              <a:ext uri="{FF2B5EF4-FFF2-40B4-BE49-F238E27FC236}">
                <a16:creationId xmlns:a16="http://schemas.microsoft.com/office/drawing/2014/main" id="{86A9B832-3B7A-184A-B71A-A55D60A97431}"/>
              </a:ext>
            </a:extLst>
          </p:cNvPr>
          <p:cNvSpPr txBox="1"/>
          <p:nvPr/>
        </p:nvSpPr>
        <p:spPr>
          <a:xfrm>
            <a:off x="6395635" y="1157441"/>
            <a:ext cx="407484" cy="276999"/>
          </a:xfrm>
          <a:prstGeom prst="rect">
            <a:avLst/>
          </a:prstGeom>
          <a:noFill/>
        </p:spPr>
        <p:txBody>
          <a:bodyPr wrap="none" rtlCol="0">
            <a:spAutoFit/>
          </a:bodyPr>
          <a:lstStyle/>
          <a:p>
            <a:r>
              <a:rPr lang="en-US" sz="1200" b="1" dirty="0">
                <a:solidFill>
                  <a:schemeClr val="tx1">
                    <a:lumMod val="95000"/>
                    <a:lumOff val="5000"/>
                  </a:schemeClr>
                </a:solidFill>
              </a:rPr>
              <a:t>OS</a:t>
            </a:r>
          </a:p>
        </p:txBody>
      </p:sp>
      <p:sp>
        <p:nvSpPr>
          <p:cNvPr id="10" name="TextBox 9">
            <a:extLst>
              <a:ext uri="{FF2B5EF4-FFF2-40B4-BE49-F238E27FC236}">
                <a16:creationId xmlns:a16="http://schemas.microsoft.com/office/drawing/2014/main" id="{03C9E653-9FC0-3A21-5027-FF01E3C9CC61}"/>
              </a:ext>
            </a:extLst>
          </p:cNvPr>
          <p:cNvSpPr txBox="1"/>
          <p:nvPr/>
        </p:nvSpPr>
        <p:spPr>
          <a:xfrm>
            <a:off x="6617925" y="2521982"/>
            <a:ext cx="484428" cy="276999"/>
          </a:xfrm>
          <a:prstGeom prst="rect">
            <a:avLst/>
          </a:prstGeom>
          <a:noFill/>
        </p:spPr>
        <p:txBody>
          <a:bodyPr wrap="none" rtlCol="0">
            <a:spAutoFit/>
          </a:bodyPr>
          <a:lstStyle/>
          <a:p>
            <a:r>
              <a:rPr lang="en-US" sz="1200" b="1" dirty="0">
                <a:solidFill>
                  <a:schemeClr val="tx1">
                    <a:lumMod val="95000"/>
                    <a:lumOff val="5000"/>
                  </a:schemeClr>
                </a:solidFill>
              </a:rPr>
              <a:t>PFS</a:t>
            </a:r>
          </a:p>
        </p:txBody>
      </p:sp>
      <p:sp>
        <p:nvSpPr>
          <p:cNvPr id="12" name="TextBox 11">
            <a:extLst>
              <a:ext uri="{FF2B5EF4-FFF2-40B4-BE49-F238E27FC236}">
                <a16:creationId xmlns:a16="http://schemas.microsoft.com/office/drawing/2014/main" id="{5155B02A-B32D-3900-2040-F6A338078274}"/>
              </a:ext>
            </a:extLst>
          </p:cNvPr>
          <p:cNvSpPr txBox="1"/>
          <p:nvPr/>
        </p:nvSpPr>
        <p:spPr>
          <a:xfrm>
            <a:off x="6507329" y="3817956"/>
            <a:ext cx="484428" cy="276999"/>
          </a:xfrm>
          <a:prstGeom prst="rect">
            <a:avLst/>
          </a:prstGeom>
          <a:noFill/>
        </p:spPr>
        <p:txBody>
          <a:bodyPr wrap="none" rtlCol="0">
            <a:spAutoFit/>
          </a:bodyPr>
          <a:lstStyle/>
          <a:p>
            <a:r>
              <a:rPr lang="en-US" sz="1200" b="1" dirty="0">
                <a:solidFill>
                  <a:schemeClr val="tx1">
                    <a:lumMod val="95000"/>
                    <a:lumOff val="5000"/>
                  </a:schemeClr>
                </a:solidFill>
              </a:rPr>
              <a:t>EFS</a:t>
            </a:r>
          </a:p>
        </p:txBody>
      </p:sp>
      <p:sp>
        <p:nvSpPr>
          <p:cNvPr id="15" name="TextBox 14">
            <a:extLst>
              <a:ext uri="{FF2B5EF4-FFF2-40B4-BE49-F238E27FC236}">
                <a16:creationId xmlns:a16="http://schemas.microsoft.com/office/drawing/2014/main" id="{9843486E-5F6D-E556-5EA6-2233030BCFAA}"/>
              </a:ext>
            </a:extLst>
          </p:cNvPr>
          <p:cNvSpPr txBox="1"/>
          <p:nvPr/>
        </p:nvSpPr>
        <p:spPr>
          <a:xfrm>
            <a:off x="4598297" y="4628173"/>
            <a:ext cx="877163" cy="507831"/>
          </a:xfrm>
          <a:prstGeom prst="rect">
            <a:avLst/>
          </a:prstGeom>
          <a:noFill/>
        </p:spPr>
        <p:txBody>
          <a:bodyPr wrap="none" rtlCol="0">
            <a:spAutoFit/>
          </a:bodyPr>
          <a:lstStyle/>
          <a:p>
            <a:r>
              <a:rPr lang="en-US" sz="2700" b="1" dirty="0">
                <a:solidFill>
                  <a:schemeClr val="tx1">
                    <a:lumMod val="95000"/>
                    <a:lumOff val="5000"/>
                  </a:schemeClr>
                </a:solidFill>
              </a:rPr>
              <a:t>YES</a:t>
            </a:r>
          </a:p>
        </p:txBody>
      </p:sp>
    </p:spTree>
    <p:extLst>
      <p:ext uri="{BB962C8B-B14F-4D97-AF65-F5344CB8AC3E}">
        <p14:creationId xmlns:p14="http://schemas.microsoft.com/office/powerpoint/2010/main" val="83212044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8AE77F-758F-2A81-1252-9DEF27655925}"/>
              </a:ext>
            </a:extLst>
          </p:cNvPr>
          <p:cNvSpPr>
            <a:spLocks noGrp="1"/>
          </p:cNvSpPr>
          <p:nvPr>
            <p:ph type="title"/>
          </p:nvPr>
        </p:nvSpPr>
        <p:spPr>
          <a:xfrm>
            <a:off x="4067736" y="2382"/>
            <a:ext cx="4719917" cy="632012"/>
          </a:xfrm>
        </p:spPr>
        <p:txBody>
          <a:bodyPr>
            <a:normAutofit/>
          </a:bodyPr>
          <a:lstStyle/>
          <a:p>
            <a:r>
              <a:rPr lang="en-US" sz="3000" b="1" dirty="0"/>
              <a:t>Formats of Bispecific Ab</a:t>
            </a:r>
          </a:p>
        </p:txBody>
      </p:sp>
      <p:pic>
        <p:nvPicPr>
          <p:cNvPr id="5122" name="Picture 2" descr="Vaccines 09 00724 g001">
            <a:extLst>
              <a:ext uri="{FF2B5EF4-FFF2-40B4-BE49-F238E27FC236}">
                <a16:creationId xmlns:a16="http://schemas.microsoft.com/office/drawing/2014/main" id="{BD6DD151-E091-AF2B-01C6-A979527C736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195" y="62893"/>
            <a:ext cx="3704665" cy="502247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51DB07C5-79F6-6EAC-6CB5-51705FDDAC52}"/>
              </a:ext>
            </a:extLst>
          </p:cNvPr>
          <p:cNvSpPr txBox="1"/>
          <p:nvPr/>
        </p:nvSpPr>
        <p:spPr>
          <a:xfrm>
            <a:off x="5103160" y="1676540"/>
            <a:ext cx="184731" cy="369332"/>
          </a:xfrm>
          <a:prstGeom prst="rect">
            <a:avLst/>
          </a:prstGeom>
          <a:noFill/>
        </p:spPr>
        <p:txBody>
          <a:bodyPr wrap="none" rtlCol="0">
            <a:spAutoFit/>
          </a:bodyPr>
          <a:lstStyle/>
          <a:p>
            <a:endParaRPr lang="en-US" sz="1800" dirty="0"/>
          </a:p>
        </p:txBody>
      </p:sp>
      <p:sp>
        <p:nvSpPr>
          <p:cNvPr id="5" name="TextBox 4">
            <a:extLst>
              <a:ext uri="{FF2B5EF4-FFF2-40B4-BE49-F238E27FC236}">
                <a16:creationId xmlns:a16="http://schemas.microsoft.com/office/drawing/2014/main" id="{033FD9BC-EB1E-9F4B-7608-35536DFD23E7}"/>
              </a:ext>
            </a:extLst>
          </p:cNvPr>
          <p:cNvSpPr txBox="1"/>
          <p:nvPr/>
        </p:nvSpPr>
        <p:spPr>
          <a:xfrm>
            <a:off x="3973606" y="634394"/>
            <a:ext cx="4666130" cy="3139321"/>
          </a:xfrm>
          <a:prstGeom prst="rect">
            <a:avLst/>
          </a:prstGeom>
          <a:noFill/>
        </p:spPr>
        <p:txBody>
          <a:bodyPr wrap="square">
            <a:spAutoFit/>
          </a:bodyPr>
          <a:lstStyle/>
          <a:p>
            <a:r>
              <a:rPr lang="en-US" sz="1200" dirty="0">
                <a:solidFill>
                  <a:srgbClr val="222222"/>
                </a:solidFill>
                <a:latin typeface="Arial" panose="020B0604020202020204" pitchFamily="34" charset="0"/>
              </a:rPr>
              <a:t>(</a:t>
            </a:r>
            <a:r>
              <a:rPr lang="en-US" sz="1200" b="1" dirty="0">
                <a:solidFill>
                  <a:srgbClr val="222222"/>
                </a:solidFill>
                <a:latin typeface="Arial" panose="020B0604020202020204" pitchFamily="34" charset="0"/>
              </a:rPr>
              <a:t>a</a:t>
            </a:r>
            <a:r>
              <a:rPr lang="en-US" sz="1200" dirty="0">
                <a:solidFill>
                  <a:srgbClr val="222222"/>
                </a:solidFill>
                <a:latin typeface="Arial" panose="020B0604020202020204" pitchFamily="34" charset="0"/>
              </a:rPr>
              <a:t>). The building blocks of </a:t>
            </a:r>
            <a:r>
              <a:rPr lang="en-US" sz="1200" dirty="0" err="1">
                <a:solidFill>
                  <a:srgbClr val="222222"/>
                </a:solidFill>
                <a:latin typeface="Arial" panose="020B0604020202020204" pitchFamily="34" charset="0"/>
              </a:rPr>
              <a:t>BsAbs</a:t>
            </a:r>
            <a:r>
              <a:rPr lang="en-US" sz="1200" dirty="0">
                <a:solidFill>
                  <a:srgbClr val="222222"/>
                </a:solidFill>
                <a:latin typeface="Arial" panose="020B0604020202020204" pitchFamily="34" charset="0"/>
              </a:rPr>
              <a:t>. </a:t>
            </a:r>
          </a:p>
          <a:p>
            <a:endParaRPr lang="en-US" sz="1200" dirty="0">
              <a:solidFill>
                <a:srgbClr val="222222"/>
              </a:solidFill>
              <a:latin typeface="Arial" panose="020B0604020202020204" pitchFamily="34" charset="0"/>
            </a:endParaRPr>
          </a:p>
          <a:p>
            <a:r>
              <a:rPr lang="en-US" sz="1200" dirty="0">
                <a:solidFill>
                  <a:srgbClr val="222222"/>
                </a:solidFill>
                <a:latin typeface="Arial" panose="020B0604020202020204" pitchFamily="34" charset="0"/>
              </a:rPr>
              <a:t>(</a:t>
            </a:r>
            <a:r>
              <a:rPr lang="en-US" sz="1200" b="1" dirty="0">
                <a:solidFill>
                  <a:srgbClr val="222222"/>
                </a:solidFill>
                <a:latin typeface="Arial" panose="020B0604020202020204" pitchFamily="34" charset="0"/>
              </a:rPr>
              <a:t>b</a:t>
            </a:r>
            <a:r>
              <a:rPr lang="en-US" sz="1200" dirty="0">
                <a:solidFill>
                  <a:srgbClr val="222222"/>
                </a:solidFill>
                <a:latin typeface="Arial" panose="020B0604020202020204" pitchFamily="34" charset="0"/>
              </a:rPr>
              <a:t>). The examples of fragment-based </a:t>
            </a:r>
            <a:r>
              <a:rPr lang="en-US" sz="1200" dirty="0" err="1">
                <a:solidFill>
                  <a:srgbClr val="222222"/>
                </a:solidFill>
                <a:latin typeface="Arial" panose="020B0604020202020204" pitchFamily="34" charset="0"/>
              </a:rPr>
              <a:t>BsAbs</a:t>
            </a:r>
            <a:r>
              <a:rPr lang="en-US" sz="1200" dirty="0">
                <a:solidFill>
                  <a:srgbClr val="222222"/>
                </a:solidFill>
                <a:latin typeface="Arial" panose="020B0604020202020204" pitchFamily="34" charset="0"/>
              </a:rPr>
              <a:t>. These types of </a:t>
            </a:r>
            <a:r>
              <a:rPr lang="en-US" sz="1200" dirty="0" err="1">
                <a:solidFill>
                  <a:srgbClr val="222222"/>
                </a:solidFill>
                <a:latin typeface="Arial" panose="020B0604020202020204" pitchFamily="34" charset="0"/>
              </a:rPr>
              <a:t>BsAbs</a:t>
            </a:r>
            <a:r>
              <a:rPr lang="en-US" sz="1200" dirty="0">
                <a:solidFill>
                  <a:srgbClr val="222222"/>
                </a:solidFill>
                <a:latin typeface="Arial" panose="020B0604020202020204" pitchFamily="34" charset="0"/>
              </a:rPr>
              <a:t> are developed by linking the building blocks in a. </a:t>
            </a:r>
          </a:p>
          <a:p>
            <a:endParaRPr lang="en-US" sz="1200" dirty="0">
              <a:solidFill>
                <a:srgbClr val="222222"/>
              </a:solidFill>
              <a:latin typeface="Arial" panose="020B0604020202020204" pitchFamily="34" charset="0"/>
            </a:endParaRPr>
          </a:p>
          <a:p>
            <a:r>
              <a:rPr lang="en-US" sz="1200" dirty="0">
                <a:solidFill>
                  <a:srgbClr val="222222"/>
                </a:solidFill>
                <a:latin typeface="Arial" panose="020B0604020202020204" pitchFamily="34" charset="0"/>
              </a:rPr>
              <a:t>(</a:t>
            </a:r>
            <a:r>
              <a:rPr lang="en-US" sz="1200" b="1" dirty="0">
                <a:solidFill>
                  <a:srgbClr val="222222"/>
                </a:solidFill>
                <a:latin typeface="Arial" panose="020B0604020202020204" pitchFamily="34" charset="0"/>
              </a:rPr>
              <a:t>c</a:t>
            </a:r>
            <a:r>
              <a:rPr lang="en-US" sz="1200" dirty="0">
                <a:solidFill>
                  <a:srgbClr val="222222"/>
                </a:solidFill>
                <a:latin typeface="Arial" panose="020B0604020202020204" pitchFamily="34" charset="0"/>
              </a:rPr>
              <a:t>). The example of IgG-based </a:t>
            </a:r>
            <a:r>
              <a:rPr lang="en-US" sz="1200" dirty="0" err="1">
                <a:solidFill>
                  <a:srgbClr val="222222"/>
                </a:solidFill>
                <a:latin typeface="Arial" panose="020B0604020202020204" pitchFamily="34" charset="0"/>
              </a:rPr>
              <a:t>BsAbs</a:t>
            </a:r>
            <a:r>
              <a:rPr lang="en-US" sz="1200" dirty="0">
                <a:solidFill>
                  <a:srgbClr val="222222"/>
                </a:solidFill>
                <a:latin typeface="Arial" panose="020B0604020202020204" pitchFamily="34" charset="0"/>
              </a:rPr>
              <a:t>. These </a:t>
            </a:r>
            <a:r>
              <a:rPr lang="en-US" sz="1200" dirty="0" err="1">
                <a:solidFill>
                  <a:srgbClr val="222222"/>
                </a:solidFill>
                <a:latin typeface="Arial" panose="020B0604020202020204" pitchFamily="34" charset="0"/>
              </a:rPr>
              <a:t>BsAbs</a:t>
            </a:r>
            <a:r>
              <a:rPr lang="en-US" sz="1200" dirty="0">
                <a:solidFill>
                  <a:srgbClr val="222222"/>
                </a:solidFill>
                <a:latin typeface="Arial" panose="020B0604020202020204" pitchFamily="34" charset="0"/>
              </a:rPr>
              <a:t> are developed by pairing two different heavy chains and light chains (heterodimeric </a:t>
            </a:r>
            <a:r>
              <a:rPr lang="en-US" sz="1200" dirty="0" err="1">
                <a:solidFill>
                  <a:srgbClr val="222222"/>
                </a:solidFill>
                <a:latin typeface="Arial" panose="020B0604020202020204" pitchFamily="34" charset="0"/>
              </a:rPr>
              <a:t>BsAb</a:t>
            </a:r>
            <a:r>
              <a:rPr lang="en-US" sz="1200" dirty="0">
                <a:solidFill>
                  <a:srgbClr val="222222"/>
                </a:solidFill>
                <a:latin typeface="Arial" panose="020B0604020202020204" pitchFamily="34" charset="0"/>
              </a:rPr>
              <a:t>) or linking the building blocks to IgG (</a:t>
            </a:r>
            <a:r>
              <a:rPr lang="en-US" sz="1200" dirty="0" err="1">
                <a:solidFill>
                  <a:srgbClr val="222222"/>
                </a:solidFill>
                <a:latin typeface="Arial" panose="020B0604020202020204" pitchFamily="34" charset="0"/>
              </a:rPr>
              <a:t>homodimeric</a:t>
            </a:r>
            <a:r>
              <a:rPr lang="en-US" sz="1200" dirty="0">
                <a:solidFill>
                  <a:srgbClr val="222222"/>
                </a:solidFill>
                <a:latin typeface="Arial" panose="020B0604020202020204" pitchFamily="34" charset="0"/>
              </a:rPr>
              <a:t> </a:t>
            </a:r>
            <a:r>
              <a:rPr lang="en-US" sz="1200" dirty="0" err="1">
                <a:solidFill>
                  <a:srgbClr val="222222"/>
                </a:solidFill>
                <a:latin typeface="Arial" panose="020B0604020202020204" pitchFamily="34" charset="0"/>
              </a:rPr>
              <a:t>BsAb</a:t>
            </a:r>
            <a:r>
              <a:rPr lang="en-US" sz="1200" dirty="0">
                <a:solidFill>
                  <a:srgbClr val="222222"/>
                </a:solidFill>
                <a:latin typeface="Arial" panose="020B0604020202020204" pitchFamily="34" charset="0"/>
              </a:rPr>
              <a:t>). Various strategies are used for proper pairing; knob-into-hole, CRIB, and BEAT for heterodimerization of heavy chains, </a:t>
            </a:r>
            <a:r>
              <a:rPr lang="el-GR" sz="1200" dirty="0">
                <a:solidFill>
                  <a:srgbClr val="222222"/>
                </a:solidFill>
                <a:latin typeface="Arial" panose="020B0604020202020204" pitchFamily="34" charset="0"/>
              </a:rPr>
              <a:t>κλ </a:t>
            </a:r>
            <a:r>
              <a:rPr lang="en-US" sz="1200" dirty="0">
                <a:solidFill>
                  <a:srgbClr val="222222"/>
                </a:solidFill>
                <a:latin typeface="Arial" panose="020B0604020202020204" pitchFamily="34" charset="0"/>
              </a:rPr>
              <a:t>body, </a:t>
            </a:r>
            <a:r>
              <a:rPr lang="en-US" sz="1200" dirty="0" err="1">
                <a:solidFill>
                  <a:srgbClr val="222222"/>
                </a:solidFill>
                <a:latin typeface="Arial" panose="020B0604020202020204" pitchFamily="34" charset="0"/>
              </a:rPr>
              <a:t>Biclonics</a:t>
            </a:r>
            <a:r>
              <a:rPr lang="en-US" sz="1200" dirty="0">
                <a:solidFill>
                  <a:srgbClr val="222222"/>
                </a:solidFill>
                <a:latin typeface="Arial" panose="020B0604020202020204" pitchFamily="34" charset="0"/>
              </a:rPr>
              <a:t>, </a:t>
            </a:r>
            <a:r>
              <a:rPr lang="en-US" sz="1200" dirty="0" err="1">
                <a:solidFill>
                  <a:srgbClr val="222222"/>
                </a:solidFill>
                <a:latin typeface="Arial" panose="020B0604020202020204" pitchFamily="34" charset="0"/>
              </a:rPr>
              <a:t>DuoBody</a:t>
            </a:r>
            <a:r>
              <a:rPr lang="en-US" sz="1200" dirty="0">
                <a:solidFill>
                  <a:srgbClr val="222222"/>
                </a:solidFill>
                <a:latin typeface="Arial" panose="020B0604020202020204" pitchFamily="34" charset="0"/>
              </a:rPr>
              <a:t>, </a:t>
            </a:r>
            <a:r>
              <a:rPr lang="en-US" sz="1200" dirty="0" err="1">
                <a:solidFill>
                  <a:srgbClr val="222222"/>
                </a:solidFill>
                <a:latin typeface="Arial" panose="020B0604020202020204" pitchFamily="34" charset="0"/>
              </a:rPr>
              <a:t>CrossMAb</a:t>
            </a:r>
            <a:r>
              <a:rPr lang="en-US" sz="1200" dirty="0">
                <a:solidFill>
                  <a:srgbClr val="222222"/>
                </a:solidFill>
                <a:latin typeface="Arial" panose="020B0604020202020204" pitchFamily="34" charset="0"/>
              </a:rPr>
              <a:t>, and </a:t>
            </a:r>
            <a:r>
              <a:rPr lang="en-US" sz="1200" dirty="0" err="1">
                <a:solidFill>
                  <a:srgbClr val="222222"/>
                </a:solidFill>
                <a:latin typeface="Arial" panose="020B0604020202020204" pitchFamily="34" charset="0"/>
              </a:rPr>
              <a:t>WuXiBody</a:t>
            </a:r>
            <a:r>
              <a:rPr lang="en-US" sz="1200" dirty="0">
                <a:solidFill>
                  <a:srgbClr val="222222"/>
                </a:solidFill>
                <a:latin typeface="Arial" panose="020B0604020202020204" pitchFamily="34" charset="0"/>
              </a:rPr>
              <a:t> for heterodimerization of light chains. </a:t>
            </a:r>
          </a:p>
          <a:p>
            <a:endParaRPr lang="en-US" sz="900" dirty="0">
              <a:solidFill>
                <a:srgbClr val="222222"/>
              </a:solidFill>
              <a:latin typeface="Arial" panose="020B0604020202020204" pitchFamily="34" charset="0"/>
            </a:endParaRPr>
          </a:p>
          <a:p>
            <a:r>
              <a:rPr lang="en-US" sz="750" dirty="0">
                <a:solidFill>
                  <a:srgbClr val="222222"/>
                </a:solidFill>
                <a:latin typeface="Arial" panose="020B0604020202020204" pitchFamily="34" charset="0"/>
              </a:rPr>
              <a:t>Abbreviations: </a:t>
            </a:r>
            <a:r>
              <a:rPr lang="en-US" sz="750" dirty="0" err="1">
                <a:solidFill>
                  <a:srgbClr val="222222"/>
                </a:solidFill>
                <a:latin typeface="Arial" panose="020B0604020202020204" pitchFamily="34" charset="0"/>
              </a:rPr>
              <a:t>BiTE</a:t>
            </a:r>
            <a:r>
              <a:rPr lang="en-US" sz="750" dirty="0">
                <a:solidFill>
                  <a:srgbClr val="222222"/>
                </a:solidFill>
                <a:latin typeface="Arial" panose="020B0604020202020204" pitchFamily="34" charset="0"/>
              </a:rPr>
              <a:t>; bispecific T-cell engager; </a:t>
            </a:r>
            <a:r>
              <a:rPr lang="en-US" sz="750" dirty="0" err="1">
                <a:solidFill>
                  <a:srgbClr val="222222"/>
                </a:solidFill>
                <a:latin typeface="Arial" panose="020B0604020202020204" pitchFamily="34" charset="0"/>
              </a:rPr>
              <a:t>TriKE</a:t>
            </a:r>
            <a:r>
              <a:rPr lang="en-US" sz="750" dirty="0">
                <a:solidFill>
                  <a:srgbClr val="222222"/>
                </a:solidFill>
                <a:latin typeface="Arial" panose="020B0604020202020204" pitchFamily="34" charset="0"/>
              </a:rPr>
              <a:t>, </a:t>
            </a:r>
            <a:r>
              <a:rPr lang="en-US" sz="750" dirty="0" err="1">
                <a:solidFill>
                  <a:srgbClr val="222222"/>
                </a:solidFill>
                <a:latin typeface="Arial" panose="020B0604020202020204" pitchFamily="34" charset="0"/>
              </a:rPr>
              <a:t>trispecific</a:t>
            </a:r>
            <a:r>
              <a:rPr lang="en-US" sz="750" dirty="0">
                <a:solidFill>
                  <a:srgbClr val="222222"/>
                </a:solidFill>
                <a:latin typeface="Arial" panose="020B0604020202020204" pitchFamily="34" charset="0"/>
              </a:rPr>
              <a:t> killer cell engager; DART, dual-affinity retargeting; </a:t>
            </a:r>
            <a:r>
              <a:rPr lang="en-US" sz="750" dirty="0" err="1">
                <a:solidFill>
                  <a:srgbClr val="222222"/>
                </a:solidFill>
                <a:latin typeface="Arial" panose="020B0604020202020204" pitchFamily="34" charset="0"/>
              </a:rPr>
              <a:t>TandAb</a:t>
            </a:r>
            <a:r>
              <a:rPr lang="en-US" sz="750" dirty="0">
                <a:solidFill>
                  <a:srgbClr val="222222"/>
                </a:solidFill>
                <a:latin typeface="Arial" panose="020B0604020202020204" pitchFamily="34" charset="0"/>
              </a:rPr>
              <a:t>, tandem diabody; </a:t>
            </a:r>
            <a:r>
              <a:rPr lang="en-US" sz="750" dirty="0" err="1">
                <a:solidFill>
                  <a:srgbClr val="222222"/>
                </a:solidFill>
                <a:latin typeface="Arial" panose="020B0604020202020204" pitchFamily="34" charset="0"/>
              </a:rPr>
              <a:t>TriTAC</a:t>
            </a:r>
            <a:r>
              <a:rPr lang="en-US" sz="750" dirty="0">
                <a:solidFill>
                  <a:srgbClr val="222222"/>
                </a:solidFill>
                <a:latin typeface="Arial" panose="020B0604020202020204" pitchFamily="34" charset="0"/>
              </a:rPr>
              <a:t>, </a:t>
            </a:r>
            <a:r>
              <a:rPr lang="en-US" sz="750" dirty="0" err="1">
                <a:solidFill>
                  <a:srgbClr val="222222"/>
                </a:solidFill>
                <a:latin typeface="Arial" panose="020B0604020202020204" pitchFamily="34" charset="0"/>
              </a:rPr>
              <a:t>trispecific</a:t>
            </a:r>
            <a:r>
              <a:rPr lang="en-US" sz="750" dirty="0">
                <a:solidFill>
                  <a:srgbClr val="222222"/>
                </a:solidFill>
                <a:latin typeface="Arial" panose="020B0604020202020204" pitchFamily="34" charset="0"/>
              </a:rPr>
              <a:t> T cell-activating construct; </a:t>
            </a:r>
            <a:r>
              <a:rPr lang="en-US" sz="750" dirty="0" err="1">
                <a:solidFill>
                  <a:srgbClr val="222222"/>
                </a:solidFill>
                <a:latin typeface="Arial" panose="020B0604020202020204" pitchFamily="34" charset="0"/>
              </a:rPr>
              <a:t>ImmTAC</a:t>
            </a:r>
            <a:r>
              <a:rPr lang="en-US" sz="750" dirty="0">
                <a:solidFill>
                  <a:srgbClr val="222222"/>
                </a:solidFill>
                <a:latin typeface="Arial" panose="020B0604020202020204" pitchFamily="34" charset="0"/>
              </a:rPr>
              <a:t>, immune mobilizing monoclonal TCR against cancer; </a:t>
            </a:r>
            <a:r>
              <a:rPr lang="en-US" sz="750" dirty="0" err="1">
                <a:solidFill>
                  <a:srgbClr val="222222"/>
                </a:solidFill>
                <a:latin typeface="Arial" panose="020B0604020202020204" pitchFamily="34" charset="0"/>
              </a:rPr>
              <a:t>scMATCH</a:t>
            </a:r>
            <a:r>
              <a:rPr lang="en-US" sz="750" dirty="0">
                <a:solidFill>
                  <a:srgbClr val="222222"/>
                </a:solidFill>
                <a:latin typeface="Arial" panose="020B0604020202020204" pitchFamily="34" charset="0"/>
              </a:rPr>
              <a:t>, single-chain </a:t>
            </a:r>
            <a:r>
              <a:rPr lang="en-US" sz="750" dirty="0" err="1">
                <a:solidFill>
                  <a:srgbClr val="222222"/>
                </a:solidFill>
                <a:latin typeface="Arial" panose="020B0604020202020204" pitchFamily="34" charset="0"/>
              </a:rPr>
              <a:t>multispecific</a:t>
            </a:r>
            <a:r>
              <a:rPr lang="en-US" sz="750" dirty="0">
                <a:solidFill>
                  <a:srgbClr val="222222"/>
                </a:solidFill>
                <a:latin typeface="Arial" panose="020B0604020202020204" pitchFamily="34" charset="0"/>
              </a:rPr>
              <a:t> antibody-based therapeutics by cognate heterodimerization; CRIB, charge repulsion induced bispecific; BEAT, bispecific engagement by antibodies based on the TCR; </a:t>
            </a:r>
            <a:r>
              <a:rPr lang="el-GR" sz="750" dirty="0">
                <a:solidFill>
                  <a:srgbClr val="222222"/>
                </a:solidFill>
                <a:latin typeface="Arial" panose="020B0604020202020204" pitchFamily="34" charset="0"/>
              </a:rPr>
              <a:t>κλ </a:t>
            </a:r>
            <a:r>
              <a:rPr lang="en-US" sz="750" dirty="0">
                <a:solidFill>
                  <a:srgbClr val="222222"/>
                </a:solidFill>
                <a:latin typeface="Arial" panose="020B0604020202020204" pitchFamily="34" charset="0"/>
              </a:rPr>
              <a:t>body, kappa lambda body; DVD-Ig, dual-variable-domain immunoglobulin; </a:t>
            </a:r>
            <a:r>
              <a:rPr lang="en-US" sz="750" dirty="0" err="1">
                <a:solidFill>
                  <a:srgbClr val="222222"/>
                </a:solidFill>
                <a:latin typeface="Arial" panose="020B0604020202020204" pitchFamily="34" charset="0"/>
              </a:rPr>
              <a:t>Fcab</a:t>
            </a:r>
            <a:r>
              <a:rPr lang="en-US" sz="750" dirty="0">
                <a:solidFill>
                  <a:srgbClr val="222222"/>
                </a:solidFill>
                <a:latin typeface="Arial" panose="020B0604020202020204" pitchFamily="34" charset="0"/>
              </a:rPr>
              <a:t>, Fc region with an antigen-binding site.</a:t>
            </a:r>
            <a:endParaRPr lang="en-US" sz="750" dirty="0"/>
          </a:p>
        </p:txBody>
      </p:sp>
    </p:spTree>
    <p:extLst>
      <p:ext uri="{BB962C8B-B14F-4D97-AF65-F5344CB8AC3E}">
        <p14:creationId xmlns:p14="http://schemas.microsoft.com/office/powerpoint/2010/main" val="160597164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96BA-4071-583B-9F9B-9291D204AF4F}"/>
              </a:ext>
            </a:extLst>
          </p:cNvPr>
          <p:cNvSpPr>
            <a:spLocks noGrp="1"/>
          </p:cNvSpPr>
          <p:nvPr>
            <p:ph type="title"/>
          </p:nvPr>
        </p:nvSpPr>
        <p:spPr>
          <a:xfrm>
            <a:off x="628650" y="155313"/>
            <a:ext cx="7886700" cy="536014"/>
          </a:xfrm>
        </p:spPr>
        <p:txBody>
          <a:bodyPr/>
          <a:lstStyle/>
          <a:p>
            <a:pPr algn="ctr"/>
            <a:r>
              <a:rPr lang="en-US" sz="2800" b="1" dirty="0"/>
              <a:t>Bispecific and </a:t>
            </a:r>
            <a:r>
              <a:rPr lang="en-US" sz="2800" b="1" dirty="0" err="1"/>
              <a:t>Trispecific</a:t>
            </a:r>
            <a:r>
              <a:rPr lang="en-US" sz="2800" b="1" dirty="0"/>
              <a:t> T Cell Engagers</a:t>
            </a:r>
          </a:p>
        </p:txBody>
      </p:sp>
      <p:pic>
        <p:nvPicPr>
          <p:cNvPr id="4" name="Picture 3">
            <a:extLst>
              <a:ext uri="{FF2B5EF4-FFF2-40B4-BE49-F238E27FC236}">
                <a16:creationId xmlns:a16="http://schemas.microsoft.com/office/drawing/2014/main" id="{223FFFAE-81F9-519E-A47B-741DF9BD6AEB}"/>
              </a:ext>
            </a:extLst>
          </p:cNvPr>
          <p:cNvPicPr>
            <a:picLocks noChangeAspect="1"/>
          </p:cNvPicPr>
          <p:nvPr/>
        </p:nvPicPr>
        <p:blipFill>
          <a:blip r:embed="rId2"/>
          <a:stretch>
            <a:fillRect/>
          </a:stretch>
        </p:blipFill>
        <p:spPr>
          <a:xfrm>
            <a:off x="6352093" y="2733197"/>
            <a:ext cx="2573511" cy="1239794"/>
          </a:xfrm>
          <a:prstGeom prst="rect">
            <a:avLst/>
          </a:prstGeom>
        </p:spPr>
      </p:pic>
      <p:pic>
        <p:nvPicPr>
          <p:cNvPr id="3074" name="Picture 2">
            <a:extLst>
              <a:ext uri="{FF2B5EF4-FFF2-40B4-BE49-F238E27FC236}">
                <a16:creationId xmlns:a16="http://schemas.microsoft.com/office/drawing/2014/main" id="{A40500EC-4A98-DC67-7EF8-B49547D854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97" y="772895"/>
            <a:ext cx="5176039" cy="3623479"/>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3DA535B2-C6F7-E183-8E47-FFDC770B8E1A}"/>
              </a:ext>
            </a:extLst>
          </p:cNvPr>
          <p:cNvSpPr txBox="1"/>
          <p:nvPr/>
        </p:nvSpPr>
        <p:spPr>
          <a:xfrm>
            <a:off x="6809902" y="2237749"/>
            <a:ext cx="1851854" cy="369332"/>
          </a:xfrm>
          <a:prstGeom prst="rect">
            <a:avLst/>
          </a:prstGeom>
          <a:noFill/>
        </p:spPr>
        <p:txBody>
          <a:bodyPr wrap="none" rtlCol="0">
            <a:spAutoFit/>
          </a:bodyPr>
          <a:lstStyle/>
          <a:p>
            <a:r>
              <a:rPr lang="en-US" sz="1800" b="1" dirty="0" err="1"/>
              <a:t>Trispecific</a:t>
            </a:r>
            <a:r>
              <a:rPr lang="en-US" sz="1800" b="1" dirty="0"/>
              <a:t> TCE</a:t>
            </a:r>
          </a:p>
        </p:txBody>
      </p:sp>
    </p:spTree>
    <p:extLst>
      <p:ext uri="{BB962C8B-B14F-4D97-AF65-F5344CB8AC3E}">
        <p14:creationId xmlns:p14="http://schemas.microsoft.com/office/powerpoint/2010/main" val="218827134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3CC22-02BC-8194-EC02-199A8A5123DB}"/>
              </a:ext>
            </a:extLst>
          </p:cNvPr>
          <p:cNvSpPr>
            <a:spLocks noGrp="1"/>
          </p:cNvSpPr>
          <p:nvPr>
            <p:ph type="title"/>
          </p:nvPr>
        </p:nvSpPr>
        <p:spPr>
          <a:xfrm>
            <a:off x="628650" y="173077"/>
            <a:ext cx="7886700" cy="595952"/>
          </a:xfrm>
        </p:spPr>
        <p:txBody>
          <a:bodyPr>
            <a:normAutofit fontScale="90000"/>
          </a:bodyPr>
          <a:lstStyle/>
          <a:p>
            <a:r>
              <a:rPr lang="en-US" b="1" dirty="0"/>
              <a:t>FDA Approved Bispecific T Cell Engagers (</a:t>
            </a:r>
            <a:r>
              <a:rPr lang="en-US" b="1" dirty="0" err="1"/>
              <a:t>BsTCE</a:t>
            </a:r>
            <a:r>
              <a:rPr lang="en-US" b="1" dirty="0"/>
              <a:t>)</a:t>
            </a:r>
          </a:p>
        </p:txBody>
      </p:sp>
      <p:sp>
        <p:nvSpPr>
          <p:cNvPr id="4" name="内容占位符 2">
            <a:extLst>
              <a:ext uri="{FF2B5EF4-FFF2-40B4-BE49-F238E27FC236}">
                <a16:creationId xmlns:a16="http://schemas.microsoft.com/office/drawing/2014/main" id="{8B4F2CC9-33CD-EABE-5DED-9231D7C8A20A}"/>
              </a:ext>
            </a:extLst>
          </p:cNvPr>
          <p:cNvSpPr txBox="1">
            <a:spLocks noGrp="1"/>
          </p:cNvSpPr>
          <p:nvPr>
            <p:ph idx="1"/>
          </p:nvPr>
        </p:nvSpPr>
        <p:spPr>
          <a:xfrm>
            <a:off x="432227" y="1005991"/>
            <a:ext cx="8252652" cy="3629113"/>
          </a:xfrm>
          <a:prstGeom prst="rect">
            <a:avLst/>
          </a:prstGeom>
        </p:spPr>
        <p:txBody>
          <a:bodyPr vert="horz" lIns="68580" tIns="34290" rIns="68580" bIns="34290" rtlCol="0" anchor="t">
            <a:noAutofit/>
          </a:bodyPr>
          <a:lstStyle>
            <a:lvl1pPr marL="514196" indent="-514196" algn="l" defTabSz="914126" rtl="0" eaLnBrk="1" latinLnBrk="0" hangingPunct="1">
              <a:lnSpc>
                <a:spcPct val="90000"/>
              </a:lnSpc>
              <a:spcBef>
                <a:spcPts val="1000"/>
              </a:spcBef>
              <a:buSzPct val="106000"/>
              <a:buFont typeface="Wingdings" panose="05000000000000000000" pitchFamily="2" charset="2"/>
              <a:buChar char="Ø"/>
              <a:defRPr sz="2400" kern="1200">
                <a:solidFill>
                  <a:schemeClr val="accent1">
                    <a:lumMod val="50000"/>
                  </a:schemeClr>
                </a:solidFill>
                <a:latin typeface="Arial" panose="020B0604020202020204" pitchFamily="34" charset="0"/>
                <a:ea typeface="+mn-ea"/>
                <a:cs typeface="Arial" panose="020B0604020202020204" pitchFamily="34" charset="0"/>
              </a:defRPr>
            </a:lvl1pPr>
            <a:lvl2pPr marL="1026805" indent="-398343" algn="l" defTabSz="914126" rtl="0" eaLnBrk="1" latinLnBrk="0" hangingPunct="1">
              <a:lnSpc>
                <a:spcPct val="90000"/>
              </a:lnSpc>
              <a:spcBef>
                <a:spcPts val="500"/>
              </a:spcBef>
              <a:buFont typeface="Courier New" panose="02070309020205020404" pitchFamily="49" charset="0"/>
              <a:buChar char="o"/>
              <a:defRPr sz="2399" kern="1200">
                <a:solidFill>
                  <a:schemeClr val="accent1">
                    <a:lumMod val="50000"/>
                  </a:schemeClr>
                </a:solidFill>
                <a:latin typeface="Arial" panose="020B0604020202020204" pitchFamily="34" charset="0"/>
                <a:ea typeface="+mn-ea"/>
                <a:cs typeface="Arial" panose="020B0604020202020204" pitchFamily="34" charset="0"/>
              </a:defRPr>
            </a:lvl2pPr>
            <a:lvl3pPr marL="1483868" indent="-399930" algn="l" defTabSz="914126" rtl="0" eaLnBrk="1" latinLnBrk="0" hangingPunct="1">
              <a:lnSpc>
                <a:spcPct val="90000"/>
              </a:lnSpc>
              <a:spcBef>
                <a:spcPts val="500"/>
              </a:spcBef>
              <a:buFont typeface="Wingdings" panose="05000000000000000000" pitchFamily="2" charset="2"/>
              <a:buChar char="§"/>
              <a:defRPr sz="1999" kern="1200">
                <a:solidFill>
                  <a:schemeClr val="accent1">
                    <a:lumMod val="50000"/>
                  </a:schemeClr>
                </a:solidFill>
                <a:latin typeface="Arial" panose="020B0604020202020204" pitchFamily="34" charset="0"/>
                <a:ea typeface="+mn-ea"/>
                <a:cs typeface="Arial" panose="020B0604020202020204" pitchFamily="34" charset="0"/>
              </a:defRPr>
            </a:lvl3pPr>
            <a:lvl4pPr marL="1940931" indent="-398343" algn="l" defTabSz="914126" rtl="0" eaLnBrk="1" latinLnBrk="0" hangingPunct="1">
              <a:lnSpc>
                <a:spcPct val="90000"/>
              </a:lnSpc>
              <a:spcBef>
                <a:spcPts val="500"/>
              </a:spcBef>
              <a:buSzPct val="75000"/>
              <a:buFont typeface="Wingdings" panose="05000000000000000000" pitchFamily="2" charset="2"/>
              <a:buChar char="q"/>
              <a:defRPr sz="1799" kern="1200">
                <a:solidFill>
                  <a:schemeClr val="accent1">
                    <a:lumMod val="50000"/>
                  </a:schemeClr>
                </a:solidFill>
                <a:latin typeface="Arial" panose="020B0604020202020204" pitchFamily="34" charset="0"/>
                <a:ea typeface="+mn-ea"/>
                <a:cs typeface="Arial" panose="020B0604020202020204" pitchFamily="34" charset="0"/>
              </a:defRPr>
            </a:lvl4pPr>
            <a:lvl5pPr marL="2172636" indent="-228531" algn="l" defTabSz="914126" rtl="0" eaLnBrk="1" latinLnBrk="0" hangingPunct="1">
              <a:lnSpc>
                <a:spcPct val="90000"/>
              </a:lnSpc>
              <a:spcBef>
                <a:spcPts val="500"/>
              </a:spcBef>
              <a:buFont typeface="Arial" panose="020B0604020202020204" pitchFamily="34" charset="0"/>
              <a:buChar char="•"/>
              <a:defRPr sz="1799" kern="1200">
                <a:solidFill>
                  <a:schemeClr val="accent1">
                    <a:lumMod val="50000"/>
                  </a:schemeClr>
                </a:solidFill>
                <a:latin typeface="Arial" panose="020B0604020202020204" pitchFamily="34" charset="0"/>
                <a:ea typeface="+mn-ea"/>
                <a:cs typeface="Arial" panose="020B0604020202020204" pitchFamily="34" charset="0"/>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defTabSz="685595">
              <a:spcBef>
                <a:spcPts val="750"/>
              </a:spcBef>
              <a:buNone/>
              <a:defRPr/>
            </a:pPr>
            <a:r>
              <a:rPr lang="en-US" altLang="zh-CN" sz="1050" b="1" dirty="0" err="1">
                <a:solidFill>
                  <a:schemeClr val="tx1"/>
                </a:solidFill>
                <a:ea typeface="宋体" panose="02010600030101010101" pitchFamily="2" charset="-122"/>
              </a:rPr>
              <a:t>BsTCE</a:t>
            </a:r>
            <a:r>
              <a:rPr lang="en-US" altLang="zh-CN" sz="1050" b="1" dirty="0">
                <a:solidFill>
                  <a:schemeClr val="tx1"/>
                </a:solidFill>
                <a:ea typeface="宋体" panose="02010600030101010101" pitchFamily="2" charset="-122"/>
              </a:rPr>
              <a:t>		Antigen Target	Disease	ORR	CR	PFS (1yr)	CRS (</a:t>
            </a:r>
            <a:r>
              <a:rPr lang="en-US" altLang="zh-CN" sz="1050" b="1" u="sng" dirty="0">
                <a:solidFill>
                  <a:schemeClr val="tx1"/>
                </a:solidFill>
                <a:ea typeface="宋体" panose="02010600030101010101" pitchFamily="2" charset="-122"/>
              </a:rPr>
              <a:t>&gt;</a:t>
            </a:r>
            <a:r>
              <a:rPr lang="en-US" altLang="zh-CN" sz="1050" b="1" dirty="0">
                <a:solidFill>
                  <a:schemeClr val="tx1"/>
                </a:solidFill>
                <a:ea typeface="宋体" panose="02010600030101010101" pitchFamily="2" charset="-122"/>
              </a:rPr>
              <a:t>3)	ICANS (</a:t>
            </a:r>
            <a:r>
              <a:rPr lang="en-US" altLang="zh-CN" sz="1050" b="1" u="sng" dirty="0">
                <a:solidFill>
                  <a:schemeClr val="tx1"/>
                </a:solidFill>
                <a:ea typeface="宋体" panose="02010600030101010101" pitchFamily="2" charset="-122"/>
              </a:rPr>
              <a:t>&gt;</a:t>
            </a:r>
            <a:r>
              <a:rPr lang="en-US" altLang="zh-CN" sz="1050" b="1" dirty="0">
                <a:solidFill>
                  <a:schemeClr val="tx1"/>
                </a:solidFill>
                <a:ea typeface="宋体" panose="02010600030101010101" pitchFamily="2" charset="-122"/>
              </a:rPr>
              <a:t>3)	Pharma	</a:t>
            </a:r>
          </a:p>
          <a:p>
            <a:pPr marL="0" indent="0" defTabSz="685595">
              <a:spcBef>
                <a:spcPts val="750"/>
              </a:spcBef>
              <a:buNone/>
              <a:defRPr/>
            </a:pPr>
            <a:endParaRPr lang="en-US" altLang="zh-CN" sz="1050" b="1" dirty="0">
              <a:solidFill>
                <a:schemeClr val="tx1"/>
              </a:solidFill>
              <a:ea typeface="宋体" panose="02010600030101010101" pitchFamily="2" charset="-122"/>
            </a:endParaRPr>
          </a:p>
          <a:p>
            <a:pPr marL="0" indent="0" defTabSz="685595">
              <a:spcBef>
                <a:spcPts val="750"/>
              </a:spcBef>
              <a:buNone/>
              <a:defRPr/>
            </a:pPr>
            <a:r>
              <a:rPr lang="en-US" altLang="zh-CN" sz="1050" b="1" dirty="0" err="1">
                <a:solidFill>
                  <a:schemeClr val="tx1"/>
                </a:solidFill>
                <a:ea typeface="宋体" panose="02010600030101010101" pitchFamily="2" charset="-122"/>
              </a:rPr>
              <a:t>Mosunetuzumab</a:t>
            </a:r>
            <a:r>
              <a:rPr lang="en-US" altLang="zh-CN" sz="1050" b="1" dirty="0">
                <a:solidFill>
                  <a:schemeClr val="tx1"/>
                </a:solidFill>
                <a:ea typeface="宋体" panose="02010600030101010101" pitchFamily="2" charset="-122"/>
              </a:rPr>
              <a:t>	CD20		</a:t>
            </a:r>
            <a:r>
              <a:rPr lang="en-US" altLang="zh-CN" sz="1050" b="1" dirty="0" err="1">
                <a:solidFill>
                  <a:schemeClr val="tx1"/>
                </a:solidFill>
                <a:ea typeface="宋体" panose="02010600030101010101" pitchFamily="2" charset="-122"/>
              </a:rPr>
              <a:t>rrFL</a:t>
            </a:r>
            <a:r>
              <a:rPr lang="en-US" altLang="zh-CN" sz="1050" b="1" dirty="0">
                <a:solidFill>
                  <a:schemeClr val="tx1"/>
                </a:solidFill>
                <a:ea typeface="宋体" panose="02010600030101010101" pitchFamily="2" charset="-122"/>
              </a:rPr>
              <a:t>	 80%	60%	57.7%	39% (2%)	39%		Roche</a:t>
            </a:r>
          </a:p>
          <a:p>
            <a:pPr marL="0" indent="0" defTabSz="685595">
              <a:spcBef>
                <a:spcPts val="750"/>
              </a:spcBef>
              <a:buNone/>
              <a:defRPr/>
            </a:pPr>
            <a:endParaRPr lang="en-US" altLang="zh-CN" sz="1050" b="1" dirty="0">
              <a:solidFill>
                <a:schemeClr val="tx1"/>
              </a:solidFill>
              <a:ea typeface="宋体" panose="02010600030101010101" pitchFamily="2" charset="-122"/>
            </a:endParaRPr>
          </a:p>
          <a:p>
            <a:pPr marL="0" indent="0">
              <a:buNone/>
              <a:defRPr/>
            </a:pPr>
            <a:r>
              <a:rPr lang="en-US" altLang="zh-CN" sz="1050" b="1" dirty="0" err="1">
                <a:solidFill>
                  <a:schemeClr val="tx1"/>
                </a:solidFill>
                <a:latin typeface="Arial"/>
                <a:ea typeface="宋体"/>
                <a:cs typeface="Arial"/>
              </a:rPr>
              <a:t>Glofitamab</a:t>
            </a:r>
            <a:r>
              <a:rPr lang="en-US" altLang="zh-CN" sz="1050" b="1" dirty="0">
                <a:solidFill>
                  <a:schemeClr val="tx1"/>
                </a:solidFill>
                <a:latin typeface="Arial"/>
                <a:ea typeface="宋体"/>
                <a:cs typeface="Arial"/>
              </a:rPr>
              <a:t>	CD20		</a:t>
            </a:r>
            <a:r>
              <a:rPr lang="en-US" altLang="zh-CN" sz="1050" b="1" dirty="0" err="1">
                <a:solidFill>
                  <a:schemeClr val="tx1"/>
                </a:solidFill>
                <a:latin typeface="Arial"/>
                <a:ea typeface="宋体"/>
                <a:cs typeface="Arial"/>
              </a:rPr>
              <a:t>rrDLBCL</a:t>
            </a:r>
            <a:r>
              <a:rPr lang="en-US" altLang="zh-CN" sz="1050" b="1" dirty="0">
                <a:solidFill>
                  <a:schemeClr val="tx1"/>
                </a:solidFill>
                <a:latin typeface="Arial"/>
                <a:ea typeface="宋体"/>
                <a:cs typeface="Arial"/>
              </a:rPr>
              <a:t>	</a:t>
            </a:r>
            <a:r>
              <a:rPr lang="en-US" altLang="zh-CN" sz="1050" b="1" dirty="0">
                <a:solidFill>
                  <a:schemeClr val="tx1"/>
                </a:solidFill>
                <a:ea typeface="宋体" panose="02010600030101010101" pitchFamily="2" charset="-122"/>
              </a:rPr>
              <a:t> 56%	43%	37%  	70%	4.8%		Roche</a:t>
            </a:r>
          </a:p>
          <a:p>
            <a:pPr marL="0" indent="0">
              <a:buNone/>
              <a:defRPr/>
            </a:pPr>
            <a:endParaRPr lang="en-US" altLang="zh-CN" sz="1050" b="1" dirty="0">
              <a:solidFill>
                <a:schemeClr val="tx1"/>
              </a:solidFill>
              <a:latin typeface="Arial"/>
              <a:ea typeface="宋体"/>
              <a:cs typeface="Arial"/>
            </a:endParaRPr>
          </a:p>
          <a:p>
            <a:pPr marL="0" indent="0">
              <a:buNone/>
              <a:defRPr/>
            </a:pPr>
            <a:r>
              <a:rPr lang="en-US" altLang="zh-CN" sz="1050" b="1" dirty="0" err="1">
                <a:solidFill>
                  <a:schemeClr val="tx1"/>
                </a:solidFill>
                <a:ea typeface="宋体" panose="02010600030101010101" pitchFamily="2" charset="-122"/>
              </a:rPr>
              <a:t>Epcoritamab</a:t>
            </a:r>
            <a:r>
              <a:rPr lang="en-US" altLang="zh-CN" sz="1050" b="1" dirty="0">
                <a:solidFill>
                  <a:schemeClr val="tx1"/>
                </a:solidFill>
                <a:ea typeface="宋体" panose="02010600030101010101" pitchFamily="2" charset="-122"/>
              </a:rPr>
              <a:t>	CD20		</a:t>
            </a:r>
            <a:r>
              <a:rPr lang="en-US" altLang="zh-CN" sz="1050" b="1" dirty="0" err="1">
                <a:solidFill>
                  <a:schemeClr val="tx1"/>
                </a:solidFill>
                <a:ea typeface="宋体" panose="02010600030101010101" pitchFamily="2" charset="-122"/>
              </a:rPr>
              <a:t>rrFL</a:t>
            </a:r>
            <a:r>
              <a:rPr lang="en-US" altLang="zh-CN" sz="1050" b="1" dirty="0">
                <a:solidFill>
                  <a:schemeClr val="tx1"/>
                </a:solidFill>
                <a:ea typeface="宋体" panose="02010600030101010101" pitchFamily="2" charset="-122"/>
              </a:rPr>
              <a:t>/DLBCL 61%	38%	</a:t>
            </a:r>
            <a:r>
              <a:rPr lang="en-US" altLang="zh-CN" sz="1050" b="1" dirty="0" err="1">
                <a:solidFill>
                  <a:schemeClr val="tx1"/>
                </a:solidFill>
                <a:ea typeface="宋体" panose="02010600030101010101" pitchFamily="2" charset="-122"/>
              </a:rPr>
              <a:t>na</a:t>
            </a:r>
            <a:r>
              <a:rPr lang="en-US" altLang="zh-CN" sz="1050" b="1" dirty="0">
                <a:solidFill>
                  <a:schemeClr val="tx1"/>
                </a:solidFill>
                <a:ea typeface="宋体" panose="02010600030101010101" pitchFamily="2" charset="-122"/>
              </a:rPr>
              <a:t>	51% (0%)	6% (4%)		Genmab</a:t>
            </a:r>
          </a:p>
          <a:p>
            <a:pPr marL="0" indent="0">
              <a:buNone/>
              <a:defRPr/>
            </a:pPr>
            <a:endParaRPr lang="en-US" altLang="zh-CN" sz="1050" b="1" dirty="0">
              <a:solidFill>
                <a:schemeClr val="tx1"/>
              </a:solidFill>
              <a:latin typeface="Arial"/>
              <a:ea typeface="宋体"/>
              <a:cs typeface="Arial"/>
            </a:endParaRPr>
          </a:p>
          <a:p>
            <a:pPr marL="0" indent="0">
              <a:buNone/>
              <a:defRPr/>
            </a:pPr>
            <a:r>
              <a:rPr lang="en-US" altLang="zh-CN" sz="1050" b="1" dirty="0" err="1">
                <a:solidFill>
                  <a:schemeClr val="tx1"/>
                </a:solidFill>
                <a:latin typeface="Arial"/>
                <a:ea typeface="宋体"/>
                <a:cs typeface="Arial"/>
              </a:rPr>
              <a:t>Teclistamab</a:t>
            </a:r>
            <a:r>
              <a:rPr lang="en-US" altLang="zh-CN" sz="1050" b="1" dirty="0">
                <a:solidFill>
                  <a:schemeClr val="tx1"/>
                </a:solidFill>
                <a:latin typeface="Arial"/>
                <a:ea typeface="宋体"/>
                <a:cs typeface="Arial"/>
              </a:rPr>
              <a:t>	BCMA		</a:t>
            </a:r>
            <a:r>
              <a:rPr lang="en-US" altLang="zh-CN" sz="1050" b="1" dirty="0" err="1">
                <a:solidFill>
                  <a:schemeClr val="tx1"/>
                </a:solidFill>
                <a:latin typeface="Arial"/>
                <a:ea typeface="宋体"/>
                <a:cs typeface="Arial"/>
              </a:rPr>
              <a:t>rrMM</a:t>
            </a:r>
            <a:r>
              <a:rPr lang="en-US" altLang="zh-CN" sz="1050" b="1" dirty="0">
                <a:solidFill>
                  <a:schemeClr val="tx1"/>
                </a:solidFill>
                <a:latin typeface="Arial"/>
                <a:ea typeface="宋体"/>
                <a:cs typeface="Arial"/>
              </a:rPr>
              <a:t>	61.8%			72% 	57% / 6%		J&amp;J	</a:t>
            </a:r>
          </a:p>
          <a:p>
            <a:pPr marL="0" indent="0">
              <a:buNone/>
              <a:defRPr/>
            </a:pPr>
            <a:r>
              <a:rPr lang="en-US" altLang="zh-CN" sz="1050" b="1" dirty="0" err="1">
                <a:solidFill>
                  <a:schemeClr val="tx1"/>
                </a:solidFill>
                <a:latin typeface="Arial"/>
                <a:ea typeface="宋体"/>
                <a:cs typeface="Arial"/>
              </a:rPr>
              <a:t>Elranatamab</a:t>
            </a:r>
            <a:r>
              <a:rPr lang="en-US" altLang="zh-CN" sz="1050" b="1" dirty="0">
                <a:solidFill>
                  <a:schemeClr val="tx1"/>
                </a:solidFill>
                <a:latin typeface="Arial"/>
                <a:ea typeface="宋体"/>
                <a:cs typeface="Arial"/>
              </a:rPr>
              <a:t>	BCMA		</a:t>
            </a:r>
            <a:r>
              <a:rPr lang="en-US" altLang="zh-CN" sz="1050" b="1" dirty="0" err="1">
                <a:solidFill>
                  <a:schemeClr val="tx1"/>
                </a:solidFill>
                <a:latin typeface="Arial"/>
                <a:ea typeface="宋体"/>
                <a:cs typeface="Arial"/>
              </a:rPr>
              <a:t>rrMM</a:t>
            </a:r>
            <a:r>
              <a:rPr lang="en-US" altLang="zh-CN" sz="1050" b="1" dirty="0">
                <a:solidFill>
                  <a:schemeClr val="tx1"/>
                </a:solidFill>
                <a:latin typeface="Arial"/>
                <a:ea typeface="宋体"/>
                <a:cs typeface="Arial"/>
              </a:rPr>
              <a:t>	57.7%			58%	59% / 7%		Pfizer</a:t>
            </a:r>
          </a:p>
          <a:p>
            <a:pPr marL="0" indent="0">
              <a:buNone/>
              <a:defRPr/>
            </a:pPr>
            <a:endParaRPr lang="en-US" altLang="zh-CN" sz="1050" b="1" dirty="0">
              <a:solidFill>
                <a:schemeClr val="tx1"/>
              </a:solidFill>
              <a:latin typeface="Arial"/>
              <a:ea typeface="宋体"/>
              <a:cs typeface="Arial"/>
            </a:endParaRPr>
          </a:p>
          <a:p>
            <a:pPr marL="0" indent="0">
              <a:buNone/>
              <a:defRPr/>
            </a:pPr>
            <a:r>
              <a:rPr lang="en-US" altLang="zh-CN" sz="1050" b="1" dirty="0" err="1">
                <a:solidFill>
                  <a:schemeClr val="tx1"/>
                </a:solidFill>
                <a:latin typeface="Arial"/>
                <a:ea typeface="宋体"/>
                <a:cs typeface="Arial"/>
              </a:rPr>
              <a:t>Talquetamab</a:t>
            </a:r>
            <a:r>
              <a:rPr lang="en-US" altLang="zh-CN" sz="1050" b="1" dirty="0">
                <a:solidFill>
                  <a:schemeClr val="tx1"/>
                </a:solidFill>
                <a:latin typeface="Arial"/>
                <a:ea typeface="宋体"/>
                <a:cs typeface="Arial"/>
              </a:rPr>
              <a:t>	GPCR5D		</a:t>
            </a:r>
            <a:r>
              <a:rPr lang="en-US" altLang="zh-CN" sz="1050" b="1" dirty="0" err="1">
                <a:solidFill>
                  <a:schemeClr val="tx1"/>
                </a:solidFill>
                <a:latin typeface="Arial"/>
                <a:ea typeface="宋体"/>
                <a:cs typeface="Arial"/>
              </a:rPr>
              <a:t>rrMM</a:t>
            </a:r>
            <a:r>
              <a:rPr lang="en-US" altLang="zh-CN" sz="1050" b="1" dirty="0">
                <a:solidFill>
                  <a:schemeClr val="tx1"/>
                </a:solidFill>
                <a:latin typeface="Arial"/>
                <a:ea typeface="宋体"/>
                <a:cs typeface="Arial"/>
              </a:rPr>
              <a:t>	73% 	33%		76%	23%		J&amp;J</a:t>
            </a:r>
          </a:p>
          <a:p>
            <a:pPr marL="0" indent="0">
              <a:buNone/>
              <a:defRPr/>
            </a:pPr>
            <a:endParaRPr lang="en-US" altLang="zh-CN" sz="1050" b="1" dirty="0">
              <a:solidFill>
                <a:schemeClr val="tx1"/>
              </a:solidFill>
              <a:latin typeface="Arial"/>
              <a:ea typeface="宋体"/>
              <a:cs typeface="Arial"/>
            </a:endParaRPr>
          </a:p>
          <a:p>
            <a:pPr marL="0" indent="0" defTabSz="685595">
              <a:spcBef>
                <a:spcPts val="750"/>
              </a:spcBef>
              <a:buNone/>
              <a:defRPr/>
            </a:pPr>
            <a:endParaRPr lang="en-US" altLang="zh-CN" sz="1050" b="1" dirty="0">
              <a:solidFill>
                <a:schemeClr val="accent2">
                  <a:lumMod val="75000"/>
                </a:schemeClr>
              </a:solidFill>
              <a:ea typeface="宋体" panose="02010600030101010101" pitchFamily="2" charset="-122"/>
            </a:endParaRPr>
          </a:p>
          <a:p>
            <a:pPr marL="0" indent="0" defTabSz="685595">
              <a:spcBef>
                <a:spcPts val="750"/>
              </a:spcBef>
              <a:buNone/>
              <a:defRPr/>
            </a:pPr>
            <a:r>
              <a:rPr lang="en-US" altLang="zh-CN" sz="1200" b="1" dirty="0">
                <a:solidFill>
                  <a:schemeClr val="accent2">
                    <a:lumMod val="75000"/>
                  </a:schemeClr>
                </a:solidFill>
                <a:ea typeface="宋体" panose="02010600030101010101" pitchFamily="2" charset="-122"/>
              </a:rPr>
              <a:t>TNB-486		CD19		</a:t>
            </a:r>
            <a:r>
              <a:rPr lang="en-US" altLang="zh-CN" sz="1200" b="1" dirty="0" err="1">
                <a:solidFill>
                  <a:schemeClr val="accent2">
                    <a:lumMod val="75000"/>
                  </a:schemeClr>
                </a:solidFill>
                <a:ea typeface="宋体" panose="02010600030101010101" pitchFamily="2" charset="-122"/>
              </a:rPr>
              <a:t>rrFL</a:t>
            </a:r>
            <a:r>
              <a:rPr lang="en-US" altLang="zh-CN" sz="1200" b="1" dirty="0">
                <a:solidFill>
                  <a:schemeClr val="accent2">
                    <a:lumMod val="75000"/>
                  </a:schemeClr>
                </a:solidFill>
                <a:ea typeface="宋体" panose="02010600030101010101" pitchFamily="2" charset="-122"/>
              </a:rPr>
              <a:t> 	91%	91%		64.7% (0%)23% (1%)	AZ</a:t>
            </a:r>
          </a:p>
          <a:p>
            <a:pPr marL="0" indent="0" defTabSz="685595">
              <a:spcBef>
                <a:spcPts val="750"/>
              </a:spcBef>
              <a:buNone/>
              <a:defRPr/>
            </a:pPr>
            <a:r>
              <a:rPr lang="en-US" altLang="zh-CN" sz="1050" b="1" dirty="0">
                <a:solidFill>
                  <a:schemeClr val="accent2">
                    <a:lumMod val="75000"/>
                  </a:schemeClr>
                </a:solidFill>
                <a:ea typeface="宋体" panose="02010600030101010101" pitchFamily="2" charset="-122"/>
              </a:rPr>
              <a:t> 2 step doses							30% 	5%</a:t>
            </a:r>
            <a:r>
              <a:rPr lang="en-US" altLang="zh-CN" sz="1050" b="1" dirty="0">
                <a:solidFill>
                  <a:schemeClr val="tx1"/>
                </a:solidFill>
                <a:ea typeface="宋体" panose="02010600030101010101" pitchFamily="2" charset="-122"/>
              </a:rPr>
              <a:t>		</a:t>
            </a:r>
            <a:endParaRPr lang="zh-CN" altLang="en-US" sz="1050" b="1" dirty="0">
              <a:solidFill>
                <a:schemeClr val="tx1"/>
              </a:solidFill>
              <a:ea typeface="宋体" panose="02010600030101010101" pitchFamily="2" charset="-122"/>
            </a:endParaRPr>
          </a:p>
        </p:txBody>
      </p:sp>
      <p:cxnSp>
        <p:nvCxnSpPr>
          <p:cNvPr id="6" name="Straight Connector 5">
            <a:extLst>
              <a:ext uri="{FF2B5EF4-FFF2-40B4-BE49-F238E27FC236}">
                <a16:creationId xmlns:a16="http://schemas.microsoft.com/office/drawing/2014/main" id="{E4771E5E-A2F6-1794-2320-40DA82AC4AC4}"/>
              </a:ext>
            </a:extLst>
          </p:cNvPr>
          <p:cNvCxnSpPr>
            <a:cxnSpLocks/>
          </p:cNvCxnSpPr>
          <p:nvPr/>
        </p:nvCxnSpPr>
        <p:spPr>
          <a:xfrm>
            <a:off x="662103" y="1307074"/>
            <a:ext cx="770131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8667033-587B-8FBD-279C-534D16FA0A7E}"/>
              </a:ext>
            </a:extLst>
          </p:cNvPr>
          <p:cNvCxnSpPr>
            <a:cxnSpLocks/>
          </p:cNvCxnSpPr>
          <p:nvPr/>
        </p:nvCxnSpPr>
        <p:spPr>
          <a:xfrm>
            <a:off x="634228" y="919571"/>
            <a:ext cx="7821185" cy="5266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0519109-90BF-0952-72A9-2C6FA154B7D6}"/>
              </a:ext>
            </a:extLst>
          </p:cNvPr>
          <p:cNvCxnSpPr>
            <a:cxnSpLocks/>
          </p:cNvCxnSpPr>
          <p:nvPr/>
        </p:nvCxnSpPr>
        <p:spPr>
          <a:xfrm>
            <a:off x="634228" y="4206391"/>
            <a:ext cx="765391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73C77B7B-17EA-6034-6A76-641F6515949B}"/>
              </a:ext>
            </a:extLst>
          </p:cNvPr>
          <p:cNvSpPr txBox="1"/>
          <p:nvPr/>
        </p:nvSpPr>
        <p:spPr>
          <a:xfrm>
            <a:off x="1" y="4322611"/>
            <a:ext cx="646331" cy="369332"/>
          </a:xfrm>
          <a:prstGeom prst="rect">
            <a:avLst/>
          </a:prstGeom>
          <a:noFill/>
        </p:spPr>
        <p:txBody>
          <a:bodyPr wrap="none" rtlCol="0">
            <a:spAutoFit/>
          </a:bodyPr>
          <a:lstStyle/>
          <a:p>
            <a:pPr defTabSz="685800" fontAlgn="auto">
              <a:spcBef>
                <a:spcPts val="0"/>
              </a:spcBef>
              <a:spcAft>
                <a:spcPts val="0"/>
              </a:spcAft>
            </a:pPr>
            <a:r>
              <a:rPr lang="en-US" sz="900" dirty="0">
                <a:solidFill>
                  <a:srgbClr val="ED7D31">
                    <a:lumMod val="75000"/>
                  </a:srgbClr>
                </a:solidFill>
                <a:latin typeface="Calibri" panose="020F0502020204030204"/>
                <a:ea typeface="+mn-ea"/>
                <a:cs typeface="+mn-cs"/>
              </a:rPr>
              <a:t>Not FDA </a:t>
            </a:r>
          </a:p>
          <a:p>
            <a:pPr defTabSz="685800" fontAlgn="auto">
              <a:spcBef>
                <a:spcPts val="0"/>
              </a:spcBef>
              <a:spcAft>
                <a:spcPts val="0"/>
              </a:spcAft>
            </a:pPr>
            <a:r>
              <a:rPr lang="en-US" sz="900" dirty="0">
                <a:solidFill>
                  <a:srgbClr val="ED7D31">
                    <a:lumMod val="75000"/>
                  </a:srgbClr>
                </a:solidFill>
                <a:latin typeface="Calibri" panose="020F0502020204030204"/>
                <a:ea typeface="+mn-ea"/>
                <a:cs typeface="+mn-cs"/>
              </a:rPr>
              <a:t>Approved</a:t>
            </a:r>
          </a:p>
        </p:txBody>
      </p:sp>
    </p:spTree>
    <p:extLst>
      <p:ext uri="{BB962C8B-B14F-4D97-AF65-F5344CB8AC3E}">
        <p14:creationId xmlns:p14="http://schemas.microsoft.com/office/powerpoint/2010/main" val="360171553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F2239C7-76B6-FC71-8DAF-0FD394888A4F}"/>
              </a:ext>
            </a:extLst>
          </p:cNvPr>
          <p:cNvSpPr>
            <a:spLocks noGrp="1"/>
          </p:cNvSpPr>
          <p:nvPr>
            <p:ph type="dt" sz="half" idx="20"/>
          </p:nvPr>
        </p:nvSpPr>
        <p:spPr/>
        <p:txBody>
          <a:bodyPr/>
          <a:lstStyle/>
          <a:p>
            <a:endParaRPr lang="en-GB"/>
          </a:p>
        </p:txBody>
      </p:sp>
      <p:sp>
        <p:nvSpPr>
          <p:cNvPr id="10" name="Title 1">
            <a:extLst>
              <a:ext uri="{FF2B5EF4-FFF2-40B4-BE49-F238E27FC236}">
                <a16:creationId xmlns:a16="http://schemas.microsoft.com/office/drawing/2014/main" id="{012B0127-8817-7D9B-76E6-02C5AB82680D}"/>
              </a:ext>
            </a:extLst>
          </p:cNvPr>
          <p:cNvSpPr txBox="1">
            <a:spLocks/>
          </p:cNvSpPr>
          <p:nvPr/>
        </p:nvSpPr>
        <p:spPr>
          <a:xfrm>
            <a:off x="1036365" y="403953"/>
            <a:ext cx="7134747" cy="1962164"/>
          </a:xfrm>
          <a:prstGeom prst="rect">
            <a:avLst/>
          </a:prstGeom>
        </p:spPr>
        <p:txBody>
          <a:bodyPr vert="horz" lIns="0" tIns="0" rIns="0" bIns="0" rtlCol="0" anchor="t">
            <a:noAutofit/>
          </a:bodyPr>
          <a:lstStyle>
            <a:lvl1pPr>
              <a:lnSpc>
                <a:spcPct val="100000"/>
              </a:lnSpc>
              <a:spcBef>
                <a:spcPct val="0"/>
              </a:spcBef>
              <a:buNone/>
              <a:defRPr sz="3600">
                <a:solidFill>
                  <a:schemeClr val="accent1"/>
                </a:solidFill>
                <a:latin typeface="+mj-lt"/>
                <a:ea typeface="+mj-ea"/>
                <a:cs typeface="+mj-cs"/>
              </a:defRPr>
            </a:lvl1pPr>
          </a:lstStyle>
          <a:p>
            <a:pPr algn="ctr"/>
            <a:r>
              <a:rPr lang="en-GB" sz="2400" b="1" dirty="0">
                <a:solidFill>
                  <a:srgbClr val="003767"/>
                </a:solidFill>
                <a:latin typeface="+mn-lt"/>
              </a:rPr>
              <a:t>Interim Results of a Phase 1 Study of </a:t>
            </a:r>
          </a:p>
          <a:p>
            <a:pPr algn="ctr"/>
            <a:r>
              <a:rPr lang="en-GB" sz="2400" b="1" dirty="0">
                <a:solidFill>
                  <a:srgbClr val="003767"/>
                </a:solidFill>
                <a:latin typeface="+mn-lt"/>
              </a:rPr>
              <a:t>TNB-486, a Novel CD19xCD3 T-Cell Engager, in Patients with Relapsed / Refractory (R/R) B-cell Non-Hodgkin lymphoma (B-NHL)</a:t>
            </a:r>
          </a:p>
        </p:txBody>
      </p:sp>
      <p:cxnSp>
        <p:nvCxnSpPr>
          <p:cNvPr id="3" name="Straight Connector 2">
            <a:extLst>
              <a:ext uri="{FF2B5EF4-FFF2-40B4-BE49-F238E27FC236}">
                <a16:creationId xmlns:a16="http://schemas.microsoft.com/office/drawing/2014/main" id="{3F170077-F6A5-47AB-B690-4ECC056AD63D}"/>
              </a:ext>
            </a:extLst>
          </p:cNvPr>
          <p:cNvCxnSpPr/>
          <p:nvPr/>
        </p:nvCxnSpPr>
        <p:spPr>
          <a:xfrm>
            <a:off x="699247" y="2154624"/>
            <a:ext cx="7816103"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128EF26-F3F4-413E-9006-B6FE58288233}"/>
              </a:ext>
            </a:extLst>
          </p:cNvPr>
          <p:cNvSpPr txBox="1"/>
          <p:nvPr/>
        </p:nvSpPr>
        <p:spPr>
          <a:xfrm>
            <a:off x="733320" y="3150947"/>
            <a:ext cx="7677359" cy="1255728"/>
          </a:xfrm>
          <a:prstGeom prst="rect">
            <a:avLst/>
          </a:prstGeom>
          <a:noFill/>
        </p:spPr>
        <p:txBody>
          <a:bodyPr wrap="square" rtlCol="0">
            <a:spAutoFit/>
          </a:bodyPr>
          <a:lstStyle/>
          <a:p>
            <a:pPr>
              <a:lnSpc>
                <a:spcPct val="90000"/>
              </a:lnSpc>
              <a:spcAft>
                <a:spcPts val="450"/>
              </a:spcAft>
            </a:pPr>
            <a:r>
              <a:rPr lang="en-GB" sz="1050" i="1" baseline="30000"/>
              <a:t>1</a:t>
            </a:r>
            <a:r>
              <a:rPr lang="en-GB" sz="1050" i="1"/>
              <a:t>Hematology and BMT, Lemieux </a:t>
            </a:r>
            <a:r>
              <a:rPr lang="en-GB" sz="1050" i="1" err="1"/>
              <a:t>Center</a:t>
            </a:r>
            <a:r>
              <a:rPr lang="en-GB" sz="1050" i="1"/>
              <a:t> for Blood Cancers, UPMC Hillman Cancer </a:t>
            </a:r>
            <a:r>
              <a:rPr lang="en-GB" sz="1050" i="1" err="1"/>
              <a:t>Center</a:t>
            </a:r>
            <a:r>
              <a:rPr lang="en-GB" sz="1050" i="1"/>
              <a:t>, Pittsburgh, PA; </a:t>
            </a:r>
            <a:r>
              <a:rPr lang="en-GB" sz="1050" i="1" baseline="30000"/>
              <a:t>2</a:t>
            </a:r>
            <a:r>
              <a:rPr lang="en-GB" sz="1050" i="1"/>
              <a:t>Hematology, Atrium Health Levine Cancer Institute, Charlotte, NC; </a:t>
            </a:r>
            <a:r>
              <a:rPr lang="en-GB" sz="1050" i="1" baseline="30000"/>
              <a:t>3</a:t>
            </a:r>
            <a:r>
              <a:rPr lang="en-GB" sz="1050" i="1"/>
              <a:t>Department of Oncology, Asan Medical </a:t>
            </a:r>
            <a:r>
              <a:rPr lang="en-GB" sz="1050" i="1" err="1"/>
              <a:t>Center</a:t>
            </a:r>
            <a:r>
              <a:rPr lang="en-GB" sz="1050" i="1"/>
              <a:t>, University of Ulsan College of Medicine, Seoul, Korea, Republic of (South); </a:t>
            </a:r>
            <a:r>
              <a:rPr lang="en-GB" sz="1050" i="1" baseline="30000"/>
              <a:t>4</a:t>
            </a:r>
            <a:r>
              <a:rPr lang="en-GB" sz="1050" i="1"/>
              <a:t>Department of </a:t>
            </a:r>
            <a:r>
              <a:rPr lang="en-GB" sz="1050" i="1" err="1"/>
              <a:t>Hematology</a:t>
            </a:r>
            <a:r>
              <a:rPr lang="en-GB" sz="1050" i="1"/>
              <a:t>, Seoul St. Mary's </a:t>
            </a:r>
            <a:r>
              <a:rPr lang="en-GB" sz="1050" i="1" err="1"/>
              <a:t>Hematology</a:t>
            </a:r>
            <a:r>
              <a:rPr lang="en-GB" sz="1050" i="1"/>
              <a:t> Hospital, College of Medicine, The Catholic University of Korea, Seoul, Korea, Republic of (South); </a:t>
            </a:r>
            <a:r>
              <a:rPr lang="en-GB" sz="1050" i="1" baseline="30000"/>
              <a:t>5</a:t>
            </a:r>
            <a:r>
              <a:rPr lang="en-GB" sz="1050" i="1"/>
              <a:t>Internal Medicine/</a:t>
            </a:r>
            <a:r>
              <a:rPr lang="en-GB" sz="1050" i="1" err="1"/>
              <a:t>Hematology</a:t>
            </a:r>
            <a:r>
              <a:rPr lang="en-GB" sz="1050" i="1"/>
              <a:t>/Oncology, University of Michigan, Milwaukee, WI; </a:t>
            </a:r>
            <a:r>
              <a:rPr lang="en-GB" sz="1050" i="1" baseline="30000"/>
              <a:t>6</a:t>
            </a:r>
            <a:r>
              <a:rPr lang="en-GB" sz="1050" i="1"/>
              <a:t>Department of Malignant </a:t>
            </a:r>
            <a:r>
              <a:rPr lang="en-GB" sz="1050" i="1" err="1"/>
              <a:t>Hematology</a:t>
            </a:r>
            <a:r>
              <a:rPr lang="en-GB" sz="1050" i="1"/>
              <a:t>, H. Lee Moffitt Cancer </a:t>
            </a:r>
            <a:r>
              <a:rPr lang="en-GB" sz="1050" i="1" err="1"/>
              <a:t>Center</a:t>
            </a:r>
            <a:r>
              <a:rPr lang="en-GB" sz="1050" i="1"/>
              <a:t> and Research Institute, Tampa, FL; </a:t>
            </a:r>
            <a:r>
              <a:rPr lang="en-GB" sz="1050" i="1" baseline="30000"/>
              <a:t>7</a:t>
            </a:r>
            <a:r>
              <a:rPr lang="en-GB" sz="1050" i="1"/>
              <a:t>Norton Cancer Institute, Norton Health Care, Louisville, KY; </a:t>
            </a:r>
            <a:r>
              <a:rPr lang="en-GB" sz="1050" i="1" baseline="30000"/>
              <a:t>8</a:t>
            </a:r>
            <a:r>
              <a:rPr lang="en-GB" sz="1050" i="1"/>
              <a:t>Department of Internal Medicine, Severance Hospital, Yonsei University College of Medicine, Seoul, Korea, Republic of (South); </a:t>
            </a:r>
            <a:r>
              <a:rPr lang="en-GB" sz="1050" i="1" baseline="30000"/>
              <a:t>9</a:t>
            </a:r>
            <a:r>
              <a:rPr lang="en-GB" sz="1050" i="1"/>
              <a:t>Ancora Biotech, Inc., San Francisco, CA; </a:t>
            </a:r>
            <a:r>
              <a:rPr lang="en-GB" sz="1050" i="1" baseline="30000"/>
              <a:t>10</a:t>
            </a:r>
            <a:r>
              <a:rPr lang="en-GB" sz="1050" i="1"/>
              <a:t>Department of Lymphoma/Myeloma, MD Anderson Cancer </a:t>
            </a:r>
            <a:r>
              <a:rPr lang="en-GB" sz="1050" i="1" err="1"/>
              <a:t>Center</a:t>
            </a:r>
            <a:r>
              <a:rPr lang="en-GB" sz="1050" i="1"/>
              <a:t>, Houston, TX</a:t>
            </a:r>
          </a:p>
        </p:txBody>
      </p:sp>
      <p:sp>
        <p:nvSpPr>
          <p:cNvPr id="6" name="TextBox 5">
            <a:extLst>
              <a:ext uri="{FF2B5EF4-FFF2-40B4-BE49-F238E27FC236}">
                <a16:creationId xmlns:a16="http://schemas.microsoft.com/office/drawing/2014/main" id="{90304FD3-1821-447B-8014-B677890F0007}"/>
              </a:ext>
            </a:extLst>
          </p:cNvPr>
          <p:cNvSpPr txBox="1"/>
          <p:nvPr/>
        </p:nvSpPr>
        <p:spPr>
          <a:xfrm>
            <a:off x="699247" y="2366117"/>
            <a:ext cx="7816103" cy="784830"/>
          </a:xfrm>
          <a:prstGeom prst="rect">
            <a:avLst/>
          </a:prstGeom>
          <a:noFill/>
        </p:spPr>
        <p:txBody>
          <a:bodyPr wrap="square" rtlCol="0">
            <a:spAutoFit/>
          </a:bodyPr>
          <a:lstStyle/>
          <a:p>
            <a:r>
              <a:rPr lang="en-GB" sz="1500" b="1"/>
              <a:t>Jing-Zhou Hou, MD, PhD</a:t>
            </a:r>
            <a:r>
              <a:rPr lang="en-GB" sz="1500" b="1" baseline="30000"/>
              <a:t>1</a:t>
            </a:r>
            <a:r>
              <a:rPr lang="en-GB" sz="1500"/>
              <a:t>, Ryan Jacobs</a:t>
            </a:r>
            <a:r>
              <a:rPr lang="en-GB" sz="1500" baseline="30000"/>
              <a:t>2*</a:t>
            </a:r>
            <a:r>
              <a:rPr lang="en-GB" sz="1500"/>
              <a:t>, </a:t>
            </a:r>
            <a:r>
              <a:rPr lang="en-GB" sz="1500" err="1"/>
              <a:t>Dok</a:t>
            </a:r>
            <a:r>
              <a:rPr lang="en-GB" sz="1500"/>
              <a:t> Hyun Yoon, MD, PhD</a:t>
            </a:r>
            <a:r>
              <a:rPr lang="en-GB" sz="1500" baseline="30000"/>
              <a:t>3</a:t>
            </a:r>
            <a:r>
              <a:rPr lang="en-GB" sz="1500"/>
              <a:t>, Seok-Goo Cho, MD, PhD</a:t>
            </a:r>
            <a:r>
              <a:rPr lang="en-GB" sz="1500" baseline="30000"/>
              <a:t>4</a:t>
            </a:r>
            <a:r>
              <a:rPr lang="en-GB" sz="1500"/>
              <a:t>, Sumana Devata, MD</a:t>
            </a:r>
            <a:r>
              <a:rPr lang="en-GB" sz="1500" baseline="30000"/>
              <a:t>5</a:t>
            </a:r>
            <a:r>
              <a:rPr lang="en-GB" sz="1500"/>
              <a:t>, </a:t>
            </a:r>
            <a:r>
              <a:rPr lang="en-GB" sz="1500" err="1"/>
              <a:t>Sameh</a:t>
            </a:r>
            <a:r>
              <a:rPr lang="en-GB" sz="1500"/>
              <a:t> </a:t>
            </a:r>
            <a:r>
              <a:rPr lang="en-GB" sz="1500" err="1"/>
              <a:t>Gaballa</a:t>
            </a:r>
            <a:r>
              <a:rPr lang="en-GB" sz="1500"/>
              <a:t>, MD</a:t>
            </a:r>
            <a:r>
              <a:rPr lang="en-GB" sz="1500" baseline="30000"/>
              <a:t>6 </a:t>
            </a:r>
            <a:r>
              <a:rPr lang="en-GB" sz="1500"/>
              <a:t>, Don A. Stevens, MD</a:t>
            </a:r>
            <a:r>
              <a:rPr lang="en-GB" sz="1500" baseline="30000"/>
              <a:t>7</a:t>
            </a:r>
            <a:r>
              <a:rPr lang="en-GB" sz="1500"/>
              <a:t>, </a:t>
            </a:r>
            <a:r>
              <a:rPr lang="en-GB" sz="1500" err="1"/>
              <a:t>Jin</a:t>
            </a:r>
            <a:r>
              <a:rPr lang="en-GB" sz="1500"/>
              <a:t> Seok Kim, MD, PhD</a:t>
            </a:r>
            <a:r>
              <a:rPr lang="en-GB" sz="1500" baseline="30000"/>
              <a:t>8*</a:t>
            </a:r>
            <a:r>
              <a:rPr lang="en-GB" sz="1500"/>
              <a:t>, Ben </a:t>
            </a:r>
            <a:r>
              <a:rPr lang="en-GB" sz="1500" err="1"/>
              <a:t>Buelow</a:t>
            </a:r>
            <a:r>
              <a:rPr lang="en-GB" sz="1500"/>
              <a:t>, MD, PhD</a:t>
            </a:r>
            <a:r>
              <a:rPr lang="en-GB" sz="1500" baseline="30000"/>
              <a:t>9</a:t>
            </a:r>
            <a:r>
              <a:rPr lang="en-GB" sz="1500"/>
              <a:t> and Ranjit Nair, MD</a:t>
            </a:r>
            <a:r>
              <a:rPr lang="en-GB" sz="1500" baseline="30000"/>
              <a:t>10</a:t>
            </a:r>
          </a:p>
        </p:txBody>
      </p:sp>
    </p:spTree>
    <p:extLst>
      <p:ext uri="{BB962C8B-B14F-4D97-AF65-F5344CB8AC3E}">
        <p14:creationId xmlns:p14="http://schemas.microsoft.com/office/powerpoint/2010/main" val="230465692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9D74FF87-736A-431E-8608-38F7AC0C942A}"/>
              </a:ext>
            </a:extLst>
          </p:cNvPr>
          <p:cNvGraphicFramePr>
            <a:graphicFrameLocks noChangeAspect="1"/>
          </p:cNvGraphicFramePr>
          <p:nvPr>
            <p:custDataLst>
              <p:tags r:id="rId1"/>
            </p:custDataLst>
          </p:nvPr>
        </p:nvGraphicFramePr>
        <p:xfrm>
          <a:off x="1191" y="3572"/>
          <a:ext cx="1191" cy="1191"/>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8" name="Object 37" hidden="1">
                        <a:extLst>
                          <a:ext uri="{FF2B5EF4-FFF2-40B4-BE49-F238E27FC236}">
                            <a16:creationId xmlns:a16="http://schemas.microsoft.com/office/drawing/2014/main" id="{9D74FF87-736A-431E-8608-38F7AC0C942A}"/>
                          </a:ext>
                        </a:extLst>
                      </p:cNvPr>
                      <p:cNvPicPr/>
                      <p:nvPr/>
                    </p:nvPicPr>
                    <p:blipFill>
                      <a:blip r:embed="rId5"/>
                      <a:stretch>
                        <a:fillRect/>
                      </a:stretch>
                    </p:blipFill>
                    <p:spPr>
                      <a:xfrm>
                        <a:off x="1191" y="3572"/>
                        <a:ext cx="1191" cy="1191"/>
                      </a:xfrm>
                      <a:prstGeom prst="rect">
                        <a:avLst/>
                      </a:prstGeom>
                    </p:spPr>
                  </p:pic>
                </p:oleObj>
              </mc:Fallback>
            </mc:AlternateContent>
          </a:graphicData>
        </a:graphic>
      </p:graphicFrame>
      <p:sp>
        <p:nvSpPr>
          <p:cNvPr id="35" name="Title 34">
            <a:extLst>
              <a:ext uri="{FF2B5EF4-FFF2-40B4-BE49-F238E27FC236}">
                <a16:creationId xmlns:a16="http://schemas.microsoft.com/office/drawing/2014/main" id="{B6FAAE2C-77D9-49B0-9DF6-0DE4D2214F1D}"/>
              </a:ext>
            </a:extLst>
          </p:cNvPr>
          <p:cNvSpPr>
            <a:spLocks noGrp="1"/>
          </p:cNvSpPr>
          <p:nvPr>
            <p:ph type="title"/>
          </p:nvPr>
        </p:nvSpPr>
        <p:spPr>
          <a:xfrm>
            <a:off x="268377" y="114516"/>
            <a:ext cx="8538440" cy="517981"/>
          </a:xfrm>
        </p:spPr>
        <p:txBody>
          <a:bodyPr vert="horz">
            <a:normAutofit fontScale="90000"/>
          </a:bodyPr>
          <a:lstStyle/>
          <a:p>
            <a:r>
              <a:rPr lang="en-GB" sz="2400" b="1" dirty="0">
                <a:solidFill>
                  <a:srgbClr val="003767"/>
                </a:solidFill>
              </a:rPr>
              <a:t>AZD0486/TNB486 (CD19xCD3) has unique structural key features</a:t>
            </a:r>
          </a:p>
        </p:txBody>
      </p:sp>
      <p:sp>
        <p:nvSpPr>
          <p:cNvPr id="2" name="Slide Number Placeholder 1">
            <a:extLst>
              <a:ext uri="{FF2B5EF4-FFF2-40B4-BE49-F238E27FC236}">
                <a16:creationId xmlns:a16="http://schemas.microsoft.com/office/drawing/2014/main" id="{C3B0F3C7-4F0C-0FD4-892D-A569843091A3}"/>
              </a:ext>
            </a:extLst>
          </p:cNvPr>
          <p:cNvSpPr>
            <a:spLocks noGrp="1"/>
          </p:cNvSpPr>
          <p:nvPr>
            <p:ph type="sldNum" sz="quarter" idx="22"/>
          </p:nvPr>
        </p:nvSpPr>
        <p:spPr/>
        <p:txBody>
          <a:bodyPr/>
          <a:lstStyle/>
          <a:p>
            <a:pPr algn="r" defTabSz="685800" fontAlgn="auto">
              <a:spcBef>
                <a:spcPts val="0"/>
              </a:spcBef>
              <a:spcAft>
                <a:spcPts val="0"/>
              </a:spcAft>
              <a:defRPr/>
            </a:pPr>
            <a:fld id="{F8E47D07-9D1E-4FE9-B31A-2F5863681021}" type="slidenum">
              <a:rPr lang="en-GB" sz="788">
                <a:solidFill>
                  <a:srgbClr val="3F4444"/>
                </a:solidFill>
                <a:latin typeface="Calibri"/>
                <a:ea typeface="+mn-ea"/>
                <a:cs typeface="+mn-cs"/>
              </a:rPr>
              <a:pPr algn="r" defTabSz="685800" fontAlgn="auto">
                <a:spcBef>
                  <a:spcPts val="0"/>
                </a:spcBef>
                <a:spcAft>
                  <a:spcPts val="0"/>
                </a:spcAft>
                <a:defRPr/>
              </a:pPr>
              <a:t>125</a:t>
            </a:fld>
            <a:endParaRPr lang="en-GB" sz="788">
              <a:solidFill>
                <a:srgbClr val="3F4444"/>
              </a:solidFill>
              <a:latin typeface="Calibri"/>
              <a:ea typeface="+mn-ea"/>
              <a:cs typeface="+mn-cs"/>
            </a:endParaRPr>
          </a:p>
        </p:txBody>
      </p:sp>
      <p:sp>
        <p:nvSpPr>
          <p:cNvPr id="5" name="Content Placeholder 2">
            <a:extLst>
              <a:ext uri="{FF2B5EF4-FFF2-40B4-BE49-F238E27FC236}">
                <a16:creationId xmlns:a16="http://schemas.microsoft.com/office/drawing/2014/main" id="{2409B526-EC0C-9162-461F-41E5C0FCCFE2}"/>
              </a:ext>
            </a:extLst>
          </p:cNvPr>
          <p:cNvSpPr txBox="1">
            <a:spLocks/>
          </p:cNvSpPr>
          <p:nvPr/>
        </p:nvSpPr>
        <p:spPr>
          <a:xfrm>
            <a:off x="223832" y="1029756"/>
            <a:ext cx="5332481" cy="3318431"/>
          </a:xfrm>
          <a:prstGeom prst="rect">
            <a:avLst/>
          </a:prstGeom>
        </p:spPr>
        <p:txBody>
          <a:bodyPr vert="horz" lIns="68580" tIns="34290" rIns="68580" bIns="34290" rtlCol="0" anchor="ctr">
            <a:noAutofit/>
          </a:bodyPr>
          <a:lstStyle>
            <a:defPPr>
              <a:defRPr lang="en-US"/>
            </a:defPPr>
            <a:lvl1pPr marL="228600" marR="0" lvl="0" indent="-228600" fontAlgn="auto">
              <a:lnSpc>
                <a:spcPct val="100000"/>
              </a:lnSpc>
              <a:spcBef>
                <a:spcPts val="0"/>
              </a:spcBef>
              <a:spcAft>
                <a:spcPts val="800"/>
              </a:spcAft>
              <a:buClr>
                <a:srgbClr val="68D2DF"/>
              </a:buClr>
              <a:buSzPct val="100000"/>
              <a:buFont typeface="Calibri" panose="020F0502020204030204"/>
              <a:buChar char="•"/>
              <a:tabLst/>
              <a:defRPr kumimoji="0" sz="2000" b="0" i="0" u="none" strike="noStrike" cap="none" spc="0" normalizeH="0" baseline="0">
                <a:ln>
                  <a:noFill/>
                </a:ln>
                <a:solidFill>
                  <a:srgbClr val="3C1053"/>
                </a:solidFill>
                <a:effectLst/>
                <a:uLnTx/>
                <a:uFillTx/>
                <a:latin typeface="Calibri" panose="020F0502020204030204"/>
              </a:defRPr>
            </a:lvl1pPr>
            <a:lvl2pPr marR="0" lvl="1" indent="0" fontAlgn="auto">
              <a:lnSpc>
                <a:spcPct val="100000"/>
              </a:lnSpc>
              <a:spcBef>
                <a:spcPts val="500"/>
              </a:spcBef>
              <a:spcAft>
                <a:spcPts val="0"/>
              </a:spcAft>
              <a:buClr>
                <a:srgbClr val="830051"/>
              </a:buClr>
              <a:buSzTx/>
              <a:buFont typeface="Arial" panose="020B0604020202020204" pitchFamily="34" charset="0"/>
              <a:buNone/>
              <a:tabLst/>
              <a:defRPr kumimoji="0" sz="2000" b="0" i="0" u="none" strike="noStrike" cap="none" spc="0" normalizeH="0" baseline="0">
                <a:ln>
                  <a:noFill/>
                </a:ln>
                <a:solidFill>
                  <a:srgbClr val="3F4444"/>
                </a:solidFill>
                <a:effectLst/>
                <a:uLnTx/>
                <a:uFillTx/>
                <a:latin typeface="Arial" panose="020B0604020202020204"/>
              </a:defRPr>
            </a:lvl2pPr>
            <a:lvl3pPr marL="1143000" indent="-228600">
              <a:lnSpc>
                <a:spcPct val="100000"/>
              </a:lnSpc>
              <a:spcBef>
                <a:spcPts val="500"/>
              </a:spcBef>
              <a:buFont typeface="Arial" panose="020B0604020202020204" pitchFamily="34" charset="0"/>
              <a:buChar char="•"/>
              <a:defRPr sz="2000"/>
            </a:lvl3pPr>
            <a:lvl4pPr marL="1600200" indent="-228600">
              <a:lnSpc>
                <a:spcPct val="100000"/>
              </a:lnSpc>
              <a:spcBef>
                <a:spcPts val="500"/>
              </a:spcBef>
              <a:buFont typeface="Arial" panose="020B0604020202020204" pitchFamily="34" charset="0"/>
              <a:buChar char="•"/>
            </a:lvl4pPr>
            <a:lvl5pPr marL="2057400" indent="-228600">
              <a:lnSpc>
                <a:spcPct val="10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71450" indent="-171450" defTabSz="685800">
              <a:spcAft>
                <a:spcPts val="600"/>
              </a:spcAft>
              <a:defRPr/>
            </a:pPr>
            <a:r>
              <a:rPr lang="en-US" sz="1500">
                <a:ea typeface="+mn-ea"/>
                <a:cs typeface="+mn-cs"/>
              </a:rPr>
              <a:t>Fully </a:t>
            </a:r>
            <a:r>
              <a:rPr lang="en-US" sz="1500" b="1">
                <a:solidFill>
                  <a:srgbClr val="830051"/>
                </a:solidFill>
                <a:ea typeface="+mn-ea"/>
                <a:cs typeface="+mn-cs"/>
              </a:rPr>
              <a:t>human</a:t>
            </a:r>
            <a:r>
              <a:rPr lang="en-US" sz="1500" b="1">
                <a:ea typeface="+mn-ea"/>
                <a:cs typeface="+mn-cs"/>
              </a:rPr>
              <a:t> </a:t>
            </a:r>
            <a:r>
              <a:rPr lang="en-US" sz="1500">
                <a:ea typeface="+mn-ea"/>
                <a:cs typeface="+mn-cs"/>
              </a:rPr>
              <a:t>antibody</a:t>
            </a:r>
            <a:endParaRPr lang="en-US" sz="1500">
              <a:ea typeface="+mn-ea"/>
              <a:cs typeface="Calibri"/>
            </a:endParaRPr>
          </a:p>
          <a:p>
            <a:pPr marL="171450" indent="-171450" defTabSz="685800">
              <a:spcAft>
                <a:spcPts val="600"/>
              </a:spcAft>
              <a:defRPr/>
            </a:pPr>
            <a:r>
              <a:rPr lang="en-US" sz="1500">
                <a:ea typeface="+mn-ea"/>
                <a:cs typeface="+mn-cs"/>
              </a:rPr>
              <a:t>Unique αCD3 moiety to target lysis with </a:t>
            </a:r>
            <a:r>
              <a:rPr lang="en-US" sz="1500" b="1">
                <a:solidFill>
                  <a:srgbClr val="830051"/>
                </a:solidFill>
                <a:ea typeface="+mn-ea"/>
                <a:cs typeface="+mn-cs"/>
              </a:rPr>
              <a:t>reduced cytokine release</a:t>
            </a:r>
            <a:endParaRPr lang="en-US" sz="1500" b="1">
              <a:solidFill>
                <a:srgbClr val="830051"/>
              </a:solidFill>
              <a:ea typeface="+mn-ea"/>
              <a:cs typeface="Calibri"/>
            </a:endParaRPr>
          </a:p>
          <a:p>
            <a:pPr marL="171450" indent="-171450" defTabSz="685800">
              <a:spcAft>
                <a:spcPts val="600"/>
              </a:spcAft>
              <a:defRPr/>
            </a:pPr>
            <a:r>
              <a:rPr lang="en-US" sz="1500" b="1">
                <a:solidFill>
                  <a:srgbClr val="830051"/>
                </a:solidFill>
                <a:ea typeface="+mn-ea"/>
                <a:cs typeface="+mn-cs"/>
              </a:rPr>
              <a:t>High affinity αCD19 domain</a:t>
            </a:r>
            <a:r>
              <a:rPr lang="en-US" sz="1500" b="1">
                <a:ea typeface="+mn-ea"/>
                <a:cs typeface="+mn-cs"/>
              </a:rPr>
              <a:t>, </a:t>
            </a:r>
            <a:r>
              <a:rPr lang="en-US" sz="1500">
                <a:ea typeface="+mn-ea"/>
                <a:cs typeface="+mn-cs"/>
              </a:rPr>
              <a:t>leading to preferential tumor cell over T-cell binding</a:t>
            </a:r>
            <a:endParaRPr lang="en-US" sz="1500">
              <a:ea typeface="+mn-ea"/>
              <a:cs typeface="Calibri"/>
            </a:endParaRPr>
          </a:p>
          <a:p>
            <a:pPr marL="171450" indent="-171450" defTabSz="685800">
              <a:spcAft>
                <a:spcPts val="600"/>
              </a:spcAft>
              <a:defRPr/>
            </a:pPr>
            <a:r>
              <a:rPr lang="en-US" sz="1500" b="1">
                <a:solidFill>
                  <a:srgbClr val="830051"/>
                </a:solidFill>
                <a:ea typeface="+mn-ea"/>
                <a:cs typeface="+mn-cs"/>
              </a:rPr>
              <a:t>Silenced IgG4 </a:t>
            </a:r>
            <a:r>
              <a:rPr lang="en-US" sz="1500">
                <a:ea typeface="+mn-ea"/>
                <a:cs typeface="+mn-cs"/>
              </a:rPr>
              <a:t>backbone to prevent nonspecific T-cell activation</a:t>
            </a:r>
            <a:endParaRPr lang="en-US" sz="1500">
              <a:ea typeface="+mn-ea"/>
              <a:cs typeface="Calibri"/>
            </a:endParaRPr>
          </a:p>
          <a:p>
            <a:pPr marL="171450" indent="-171450" defTabSz="685800">
              <a:spcAft>
                <a:spcPts val="600"/>
              </a:spcAft>
              <a:defRPr/>
            </a:pPr>
            <a:r>
              <a:rPr lang="en-US" sz="1500" b="1">
                <a:solidFill>
                  <a:srgbClr val="830051"/>
                </a:solidFill>
                <a:ea typeface="+mn-ea"/>
                <a:cs typeface="+mn-cs"/>
              </a:rPr>
              <a:t>Long half-life </a:t>
            </a:r>
            <a:r>
              <a:rPr lang="en-US" sz="1500">
                <a:ea typeface="+mn-ea"/>
                <a:cs typeface="+mn-cs"/>
              </a:rPr>
              <a:t>(9-11 days) for intermittent dosing</a:t>
            </a:r>
            <a:endParaRPr lang="en-US" sz="1500">
              <a:ea typeface="+mn-ea"/>
              <a:cs typeface="Calibri"/>
            </a:endParaRPr>
          </a:p>
          <a:p>
            <a:pPr marL="171450" indent="-171450" defTabSz="685800">
              <a:spcAft>
                <a:spcPts val="600"/>
              </a:spcAft>
              <a:defRPr/>
            </a:pPr>
            <a:r>
              <a:rPr lang="en-US" sz="1500" b="1">
                <a:solidFill>
                  <a:srgbClr val="830051"/>
                </a:solidFill>
                <a:ea typeface="+mn-ea"/>
                <a:cs typeface="+mn-cs"/>
              </a:rPr>
              <a:t>Off-the-shelf</a:t>
            </a:r>
            <a:r>
              <a:rPr lang="en-US" sz="1500">
                <a:solidFill>
                  <a:srgbClr val="830051"/>
                </a:solidFill>
                <a:ea typeface="+mn-ea"/>
                <a:cs typeface="+mn-cs"/>
              </a:rPr>
              <a:t>,</a:t>
            </a:r>
            <a:r>
              <a:rPr lang="en-US" sz="1500">
                <a:ea typeface="+mn-ea"/>
                <a:cs typeface="+mn-cs"/>
              </a:rPr>
              <a:t> outpatient administration from Cycle 2</a:t>
            </a:r>
            <a:endParaRPr lang="en-US" sz="1500">
              <a:ea typeface="+mn-ea"/>
              <a:cs typeface="Calibri"/>
            </a:endParaRPr>
          </a:p>
          <a:p>
            <a:pPr marL="171450" indent="-171450" defTabSz="685800">
              <a:spcAft>
                <a:spcPts val="600"/>
              </a:spcAft>
              <a:defRPr/>
            </a:pPr>
            <a:r>
              <a:rPr lang="en-US" sz="1500" b="1">
                <a:solidFill>
                  <a:srgbClr val="830051"/>
                </a:solidFill>
                <a:ea typeface="+mn-ea"/>
                <a:cs typeface="+mn-cs"/>
              </a:rPr>
              <a:t>Fixed</a:t>
            </a:r>
            <a:r>
              <a:rPr lang="en-US" sz="1500">
                <a:ea typeface="+mn-ea"/>
                <a:cs typeface="+mn-cs"/>
              </a:rPr>
              <a:t> duration treatment</a:t>
            </a:r>
            <a:endParaRPr lang="en-US" sz="1500">
              <a:ea typeface="+mn-ea"/>
              <a:cs typeface="Calibri"/>
            </a:endParaRPr>
          </a:p>
          <a:p>
            <a:pPr marL="171450" indent="-171450" defTabSz="685800">
              <a:spcAft>
                <a:spcPts val="600"/>
              </a:spcAft>
              <a:defRPr/>
            </a:pPr>
            <a:r>
              <a:rPr lang="en-US" sz="1500" b="1">
                <a:solidFill>
                  <a:srgbClr val="830051"/>
                </a:solidFill>
                <a:ea typeface="+mn-ea"/>
                <a:cs typeface="Calibri"/>
              </a:rPr>
              <a:t>Safer</a:t>
            </a:r>
            <a:r>
              <a:rPr lang="en-US" sz="1500">
                <a:ea typeface="+mn-ea"/>
                <a:cs typeface="Calibri"/>
              </a:rPr>
              <a:t>, accessible choice over CD19 CAR-T, potential superior profile with CD20 combo in 1L </a:t>
            </a:r>
          </a:p>
        </p:txBody>
      </p:sp>
      <p:sp>
        <p:nvSpPr>
          <p:cNvPr id="7" name="TextBox 6">
            <a:extLst>
              <a:ext uri="{FF2B5EF4-FFF2-40B4-BE49-F238E27FC236}">
                <a16:creationId xmlns:a16="http://schemas.microsoft.com/office/drawing/2014/main" id="{717F256E-A79D-C7D7-7858-CC862663E2E7}"/>
              </a:ext>
            </a:extLst>
          </p:cNvPr>
          <p:cNvSpPr txBox="1"/>
          <p:nvPr/>
        </p:nvSpPr>
        <p:spPr>
          <a:xfrm>
            <a:off x="5153442" y="3998652"/>
            <a:ext cx="3867079" cy="334835"/>
          </a:xfrm>
          <a:prstGeom prst="rect">
            <a:avLst/>
          </a:prstGeom>
          <a:noFill/>
        </p:spPr>
        <p:txBody>
          <a:bodyPr wrap="square">
            <a:spAutoFit/>
          </a:bodyPr>
          <a:lstStyle>
            <a:defPPr>
              <a:defRPr lang="en-US"/>
            </a:defPPr>
            <a:lvl1pPr marR="0" lvl="0" indent="0" algn="r" fontAlgn="auto">
              <a:lnSpc>
                <a:spcPct val="100000"/>
              </a:lnSpc>
              <a:spcBef>
                <a:spcPts val="0"/>
              </a:spcBef>
              <a:spcAft>
                <a:spcPts val="0"/>
              </a:spcAft>
              <a:buClrTx/>
              <a:buSzTx/>
              <a:buFontTx/>
              <a:buNone/>
              <a:tabLst/>
              <a:defRPr kumimoji="0" sz="1050" b="0" i="0" u="none" strike="noStrike" cap="none" spc="0" normalizeH="0" baseline="0">
                <a:ln>
                  <a:noFill/>
                </a:ln>
                <a:solidFill>
                  <a:srgbClr val="3F4444"/>
                </a:solidFill>
                <a:effectLst/>
                <a:uLnTx/>
                <a:uFillTx/>
                <a:latin typeface="Arial" panose="020B0604020202020204"/>
              </a:defRPr>
            </a:lvl1pPr>
          </a:lstStyle>
          <a:p>
            <a:pPr defTabSz="685800">
              <a:defRPr/>
            </a:pPr>
            <a:r>
              <a:rPr lang="pt-BR" sz="788">
                <a:ea typeface="+mn-ea"/>
                <a:cs typeface="+mn-cs"/>
              </a:rPr>
              <a:t>1. Malik-Chaudry et al. Mabs 2021; 13(1), e1890411 (15 pages) </a:t>
            </a:r>
          </a:p>
          <a:p>
            <a:pPr defTabSz="685800">
              <a:defRPr/>
            </a:pPr>
            <a:r>
              <a:rPr lang="pt-BR" sz="788">
                <a:ea typeface="+mn-ea"/>
                <a:cs typeface="+mn-cs"/>
              </a:rPr>
              <a:t>2. NCT04594642. Available at: https://clinicaltrials.gov/ct2/show/NCT04594642</a:t>
            </a:r>
            <a:endParaRPr lang="en-GB" sz="788">
              <a:ea typeface="+mn-ea"/>
              <a:cs typeface="+mn-cs"/>
            </a:endParaRPr>
          </a:p>
        </p:txBody>
      </p:sp>
      <p:sp>
        <p:nvSpPr>
          <p:cNvPr id="8" name="TextBox 7">
            <a:extLst>
              <a:ext uri="{FF2B5EF4-FFF2-40B4-BE49-F238E27FC236}">
                <a16:creationId xmlns:a16="http://schemas.microsoft.com/office/drawing/2014/main" id="{C236272C-2524-4745-0E92-2E8CCD640FD5}"/>
              </a:ext>
            </a:extLst>
          </p:cNvPr>
          <p:cNvSpPr txBox="1"/>
          <p:nvPr/>
        </p:nvSpPr>
        <p:spPr>
          <a:xfrm>
            <a:off x="480091" y="4699640"/>
            <a:ext cx="3707246" cy="346249"/>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rgbClr val="3F4444"/>
                </a:solidFill>
                <a:effectLst/>
                <a:uLnTx/>
                <a:uFillTx/>
                <a:latin typeface="Calibri" panose="020F0502020204030204"/>
              </a:defRPr>
            </a:lvl1pPr>
          </a:lstStyle>
          <a:p>
            <a:pPr defTabSz="685800">
              <a:defRPr/>
            </a:pPr>
            <a:r>
              <a:rPr lang="en-GB" sz="825">
                <a:ea typeface="+mn-ea"/>
                <a:cs typeface="+mn-cs"/>
              </a:rPr>
              <a:t>B-cell NHL, B-cell non-Hodgkin lymphoma; CD20, cluster of differentiation 20; </a:t>
            </a:r>
          </a:p>
          <a:p>
            <a:pPr defTabSz="685800">
              <a:defRPr/>
            </a:pPr>
            <a:r>
              <a:rPr lang="en-GB" sz="825">
                <a:ea typeface="+mn-ea"/>
                <a:cs typeface="+mn-cs"/>
              </a:rPr>
              <a:t>CD19, cluster of differentiation 19</a:t>
            </a:r>
          </a:p>
        </p:txBody>
      </p:sp>
      <p:grpSp>
        <p:nvGrpSpPr>
          <p:cNvPr id="10" name="Group 9">
            <a:extLst>
              <a:ext uri="{FF2B5EF4-FFF2-40B4-BE49-F238E27FC236}">
                <a16:creationId xmlns:a16="http://schemas.microsoft.com/office/drawing/2014/main" id="{580EF398-AC24-2B54-0DF9-DA8AA02C56D1}"/>
              </a:ext>
            </a:extLst>
          </p:cNvPr>
          <p:cNvGrpSpPr/>
          <p:nvPr/>
        </p:nvGrpSpPr>
        <p:grpSpPr>
          <a:xfrm>
            <a:off x="5768811" y="1009514"/>
            <a:ext cx="3484084" cy="2582982"/>
            <a:chOff x="8604151" y="1135487"/>
            <a:chExt cx="4645445" cy="3443975"/>
          </a:xfrm>
        </p:grpSpPr>
        <p:grpSp>
          <p:nvGrpSpPr>
            <p:cNvPr id="11" name="Group 10">
              <a:extLst>
                <a:ext uri="{FF2B5EF4-FFF2-40B4-BE49-F238E27FC236}">
                  <a16:creationId xmlns:a16="http://schemas.microsoft.com/office/drawing/2014/main" id="{5D6E44B5-4A44-D815-528F-CE3603D07D36}"/>
                </a:ext>
              </a:extLst>
            </p:cNvPr>
            <p:cNvGrpSpPr/>
            <p:nvPr/>
          </p:nvGrpSpPr>
          <p:grpSpPr>
            <a:xfrm>
              <a:off x="8649588" y="1966883"/>
              <a:ext cx="4600008" cy="2612579"/>
              <a:chOff x="7993124" y="2235888"/>
              <a:chExt cx="4754612" cy="2218635"/>
            </a:xfrm>
          </p:grpSpPr>
          <p:sp>
            <p:nvSpPr>
              <p:cNvPr id="13" name="TextBox 12">
                <a:extLst>
                  <a:ext uri="{FF2B5EF4-FFF2-40B4-BE49-F238E27FC236}">
                    <a16:creationId xmlns:a16="http://schemas.microsoft.com/office/drawing/2014/main" id="{21EE6F9D-22E2-5301-F461-B200F0D87F67}"/>
                  </a:ext>
                </a:extLst>
              </p:cNvPr>
              <p:cNvSpPr txBox="1"/>
              <p:nvPr/>
            </p:nvSpPr>
            <p:spPr>
              <a:xfrm>
                <a:off x="10201657" y="2334352"/>
                <a:ext cx="2546079" cy="287505"/>
              </a:xfrm>
              <a:prstGeom prst="rect">
                <a:avLst/>
              </a:prstGeom>
              <a:noFill/>
            </p:spPr>
            <p:txBody>
              <a:bodyPr wrap="square" rtlCol="0" anchor="t">
                <a:spAutoFit/>
              </a:bodyPr>
              <a:lstStyle>
                <a:defPPr>
                  <a:defRPr lang="en-U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solidFill>
                      <a:srgbClr val="3F4444"/>
                    </a:solidFill>
                    <a:effectLst/>
                    <a:uLnTx/>
                    <a:uFillTx/>
                    <a:latin typeface="Arial" panose="020B0604020202020204"/>
                    <a:cs typeface="Arial" panose="020B0604020202020204" pitchFamily="34" charset="0"/>
                  </a:defRPr>
                </a:lvl1pPr>
              </a:lstStyle>
              <a:p>
                <a:pPr defTabSz="685800">
                  <a:defRPr/>
                </a:pPr>
                <a:r>
                  <a:rPr lang="el-GR" sz="1050">
                    <a:ea typeface="+mn-ea"/>
                  </a:rPr>
                  <a:t>α</a:t>
                </a:r>
                <a:r>
                  <a:rPr lang="en-US" sz="1050">
                    <a:ea typeface="+mn-ea"/>
                  </a:rPr>
                  <a:t>CD19 </a:t>
                </a:r>
                <a:r>
                  <a:rPr lang="en-US" sz="1050" err="1">
                    <a:ea typeface="+mn-ea"/>
                  </a:rPr>
                  <a:t>UniAb</a:t>
                </a:r>
                <a:endParaRPr lang="en-US" sz="1050">
                  <a:ea typeface="+mn-ea"/>
                </a:endParaRPr>
              </a:p>
            </p:txBody>
          </p:sp>
          <p:grpSp>
            <p:nvGrpSpPr>
              <p:cNvPr id="14" name="Group 13">
                <a:extLst>
                  <a:ext uri="{FF2B5EF4-FFF2-40B4-BE49-F238E27FC236}">
                    <a16:creationId xmlns:a16="http://schemas.microsoft.com/office/drawing/2014/main" id="{35EF2131-1B3F-BBF6-A28A-3DC06AF4B3D0}"/>
                  </a:ext>
                </a:extLst>
              </p:cNvPr>
              <p:cNvGrpSpPr/>
              <p:nvPr/>
            </p:nvGrpSpPr>
            <p:grpSpPr>
              <a:xfrm>
                <a:off x="8928352" y="2402244"/>
                <a:ext cx="1383048" cy="1747698"/>
                <a:chOff x="2542689" y="4930221"/>
                <a:chExt cx="1025157" cy="1315930"/>
              </a:xfrm>
            </p:grpSpPr>
            <p:grpSp>
              <p:nvGrpSpPr>
                <p:cNvPr id="17" name="Group 16">
                  <a:extLst>
                    <a:ext uri="{FF2B5EF4-FFF2-40B4-BE49-F238E27FC236}">
                      <a16:creationId xmlns:a16="http://schemas.microsoft.com/office/drawing/2014/main" id="{E78A57BB-4F37-F987-177A-657F89E28B3D}"/>
                    </a:ext>
                  </a:extLst>
                </p:cNvPr>
                <p:cNvGrpSpPr/>
                <p:nvPr/>
              </p:nvGrpSpPr>
              <p:grpSpPr>
                <a:xfrm>
                  <a:off x="2542689" y="4930221"/>
                  <a:ext cx="699853" cy="1307373"/>
                  <a:chOff x="243630" y="1466750"/>
                  <a:chExt cx="891950" cy="1666224"/>
                </a:xfrm>
              </p:grpSpPr>
              <p:sp>
                <p:nvSpPr>
                  <p:cNvPr id="26" name="Oval 25">
                    <a:extLst>
                      <a:ext uri="{FF2B5EF4-FFF2-40B4-BE49-F238E27FC236}">
                        <a16:creationId xmlns:a16="http://schemas.microsoft.com/office/drawing/2014/main" id="{3A4132D1-003C-2C77-5659-94865A74EB2A}"/>
                      </a:ext>
                    </a:extLst>
                  </p:cNvPr>
                  <p:cNvSpPr>
                    <a:spLocks noChangeAspect="1"/>
                  </p:cNvSpPr>
                  <p:nvPr/>
                </p:nvSpPr>
                <p:spPr>
                  <a:xfrm flipH="1" flipV="1">
                    <a:off x="928246" y="2733285"/>
                    <a:ext cx="207334" cy="399689"/>
                  </a:xfrm>
                  <a:prstGeom prst="ellipse">
                    <a:avLst/>
                  </a:prstGeom>
                  <a:solidFill>
                    <a:srgbClr val="8C8F8F"/>
                  </a:solidFill>
                  <a:ln>
                    <a:solidFill>
                      <a:srgbClr val="8C8F8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defRPr/>
                    </a:pPr>
                    <a:endParaRPr lang="en-US" sz="1200" kern="0">
                      <a:solidFill>
                        <a:srgbClr val="3F4645"/>
                      </a:solidFill>
                      <a:latin typeface="Arial" panose="020B0604020202020204"/>
                      <a:cs typeface="Arial" panose="020B0604020202020204" pitchFamily="34" charset="0"/>
                    </a:endParaRPr>
                  </a:p>
                </p:txBody>
              </p:sp>
              <p:sp>
                <p:nvSpPr>
                  <p:cNvPr id="27" name="Oval 26">
                    <a:extLst>
                      <a:ext uri="{FF2B5EF4-FFF2-40B4-BE49-F238E27FC236}">
                        <a16:creationId xmlns:a16="http://schemas.microsoft.com/office/drawing/2014/main" id="{5B0D0B9A-E2B6-2119-0769-199DBB998173}"/>
                      </a:ext>
                    </a:extLst>
                  </p:cNvPr>
                  <p:cNvSpPr>
                    <a:spLocks noChangeAspect="1"/>
                  </p:cNvSpPr>
                  <p:nvPr/>
                </p:nvSpPr>
                <p:spPr>
                  <a:xfrm flipH="1" flipV="1">
                    <a:off x="919815" y="2328930"/>
                    <a:ext cx="207334" cy="399689"/>
                  </a:xfrm>
                  <a:prstGeom prst="ellipse">
                    <a:avLst/>
                  </a:prstGeom>
                  <a:solidFill>
                    <a:srgbClr val="8C8F8F"/>
                  </a:solidFill>
                  <a:ln>
                    <a:solidFill>
                      <a:srgbClr val="8C8F8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defRPr/>
                    </a:pPr>
                    <a:endParaRPr lang="en-US" sz="1200" kern="0">
                      <a:solidFill>
                        <a:srgbClr val="3F4645"/>
                      </a:solidFill>
                      <a:latin typeface="Arial" panose="020B0604020202020204"/>
                      <a:cs typeface="Arial" panose="020B0604020202020204" pitchFamily="34" charset="0"/>
                    </a:endParaRPr>
                  </a:p>
                </p:txBody>
              </p:sp>
              <p:cxnSp>
                <p:nvCxnSpPr>
                  <p:cNvPr id="28" name="Straight Connector 27">
                    <a:extLst>
                      <a:ext uri="{FF2B5EF4-FFF2-40B4-BE49-F238E27FC236}">
                        <a16:creationId xmlns:a16="http://schemas.microsoft.com/office/drawing/2014/main" id="{A5FBCBA0-F170-C242-C38D-46A8B37B7924}"/>
                      </a:ext>
                    </a:extLst>
                  </p:cNvPr>
                  <p:cNvCxnSpPr>
                    <a:cxnSpLocks noChangeAspect="1"/>
                  </p:cNvCxnSpPr>
                  <p:nvPr/>
                </p:nvCxnSpPr>
                <p:spPr>
                  <a:xfrm rot="497171" flipV="1">
                    <a:off x="639424" y="1986573"/>
                    <a:ext cx="247040" cy="198046"/>
                  </a:xfrm>
                  <a:prstGeom prst="line">
                    <a:avLst/>
                  </a:prstGeom>
                  <a:ln w="57150" cap="flat" cmpd="sng" algn="ctr">
                    <a:solidFill>
                      <a:schemeClr val="accent5"/>
                    </a:solidFill>
                    <a:prstDash val="solid"/>
                    <a:round/>
                    <a:headEnd type="none" w="med" len="med"/>
                    <a:tailEnd type="none" w="med" len="med"/>
                  </a:ln>
                  <a:effectLst>
                    <a:outerShdw dir="2700000" sx="112000" sy="112000" algn="tl" rotWithShape="0">
                      <a:scrgbClr r="0" g="0" b="0">
                        <a:alpha val="30000"/>
                      </a:scrgbClr>
                    </a:outerShdw>
                  </a:effectLst>
                </p:spPr>
                <p:style>
                  <a:lnRef idx="2">
                    <a:schemeClr val="accent1"/>
                  </a:lnRef>
                  <a:fillRef idx="0">
                    <a:schemeClr val="accent1"/>
                  </a:fillRef>
                  <a:effectRef idx="1">
                    <a:schemeClr val="accent1"/>
                  </a:effectRef>
                  <a:fontRef idx="minor">
                    <a:schemeClr val="tx1"/>
                  </a:fontRef>
                </p:style>
              </p:cxnSp>
              <p:sp>
                <p:nvSpPr>
                  <p:cNvPr id="29" name="Oval 28">
                    <a:extLst>
                      <a:ext uri="{FF2B5EF4-FFF2-40B4-BE49-F238E27FC236}">
                        <a16:creationId xmlns:a16="http://schemas.microsoft.com/office/drawing/2014/main" id="{5D0100B4-9459-E043-87B5-090A08CDD847}"/>
                      </a:ext>
                    </a:extLst>
                  </p:cNvPr>
                  <p:cNvSpPr>
                    <a:spLocks noChangeAspect="1"/>
                  </p:cNvSpPr>
                  <p:nvPr/>
                </p:nvSpPr>
                <p:spPr>
                  <a:xfrm rot="497171">
                    <a:off x="973119" y="2183064"/>
                    <a:ext cx="93303" cy="145341"/>
                  </a:xfrm>
                  <a:prstGeom prst="ellipse">
                    <a:avLst/>
                  </a:prstGeom>
                  <a:solidFill>
                    <a:srgbClr val="8C8F8F"/>
                  </a:solidFill>
                  <a:ln>
                    <a:solidFill>
                      <a:srgbClr val="8C8F8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defRPr/>
                    </a:pPr>
                    <a:endParaRPr lang="en-US" sz="1200" kern="0">
                      <a:solidFill>
                        <a:srgbClr val="3F4645"/>
                      </a:solidFill>
                      <a:latin typeface="Arial" panose="020B0604020202020204"/>
                      <a:cs typeface="Arial" panose="020B0604020202020204" pitchFamily="34" charset="0"/>
                    </a:endParaRPr>
                  </a:p>
                </p:txBody>
              </p:sp>
              <p:sp>
                <p:nvSpPr>
                  <p:cNvPr id="30" name="Oval 29">
                    <a:extLst>
                      <a:ext uri="{FF2B5EF4-FFF2-40B4-BE49-F238E27FC236}">
                        <a16:creationId xmlns:a16="http://schemas.microsoft.com/office/drawing/2014/main" id="{4673374A-8637-F96A-3524-1B4719625396}"/>
                      </a:ext>
                    </a:extLst>
                  </p:cNvPr>
                  <p:cNvSpPr>
                    <a:spLocks noChangeAspect="1"/>
                  </p:cNvSpPr>
                  <p:nvPr/>
                </p:nvSpPr>
                <p:spPr>
                  <a:xfrm rot="19518809" flipH="1" flipV="1">
                    <a:off x="482899" y="1466750"/>
                    <a:ext cx="242507" cy="447828"/>
                  </a:xfrm>
                  <a:prstGeom prst="ellipse">
                    <a:avLst/>
                  </a:prstGeom>
                  <a:solidFill>
                    <a:schemeClr val="accent3"/>
                  </a:solidFill>
                  <a:ln>
                    <a:solidFill>
                      <a:srgbClr val="8C8F8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defRPr/>
                    </a:pPr>
                    <a:endParaRPr lang="en-US" sz="1200" kern="0">
                      <a:solidFill>
                        <a:srgbClr val="3F4645"/>
                      </a:solidFill>
                      <a:latin typeface="Arial" panose="020B0604020202020204"/>
                      <a:cs typeface="Arial" panose="020B0604020202020204" pitchFamily="34" charset="0"/>
                    </a:endParaRPr>
                  </a:p>
                </p:txBody>
              </p:sp>
              <p:sp>
                <p:nvSpPr>
                  <p:cNvPr id="31" name="Oval 30">
                    <a:extLst>
                      <a:ext uri="{FF2B5EF4-FFF2-40B4-BE49-F238E27FC236}">
                        <a16:creationId xmlns:a16="http://schemas.microsoft.com/office/drawing/2014/main" id="{138DA9AE-F44A-5500-CB63-92C8CBE1CDEF}"/>
                      </a:ext>
                    </a:extLst>
                  </p:cNvPr>
                  <p:cNvSpPr>
                    <a:spLocks noChangeAspect="1"/>
                  </p:cNvSpPr>
                  <p:nvPr/>
                </p:nvSpPr>
                <p:spPr>
                  <a:xfrm rot="8262030" flipV="1">
                    <a:off x="243630" y="1594308"/>
                    <a:ext cx="242507" cy="447828"/>
                  </a:xfrm>
                  <a:prstGeom prst="ellipse">
                    <a:avLst/>
                  </a:prstGeom>
                  <a:solidFill>
                    <a:schemeClr val="accent2"/>
                  </a:solidFill>
                  <a:ln>
                    <a:solidFill>
                      <a:srgbClr val="8C8F8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defRPr/>
                    </a:pPr>
                    <a:endParaRPr lang="en-US" sz="1200" kern="0">
                      <a:solidFill>
                        <a:srgbClr val="3F4645"/>
                      </a:solidFill>
                      <a:latin typeface="Arial" panose="020B0604020202020204"/>
                      <a:cs typeface="Arial" panose="020B0604020202020204" pitchFamily="34" charset="0"/>
                    </a:endParaRPr>
                  </a:p>
                </p:txBody>
              </p:sp>
              <p:sp>
                <p:nvSpPr>
                  <p:cNvPr id="32" name="Oval 31">
                    <a:extLst>
                      <a:ext uri="{FF2B5EF4-FFF2-40B4-BE49-F238E27FC236}">
                        <a16:creationId xmlns:a16="http://schemas.microsoft.com/office/drawing/2014/main" id="{3F8407AD-0E37-AB8E-965C-73D141DAA421}"/>
                      </a:ext>
                    </a:extLst>
                  </p:cNvPr>
                  <p:cNvSpPr>
                    <a:spLocks noChangeAspect="1"/>
                  </p:cNvSpPr>
                  <p:nvPr/>
                </p:nvSpPr>
                <p:spPr>
                  <a:xfrm rot="19300550" flipV="1">
                    <a:off x="589907" y="1959692"/>
                    <a:ext cx="207334" cy="399689"/>
                  </a:xfrm>
                  <a:prstGeom prst="ellipse">
                    <a:avLst/>
                  </a:prstGeom>
                  <a:solidFill>
                    <a:srgbClr val="8C8F8F"/>
                  </a:solidFill>
                  <a:ln>
                    <a:solidFill>
                      <a:srgbClr val="8C8F8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defRPr/>
                    </a:pPr>
                    <a:endParaRPr lang="en-US" sz="1200" kern="0">
                      <a:solidFill>
                        <a:srgbClr val="3F4645"/>
                      </a:solidFill>
                      <a:latin typeface="Arial" panose="020B0604020202020204"/>
                      <a:cs typeface="Arial" panose="020B0604020202020204" pitchFamily="34" charset="0"/>
                    </a:endParaRPr>
                  </a:p>
                </p:txBody>
              </p:sp>
              <p:sp>
                <p:nvSpPr>
                  <p:cNvPr id="33" name="Oval 32">
                    <a:extLst>
                      <a:ext uri="{FF2B5EF4-FFF2-40B4-BE49-F238E27FC236}">
                        <a16:creationId xmlns:a16="http://schemas.microsoft.com/office/drawing/2014/main" id="{6F4D6AB6-0F9E-A3E5-A99D-2481918B1E5F}"/>
                      </a:ext>
                    </a:extLst>
                  </p:cNvPr>
                  <p:cNvSpPr>
                    <a:spLocks noChangeAspect="1"/>
                  </p:cNvSpPr>
                  <p:nvPr/>
                </p:nvSpPr>
                <p:spPr>
                  <a:xfrm rot="19300550" flipV="1">
                    <a:off x="799354" y="1838688"/>
                    <a:ext cx="207334" cy="399689"/>
                  </a:xfrm>
                  <a:prstGeom prst="ellipse">
                    <a:avLst/>
                  </a:prstGeom>
                  <a:solidFill>
                    <a:srgbClr val="8C8F8F"/>
                  </a:solidFill>
                  <a:ln>
                    <a:solidFill>
                      <a:srgbClr val="8C8F8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defRPr/>
                    </a:pPr>
                    <a:endParaRPr lang="en-US" sz="1200" kern="0">
                      <a:solidFill>
                        <a:srgbClr val="3F4645"/>
                      </a:solidFill>
                      <a:latin typeface="Arial" panose="020B0604020202020204"/>
                      <a:cs typeface="Arial" panose="020B0604020202020204" pitchFamily="34" charset="0"/>
                    </a:endParaRPr>
                  </a:p>
                </p:txBody>
              </p:sp>
            </p:grpSp>
            <p:sp>
              <p:nvSpPr>
                <p:cNvPr id="18" name="Oval 17">
                  <a:extLst>
                    <a:ext uri="{FF2B5EF4-FFF2-40B4-BE49-F238E27FC236}">
                      <a16:creationId xmlns:a16="http://schemas.microsoft.com/office/drawing/2014/main" id="{A8B98EF6-F8B1-2B27-EE44-C367F7ACE800}"/>
                    </a:ext>
                  </a:extLst>
                </p:cNvPr>
                <p:cNvSpPr>
                  <a:spLocks noChangeAspect="1"/>
                </p:cNvSpPr>
                <p:nvPr/>
              </p:nvSpPr>
              <p:spPr>
                <a:xfrm flipV="1">
                  <a:off x="3304033" y="5932542"/>
                  <a:ext cx="162681" cy="313609"/>
                </a:xfrm>
                <a:prstGeom prst="ellipse">
                  <a:avLst/>
                </a:prstGeom>
                <a:solidFill>
                  <a:srgbClr val="8C8F8F"/>
                </a:solidFill>
                <a:ln>
                  <a:solidFill>
                    <a:srgbClr val="8C8F8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defRPr/>
                  </a:pPr>
                  <a:endParaRPr lang="en-US" sz="1200" kern="0">
                    <a:solidFill>
                      <a:srgbClr val="3F4645"/>
                    </a:solidFill>
                    <a:latin typeface="Arial" panose="020B0604020202020204"/>
                    <a:cs typeface="Arial" panose="020B0604020202020204" pitchFamily="34" charset="0"/>
                  </a:endParaRPr>
                </a:p>
              </p:txBody>
            </p:sp>
            <p:sp>
              <p:nvSpPr>
                <p:cNvPr id="19" name="Oval 18">
                  <a:extLst>
                    <a:ext uri="{FF2B5EF4-FFF2-40B4-BE49-F238E27FC236}">
                      <a16:creationId xmlns:a16="http://schemas.microsoft.com/office/drawing/2014/main" id="{70328A75-E6FD-9DDC-5FB0-45531F1BAB1A}"/>
                    </a:ext>
                  </a:extLst>
                </p:cNvPr>
                <p:cNvSpPr>
                  <a:spLocks noChangeAspect="1"/>
                </p:cNvSpPr>
                <p:nvPr/>
              </p:nvSpPr>
              <p:spPr>
                <a:xfrm flipV="1">
                  <a:off x="3310649" y="5615272"/>
                  <a:ext cx="162681" cy="313609"/>
                </a:xfrm>
                <a:prstGeom prst="ellipse">
                  <a:avLst/>
                </a:prstGeom>
                <a:solidFill>
                  <a:srgbClr val="8C8F8F"/>
                </a:solidFill>
                <a:ln>
                  <a:solidFill>
                    <a:srgbClr val="8C8F8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defRPr/>
                  </a:pPr>
                  <a:endParaRPr lang="en-US" sz="1200" kern="0">
                    <a:solidFill>
                      <a:srgbClr val="3F4645"/>
                    </a:solidFill>
                    <a:latin typeface="Arial" panose="020B0604020202020204"/>
                    <a:cs typeface="Arial" panose="020B0604020202020204" pitchFamily="34" charset="0"/>
                  </a:endParaRPr>
                </a:p>
              </p:txBody>
            </p:sp>
            <p:sp>
              <p:nvSpPr>
                <p:cNvPr id="20" name="Oval 19">
                  <a:extLst>
                    <a:ext uri="{FF2B5EF4-FFF2-40B4-BE49-F238E27FC236}">
                      <a16:creationId xmlns:a16="http://schemas.microsoft.com/office/drawing/2014/main" id="{F29FFBA2-A405-7048-B67F-2659FB1B387A}"/>
                    </a:ext>
                  </a:extLst>
                </p:cNvPr>
                <p:cNvSpPr>
                  <a:spLocks noChangeAspect="1"/>
                </p:cNvSpPr>
                <p:nvPr/>
              </p:nvSpPr>
              <p:spPr>
                <a:xfrm rot="21102829" flipH="1">
                  <a:off x="3358297" y="5500821"/>
                  <a:ext cx="73209" cy="114039"/>
                </a:xfrm>
                <a:prstGeom prst="ellipse">
                  <a:avLst/>
                </a:prstGeom>
                <a:solidFill>
                  <a:srgbClr val="8C8F8F"/>
                </a:solidFill>
                <a:ln>
                  <a:solidFill>
                    <a:srgbClr val="8C8F8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defRPr/>
                  </a:pPr>
                  <a:endParaRPr lang="en-US" sz="1200" kern="0">
                    <a:solidFill>
                      <a:srgbClr val="3F4645"/>
                    </a:solidFill>
                    <a:latin typeface="Arial" panose="020B0604020202020204"/>
                    <a:cs typeface="Arial" panose="020B0604020202020204" pitchFamily="34" charset="0"/>
                  </a:endParaRPr>
                </a:p>
              </p:txBody>
            </p:sp>
            <p:sp>
              <p:nvSpPr>
                <p:cNvPr id="21" name="Oval 20">
                  <a:extLst>
                    <a:ext uri="{FF2B5EF4-FFF2-40B4-BE49-F238E27FC236}">
                      <a16:creationId xmlns:a16="http://schemas.microsoft.com/office/drawing/2014/main" id="{7EF7D93C-1797-15E7-BA10-FAC39D11DDB1}"/>
                    </a:ext>
                  </a:extLst>
                </p:cNvPr>
                <p:cNvSpPr>
                  <a:spLocks noChangeAspect="1"/>
                </p:cNvSpPr>
                <p:nvPr/>
              </p:nvSpPr>
              <p:spPr>
                <a:xfrm rot="2299450" flipH="1" flipV="1">
                  <a:off x="3405165" y="5230613"/>
                  <a:ext cx="162681" cy="313609"/>
                </a:xfrm>
                <a:prstGeom prst="ellipse">
                  <a:avLst/>
                </a:prstGeom>
                <a:solidFill>
                  <a:srgbClr val="634075"/>
                </a:solidFill>
                <a:ln>
                  <a:solidFill>
                    <a:srgbClr val="8C8F8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defRPr/>
                  </a:pPr>
                  <a:endParaRPr lang="en-US" sz="1200" kern="0">
                    <a:solidFill>
                      <a:srgbClr val="3F4645"/>
                    </a:solidFill>
                    <a:latin typeface="Arial" panose="020B0604020202020204"/>
                    <a:cs typeface="Arial" panose="020B0604020202020204" pitchFamily="34" charset="0"/>
                  </a:endParaRPr>
                </a:p>
              </p:txBody>
            </p:sp>
            <p:cxnSp>
              <p:nvCxnSpPr>
                <p:cNvPr id="22" name="Straight Connector 21">
                  <a:extLst>
                    <a:ext uri="{FF2B5EF4-FFF2-40B4-BE49-F238E27FC236}">
                      <a16:creationId xmlns:a16="http://schemas.microsoft.com/office/drawing/2014/main" id="{11CE2016-146B-E813-D300-D8CE255941EB}"/>
                    </a:ext>
                  </a:extLst>
                </p:cNvPr>
                <p:cNvCxnSpPr/>
                <p:nvPr/>
              </p:nvCxnSpPr>
              <p:spPr>
                <a:xfrm>
                  <a:off x="3111808" y="5562858"/>
                  <a:ext cx="246871" cy="258"/>
                </a:xfrm>
                <a:prstGeom prst="line">
                  <a:avLst/>
                </a:prstGeom>
                <a:ln w="25400">
                  <a:solidFill>
                    <a:srgbClr val="8C8F8F"/>
                  </a:solidFill>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5CA1C03A-BABC-35B8-47EF-7ECF64B849B3}"/>
                    </a:ext>
                  </a:extLst>
                </p:cNvPr>
                <p:cNvGrpSpPr/>
                <p:nvPr/>
              </p:nvGrpSpPr>
              <p:grpSpPr>
                <a:xfrm>
                  <a:off x="3195363" y="6019800"/>
                  <a:ext cx="179367" cy="126608"/>
                  <a:chOff x="928306" y="5668189"/>
                  <a:chExt cx="179367" cy="126608"/>
                </a:xfrm>
              </p:grpSpPr>
              <p:sp>
                <p:nvSpPr>
                  <p:cNvPr id="24" name="Oval 23">
                    <a:extLst>
                      <a:ext uri="{FF2B5EF4-FFF2-40B4-BE49-F238E27FC236}">
                        <a16:creationId xmlns:a16="http://schemas.microsoft.com/office/drawing/2014/main" id="{0446F1F0-43FD-3258-9483-0E2A4B7AB819}"/>
                      </a:ext>
                    </a:extLst>
                  </p:cNvPr>
                  <p:cNvSpPr/>
                  <p:nvPr/>
                </p:nvSpPr>
                <p:spPr>
                  <a:xfrm>
                    <a:off x="1026262" y="5671704"/>
                    <a:ext cx="81411" cy="12309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200">
                      <a:solidFill>
                        <a:srgbClr val="3F4645"/>
                      </a:solidFill>
                      <a:latin typeface="Arial" panose="020B0604020202020204"/>
                      <a:cs typeface="Arial" panose="020B0604020202020204" pitchFamily="34" charset="0"/>
                    </a:endParaRPr>
                  </a:p>
                </p:txBody>
              </p:sp>
              <p:sp>
                <p:nvSpPr>
                  <p:cNvPr id="25" name="Oval 24">
                    <a:extLst>
                      <a:ext uri="{FF2B5EF4-FFF2-40B4-BE49-F238E27FC236}">
                        <a16:creationId xmlns:a16="http://schemas.microsoft.com/office/drawing/2014/main" id="{A1EA06A7-7FB7-E182-4A21-D331197EB88E}"/>
                      </a:ext>
                    </a:extLst>
                  </p:cNvPr>
                  <p:cNvSpPr/>
                  <p:nvPr/>
                </p:nvSpPr>
                <p:spPr>
                  <a:xfrm>
                    <a:off x="928306" y="5668189"/>
                    <a:ext cx="81411" cy="123093"/>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200">
                      <a:solidFill>
                        <a:srgbClr val="3F4645"/>
                      </a:solidFill>
                      <a:latin typeface="Arial" panose="020B0604020202020204"/>
                      <a:cs typeface="Arial" panose="020B0604020202020204" pitchFamily="34" charset="0"/>
                    </a:endParaRPr>
                  </a:p>
                </p:txBody>
              </p:sp>
            </p:grpSp>
          </p:grpSp>
          <p:sp>
            <p:nvSpPr>
              <p:cNvPr id="15" name="TextBox 14">
                <a:extLst>
                  <a:ext uri="{FF2B5EF4-FFF2-40B4-BE49-F238E27FC236}">
                    <a16:creationId xmlns:a16="http://schemas.microsoft.com/office/drawing/2014/main" id="{BD1391B1-B623-F5DA-3DB3-581EE98ACD9D}"/>
                  </a:ext>
                </a:extLst>
              </p:cNvPr>
              <p:cNvSpPr txBox="1"/>
              <p:nvPr/>
            </p:nvSpPr>
            <p:spPr>
              <a:xfrm>
                <a:off x="7993124" y="2235888"/>
                <a:ext cx="1411519" cy="470461"/>
              </a:xfrm>
              <a:prstGeom prst="rect">
                <a:avLst/>
              </a:prstGeom>
              <a:noFill/>
            </p:spPr>
            <p:txBody>
              <a:bodyPr wrap="square" rtlCol="0" anchor="t">
                <a:spAutoFit/>
              </a:bodyPr>
              <a:lstStyle>
                <a:defPPr>
                  <a:defRPr lang="en-U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solidFill>
                      <a:srgbClr val="3F4444"/>
                    </a:solidFill>
                    <a:effectLst/>
                    <a:uLnTx/>
                    <a:uFillTx/>
                    <a:latin typeface="Arial" panose="020B0604020202020204"/>
                    <a:cs typeface="Arial" panose="020B0604020202020204" pitchFamily="34" charset="0"/>
                  </a:defRPr>
                </a:lvl1pPr>
              </a:lstStyle>
              <a:p>
                <a:pPr defTabSz="685800">
                  <a:defRPr/>
                </a:pPr>
                <a:r>
                  <a:rPr lang="en-US" sz="1050">
                    <a:ea typeface="+mn-ea"/>
                  </a:rPr>
                  <a:t>Activating </a:t>
                </a:r>
                <a:r>
                  <a:rPr lang="el-GR" sz="1050">
                    <a:ea typeface="+mn-ea"/>
                  </a:rPr>
                  <a:t>α</a:t>
                </a:r>
                <a:r>
                  <a:rPr lang="en-US" sz="1050">
                    <a:ea typeface="+mn-ea"/>
                  </a:rPr>
                  <a:t>CD3 Ab</a:t>
                </a:r>
              </a:p>
            </p:txBody>
          </p:sp>
          <p:sp>
            <p:nvSpPr>
              <p:cNvPr id="16" name="TextBox 15">
                <a:extLst>
                  <a:ext uri="{FF2B5EF4-FFF2-40B4-BE49-F238E27FC236}">
                    <a16:creationId xmlns:a16="http://schemas.microsoft.com/office/drawing/2014/main" id="{067F24D0-209B-448C-919A-83DFFAC7ADCF}"/>
                  </a:ext>
                </a:extLst>
              </p:cNvPr>
              <p:cNvSpPr txBox="1"/>
              <p:nvPr/>
            </p:nvSpPr>
            <p:spPr>
              <a:xfrm>
                <a:off x="8186639" y="4167018"/>
                <a:ext cx="3464138" cy="287505"/>
              </a:xfrm>
              <a:prstGeom prst="rect">
                <a:avLst/>
              </a:prstGeom>
              <a:noFill/>
            </p:spPr>
            <p:txBody>
              <a:bodyPr wrap="square"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3F4444"/>
                    </a:solidFill>
                    <a:effectLst/>
                    <a:uLnTx/>
                    <a:uFillTx/>
                    <a:latin typeface="Arial" panose="020B0604020202020204"/>
                    <a:cs typeface="Arial" panose="020B0604020202020204" pitchFamily="34" charset="0"/>
                  </a:defRPr>
                </a:lvl1pPr>
              </a:lstStyle>
              <a:p>
                <a:pPr defTabSz="685800">
                  <a:defRPr/>
                </a:pPr>
                <a:r>
                  <a:rPr lang="en-US" sz="1050">
                    <a:ea typeface="+mn-ea"/>
                  </a:rPr>
                  <a:t>Fc Tail</a:t>
                </a:r>
              </a:p>
            </p:txBody>
          </p:sp>
        </p:grpSp>
        <p:sp>
          <p:nvSpPr>
            <p:cNvPr id="12" name="TextBox 11">
              <a:extLst>
                <a:ext uri="{FF2B5EF4-FFF2-40B4-BE49-F238E27FC236}">
                  <a16:creationId xmlns:a16="http://schemas.microsoft.com/office/drawing/2014/main" id="{0159A99E-73B9-2EB8-A0A9-73A410FD63BE}"/>
                </a:ext>
              </a:extLst>
            </p:cNvPr>
            <p:cNvSpPr txBox="1"/>
            <p:nvPr/>
          </p:nvSpPr>
          <p:spPr>
            <a:xfrm>
              <a:off x="8604151" y="1135487"/>
              <a:ext cx="3285516" cy="931194"/>
            </a:xfrm>
            <a:prstGeom prst="rect">
              <a:avLst/>
            </a:prstGeom>
            <a:noFill/>
          </p:spPr>
          <p:txBody>
            <a:bodyPr wrap="none" rtlCol="0">
              <a:spAutoFit/>
            </a:bodyPr>
            <a:lstStyle>
              <a:defPPr>
                <a:defRPr lang="en-US"/>
              </a:defPPr>
              <a:lvl1pPr marR="0" lvl="0" indent="0" algn="ctr" fontAlgn="auto">
                <a:lnSpc>
                  <a:spcPct val="90000"/>
                </a:lnSpc>
                <a:spcBef>
                  <a:spcPts val="0"/>
                </a:spcBef>
                <a:spcAft>
                  <a:spcPts val="600"/>
                </a:spcAft>
                <a:buClrTx/>
                <a:buSzTx/>
                <a:buFontTx/>
                <a:buNone/>
                <a:tabLst/>
                <a:defRPr kumimoji="0" sz="1400" b="1" i="1" u="none" strike="noStrike" cap="none" spc="0" normalizeH="0" baseline="0">
                  <a:ln>
                    <a:noFill/>
                  </a:ln>
                  <a:solidFill>
                    <a:srgbClr val="003865"/>
                  </a:solidFill>
                  <a:effectLst/>
                  <a:uLnTx/>
                  <a:uFillTx/>
                  <a:latin typeface="Arial" panose="020B0604020202020204"/>
                </a:defRPr>
              </a:lvl1pPr>
            </a:lstStyle>
            <a:p>
              <a:pPr defTabSz="685800">
                <a:spcAft>
                  <a:spcPts val="450"/>
                </a:spcAft>
                <a:defRPr/>
              </a:pPr>
              <a:r>
                <a:rPr lang="en-GB" sz="1050">
                  <a:ea typeface="+mn-ea"/>
                  <a:cs typeface="+mn-cs"/>
                </a:rPr>
                <a:t>   </a:t>
              </a:r>
              <a:r>
                <a:rPr lang="en-GB" sz="1200" i="0">
                  <a:solidFill>
                    <a:srgbClr val="3F4444"/>
                  </a:solidFill>
                  <a:ea typeface="+mn-ea"/>
                  <a:cs typeface="+mn-cs"/>
                </a:rPr>
                <a:t>TNB486</a:t>
              </a:r>
            </a:p>
            <a:p>
              <a:pPr defTabSz="685800">
                <a:spcAft>
                  <a:spcPts val="450"/>
                </a:spcAft>
                <a:defRPr/>
              </a:pPr>
              <a:r>
                <a:rPr lang="en-GB" sz="1200" i="0">
                  <a:solidFill>
                    <a:srgbClr val="3F4444"/>
                  </a:solidFill>
                  <a:ea typeface="+mn-ea"/>
                  <a:cs typeface="+mn-cs"/>
                </a:rPr>
                <a:t>CD19xCD3 bispecific antibody</a:t>
              </a:r>
              <a:r>
                <a:rPr lang="en-US" sz="1200" i="0" baseline="30000">
                  <a:solidFill>
                    <a:srgbClr val="3F4444"/>
                  </a:solidFill>
                  <a:ea typeface="+mn-ea"/>
                  <a:cs typeface="+mn-cs"/>
                </a:rPr>
                <a:t>1</a:t>
              </a:r>
            </a:p>
            <a:p>
              <a:pPr defTabSz="685800">
                <a:spcAft>
                  <a:spcPts val="450"/>
                </a:spcAft>
                <a:defRPr/>
              </a:pPr>
              <a:endParaRPr lang="en-GB" sz="1050">
                <a:ea typeface="+mn-ea"/>
                <a:cs typeface="+mn-cs"/>
              </a:endParaRPr>
            </a:p>
          </p:txBody>
        </p:sp>
      </p:grpSp>
    </p:spTree>
    <p:extLst>
      <p:ext uri="{BB962C8B-B14F-4D97-AF65-F5344CB8AC3E}">
        <p14:creationId xmlns:p14="http://schemas.microsoft.com/office/powerpoint/2010/main" val="422787593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5920574F-E4C5-406B-8D60-07284820D0DA}"/>
              </a:ext>
            </a:extLst>
          </p:cNvPr>
          <p:cNvSpPr txBox="1"/>
          <p:nvPr/>
        </p:nvSpPr>
        <p:spPr>
          <a:xfrm>
            <a:off x="105905" y="4733357"/>
            <a:ext cx="8848824" cy="396647"/>
          </a:xfrm>
          <a:prstGeom prst="rect">
            <a:avLst/>
          </a:prstGeom>
          <a:noFill/>
        </p:spPr>
        <p:txBody>
          <a:bodyPr wrap="square" lIns="68580" tIns="34290" rIns="68580" bIns="34290" rtlCol="0" anchor="t">
            <a:spAutoFit/>
          </a:bodyPr>
          <a:lstStyle>
            <a:defPPr>
              <a:defRPr lang="en-US"/>
            </a:defPPr>
            <a:lvl1pPr>
              <a:lnSpc>
                <a:spcPct val="90000"/>
              </a:lnSpc>
              <a:spcAft>
                <a:spcPts val="600"/>
              </a:spcAft>
              <a:defRPr sz="1050"/>
            </a:lvl1pPr>
          </a:lstStyle>
          <a:p>
            <a:pPr defTabSz="685800" fontAlgn="auto">
              <a:spcBef>
                <a:spcPts val="0"/>
              </a:spcBef>
              <a:spcAft>
                <a:spcPts val="450"/>
              </a:spcAft>
            </a:pPr>
            <a:r>
              <a:rPr lang="en-GB" sz="788">
                <a:solidFill>
                  <a:prstClr val="black"/>
                </a:solidFill>
                <a:latin typeface="Calibri" panose="020F0502020204030204"/>
                <a:ea typeface="+mn-ea"/>
                <a:cs typeface="+mn-cs"/>
              </a:rPr>
              <a:t>B-NHL, B-cell non-Hodgkin lymphoma; CD19, cluster of differentiation 19; CNS, central nervous system; CR, complete response; ECOG PS, Eastern Cooperative Oncology Group Performance status; IV, intravenous; OS, overall survival; PK, pharmacokinetics; RECIL, Response evaluation criteria in lymphoma; RP2D, recommended Phase 2 dose; R/R, relapsed/refractory; SUD, step-up dosing. TD, target dose; 1.</a:t>
            </a:r>
            <a:r>
              <a:rPr lang="en-US" sz="788">
                <a:solidFill>
                  <a:prstClr val="black"/>
                </a:solidFill>
                <a:latin typeface="Calibri" panose="020F0502020204030204"/>
                <a:ea typeface="+mn-ea"/>
                <a:cs typeface="+mn-cs"/>
              </a:rPr>
              <a:t> NCT04594642. Available at: https://clinicaltrials.gov/ct2/show/NCT04594642 . </a:t>
            </a:r>
            <a:r>
              <a:rPr lang="en-GB" sz="788">
                <a:solidFill>
                  <a:prstClr val="black"/>
                </a:solidFill>
                <a:latin typeface="Calibri" panose="020F0502020204030204"/>
                <a:ea typeface="+mn-ea"/>
                <a:cs typeface="+mn-cs"/>
              </a:rPr>
              <a:t> 2. </a:t>
            </a:r>
            <a:r>
              <a:rPr lang="en-US" sz="788">
                <a:solidFill>
                  <a:prstClr val="black"/>
                </a:solidFill>
                <a:latin typeface="Calibri" panose="020F0502020204030204"/>
                <a:ea typeface="+mn-ea"/>
                <a:cs typeface="+mn-cs"/>
              </a:rPr>
              <a:t>Younes, et al. Ann </a:t>
            </a:r>
            <a:r>
              <a:rPr lang="en-US" sz="788" err="1">
                <a:solidFill>
                  <a:prstClr val="black"/>
                </a:solidFill>
                <a:latin typeface="Calibri" panose="020F0502020204030204"/>
                <a:ea typeface="+mn-ea"/>
                <a:cs typeface="+mn-cs"/>
              </a:rPr>
              <a:t>Onc</a:t>
            </a:r>
            <a:r>
              <a:rPr lang="en-US" sz="788">
                <a:solidFill>
                  <a:prstClr val="black"/>
                </a:solidFill>
                <a:latin typeface="Calibri" panose="020F0502020204030204"/>
                <a:ea typeface="+mn-ea"/>
                <a:cs typeface="+mn-cs"/>
              </a:rPr>
              <a:t> 2017.</a:t>
            </a:r>
            <a:r>
              <a:rPr lang="en-GB" sz="788">
                <a:solidFill>
                  <a:prstClr val="black"/>
                </a:solidFill>
                <a:latin typeface="Calibri" panose="020F0502020204030204"/>
                <a:ea typeface="+mn-ea"/>
                <a:cs typeface="+mn-cs"/>
              </a:rPr>
              <a:t> </a:t>
            </a:r>
          </a:p>
        </p:txBody>
      </p:sp>
      <p:sp>
        <p:nvSpPr>
          <p:cNvPr id="2" name="TextBox 1">
            <a:extLst>
              <a:ext uri="{FF2B5EF4-FFF2-40B4-BE49-F238E27FC236}">
                <a16:creationId xmlns:a16="http://schemas.microsoft.com/office/drawing/2014/main" id="{FB5A20EC-AB35-F5D7-813C-DAF53C32781D}"/>
              </a:ext>
            </a:extLst>
          </p:cNvPr>
          <p:cNvSpPr txBox="1"/>
          <p:nvPr/>
        </p:nvSpPr>
        <p:spPr>
          <a:xfrm>
            <a:off x="171451" y="38100"/>
            <a:ext cx="8800697" cy="757130"/>
          </a:xfrm>
          <a:prstGeom prst="rect">
            <a:avLst/>
          </a:prstGeom>
          <a:noFill/>
        </p:spPr>
        <p:txBody>
          <a:bodyPr wrap="square" rtlCol="0">
            <a:spAutoFit/>
          </a:bodyPr>
          <a:lstStyle/>
          <a:p>
            <a:pPr defTabSz="685800" fontAlgn="auto">
              <a:lnSpc>
                <a:spcPct val="90000"/>
              </a:lnSpc>
              <a:spcBef>
                <a:spcPts val="0"/>
              </a:spcBef>
              <a:spcAft>
                <a:spcPts val="450"/>
              </a:spcAft>
            </a:pPr>
            <a:r>
              <a:rPr lang="en-GB" b="1">
                <a:solidFill>
                  <a:srgbClr val="4472C4"/>
                </a:solidFill>
                <a:latin typeface="Calibri Light" panose="020F0302020204030204"/>
                <a:ea typeface="+mn-ea"/>
                <a:cs typeface="+mn-cs"/>
              </a:rPr>
              <a:t>TNB486.001 (NCT04594642</a:t>
            </a:r>
            <a:r>
              <a:rPr lang="en-GB" b="1" baseline="30000">
                <a:solidFill>
                  <a:srgbClr val="4472C4"/>
                </a:solidFill>
                <a:latin typeface="Calibri Light" panose="020F0302020204030204"/>
                <a:ea typeface="+mn-ea"/>
                <a:cs typeface="+mn-cs"/>
              </a:rPr>
              <a:t>1</a:t>
            </a:r>
            <a:r>
              <a:rPr lang="en-GB" b="1">
                <a:solidFill>
                  <a:srgbClr val="4472C4"/>
                </a:solidFill>
                <a:latin typeface="Calibri Light" panose="020F0302020204030204"/>
                <a:ea typeface="+mn-ea"/>
                <a:cs typeface="+mn-cs"/>
              </a:rPr>
              <a:t>): an ongoing Phase 1, Global, Dose-escalation and Optimization Trial in R/R B-NHL</a:t>
            </a:r>
            <a:endParaRPr lang="en-US">
              <a:solidFill>
                <a:prstClr val="black"/>
              </a:solidFill>
              <a:latin typeface="Calibri" panose="020F0502020204030204"/>
              <a:ea typeface="+mn-ea"/>
              <a:cs typeface="+mn-cs"/>
            </a:endParaRPr>
          </a:p>
        </p:txBody>
      </p:sp>
      <p:cxnSp>
        <p:nvCxnSpPr>
          <p:cNvPr id="4" name="Straight Connector 3">
            <a:extLst>
              <a:ext uri="{FF2B5EF4-FFF2-40B4-BE49-F238E27FC236}">
                <a16:creationId xmlns:a16="http://schemas.microsoft.com/office/drawing/2014/main" id="{2DF6D56E-0DE0-E98C-04C8-1ECDD78BEE6F}"/>
              </a:ext>
            </a:extLst>
          </p:cNvPr>
          <p:cNvCxnSpPr>
            <a:cxnSpLocks/>
          </p:cNvCxnSpPr>
          <p:nvPr/>
        </p:nvCxnSpPr>
        <p:spPr>
          <a:xfrm>
            <a:off x="305991" y="729160"/>
            <a:ext cx="8532019"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9788493F-71DD-E924-7D99-905A1FDC5CC1}"/>
              </a:ext>
            </a:extLst>
          </p:cNvPr>
          <p:cNvGrpSpPr/>
          <p:nvPr/>
        </p:nvGrpSpPr>
        <p:grpSpPr>
          <a:xfrm>
            <a:off x="135923" y="911272"/>
            <a:ext cx="8902812" cy="3735168"/>
            <a:chOff x="181231" y="1211855"/>
            <a:chExt cx="11870416" cy="4980224"/>
          </a:xfrm>
        </p:grpSpPr>
        <p:sp>
          <p:nvSpPr>
            <p:cNvPr id="9" name="TextBox 8">
              <a:extLst>
                <a:ext uri="{FF2B5EF4-FFF2-40B4-BE49-F238E27FC236}">
                  <a16:creationId xmlns:a16="http://schemas.microsoft.com/office/drawing/2014/main" id="{DC63092B-8823-4CDE-9669-BE8DB468D776}"/>
                </a:ext>
              </a:extLst>
            </p:cNvPr>
            <p:cNvSpPr txBox="1"/>
            <p:nvPr/>
          </p:nvSpPr>
          <p:spPr>
            <a:xfrm>
              <a:off x="199152" y="1830210"/>
              <a:ext cx="2379495" cy="2514192"/>
            </a:xfrm>
            <a:prstGeom prst="rect">
              <a:avLst/>
            </a:prstGeom>
            <a:noFill/>
          </p:spPr>
          <p:txBody>
            <a:bodyPr wrap="square" lIns="68580" tIns="34290" rIns="68580" bIns="34290" rtlCol="0" anchor="t">
              <a:spAutoFit/>
            </a:bodyPr>
            <a:lstStyle>
              <a:defPPr>
                <a:defRPr lang="en-US"/>
              </a:defPPr>
              <a:lvl1pPr marL="285750" indent="-285750">
                <a:lnSpc>
                  <a:spcPct val="90000"/>
                </a:lnSpc>
                <a:spcAft>
                  <a:spcPts val="600"/>
                </a:spcAft>
                <a:buClr>
                  <a:schemeClr val="accent1"/>
                </a:buClr>
                <a:buFont typeface="Arial" panose="020B0604020202020204" pitchFamily="34" charset="0"/>
                <a:buChar char="•"/>
                <a:defRPr sz="1400"/>
              </a:lvl1pPr>
            </a:lstStyle>
            <a:p>
              <a:pPr marL="214313" indent="-214313" defTabSz="685800" fontAlgn="auto">
                <a:spcBef>
                  <a:spcPts val="0"/>
                </a:spcBef>
                <a:spcAft>
                  <a:spcPts val="450"/>
                </a:spcAft>
                <a:buClr>
                  <a:srgbClr val="4472C4"/>
                </a:buClr>
                <a:buSzPct val="100000"/>
                <a:buFont typeface="+mn-lt"/>
                <a:buChar char="•"/>
              </a:pPr>
              <a:r>
                <a:rPr lang="en-GB" sz="1200">
                  <a:solidFill>
                    <a:prstClr val="black"/>
                  </a:solidFill>
                  <a:latin typeface="Calibri" panose="020F0502020204030204"/>
                  <a:ea typeface="+mn-ea"/>
                  <a:cs typeface="+mn-cs"/>
                </a:rPr>
                <a:t>Age ≥18 years</a:t>
              </a:r>
            </a:p>
            <a:p>
              <a:pPr marL="214313" indent="-214313" defTabSz="685800" fontAlgn="auto">
                <a:spcBef>
                  <a:spcPts val="0"/>
                </a:spcBef>
                <a:spcAft>
                  <a:spcPts val="450"/>
                </a:spcAft>
                <a:buClr>
                  <a:srgbClr val="4472C4"/>
                </a:buClr>
                <a:buSzPct val="100000"/>
                <a:buFont typeface="+mn-lt"/>
                <a:buChar char="•"/>
              </a:pPr>
              <a:r>
                <a:rPr lang="en-GB" sz="1200">
                  <a:solidFill>
                    <a:prstClr val="black"/>
                  </a:solidFill>
                  <a:latin typeface="Calibri" panose="020F0502020204030204"/>
                  <a:ea typeface="+mn-ea"/>
                  <a:cs typeface="+mn-cs"/>
                </a:rPr>
                <a:t>CD19+ R/R B-NHL</a:t>
              </a:r>
            </a:p>
            <a:p>
              <a:pPr marL="214313" indent="-214313" defTabSz="685800" fontAlgn="auto">
                <a:spcBef>
                  <a:spcPts val="0"/>
                </a:spcBef>
                <a:spcAft>
                  <a:spcPts val="450"/>
                </a:spcAft>
                <a:buClr>
                  <a:srgbClr val="4472C4"/>
                </a:buClr>
                <a:buSzPct val="100000"/>
                <a:buFont typeface="+mn-lt"/>
                <a:buChar char="•"/>
              </a:pPr>
              <a:r>
                <a:rPr lang="en-GB" sz="1200">
                  <a:solidFill>
                    <a:prstClr val="black"/>
                  </a:solidFill>
                  <a:latin typeface="Calibri" panose="020F0502020204030204"/>
                  <a:ea typeface="+mn-ea"/>
                  <a:cs typeface="+mn-cs"/>
                </a:rPr>
                <a:t>≥ 2 prior lines of therapy (anti-CD19 directed regimens and prior TCEs allowed)</a:t>
              </a:r>
            </a:p>
            <a:p>
              <a:pPr marL="214313" indent="-214313" defTabSz="685800" fontAlgn="auto">
                <a:spcBef>
                  <a:spcPts val="0"/>
                </a:spcBef>
                <a:spcAft>
                  <a:spcPts val="450"/>
                </a:spcAft>
                <a:buClr>
                  <a:srgbClr val="4472C4"/>
                </a:buClr>
                <a:buSzPct val="100000"/>
                <a:buFont typeface="+mn-lt"/>
                <a:buChar char="•"/>
              </a:pPr>
              <a:r>
                <a:rPr lang="en-GB" sz="1200">
                  <a:solidFill>
                    <a:prstClr val="black"/>
                  </a:solidFill>
                  <a:latin typeface="Calibri" panose="020F0502020204030204"/>
                  <a:ea typeface="+mn-ea"/>
                  <a:cs typeface="+mn-cs"/>
                </a:rPr>
                <a:t>ECOG PS ≤ 2</a:t>
              </a:r>
            </a:p>
            <a:p>
              <a:pPr marL="214313" indent="-214313" defTabSz="685800" fontAlgn="auto">
                <a:spcBef>
                  <a:spcPts val="0"/>
                </a:spcBef>
                <a:spcAft>
                  <a:spcPts val="450"/>
                </a:spcAft>
                <a:buClr>
                  <a:srgbClr val="4472C4"/>
                </a:buClr>
                <a:buSzPct val="100000"/>
                <a:buFont typeface="+mn-lt"/>
                <a:buChar char="•"/>
              </a:pPr>
              <a:r>
                <a:rPr lang="en-GB" sz="1200">
                  <a:solidFill>
                    <a:prstClr val="black"/>
                  </a:solidFill>
                  <a:latin typeface="Calibri" panose="020F0502020204030204"/>
                  <a:ea typeface="+mn-ea"/>
                  <a:cs typeface="+mn-cs"/>
                </a:rPr>
                <a:t>≥ 1 measurable lesion</a:t>
              </a:r>
            </a:p>
            <a:p>
              <a:pPr marL="214313" indent="-214313" defTabSz="685800" fontAlgn="auto">
                <a:spcBef>
                  <a:spcPts val="0"/>
                </a:spcBef>
                <a:spcAft>
                  <a:spcPts val="450"/>
                </a:spcAft>
                <a:buClr>
                  <a:srgbClr val="4472C4"/>
                </a:buClr>
                <a:buSzPct val="100000"/>
                <a:buFont typeface="+mn-lt"/>
                <a:buChar char="•"/>
              </a:pPr>
              <a:r>
                <a:rPr lang="en-GB" sz="1200">
                  <a:solidFill>
                    <a:prstClr val="black"/>
                  </a:solidFill>
                  <a:latin typeface="Calibri" panose="020F0502020204030204"/>
                  <a:ea typeface="+mn-ea"/>
                  <a:cs typeface="+mn-cs"/>
                </a:rPr>
                <a:t>No active CNS disease</a:t>
              </a:r>
            </a:p>
          </p:txBody>
        </p:sp>
        <p:sp>
          <p:nvSpPr>
            <p:cNvPr id="11" name="Rectangle 10">
              <a:extLst>
                <a:ext uri="{FF2B5EF4-FFF2-40B4-BE49-F238E27FC236}">
                  <a16:creationId xmlns:a16="http://schemas.microsoft.com/office/drawing/2014/main" id="{E39D3EC9-4C96-401E-A69E-C15DA6D183EA}"/>
                </a:ext>
              </a:extLst>
            </p:cNvPr>
            <p:cNvSpPr/>
            <p:nvPr/>
          </p:nvSpPr>
          <p:spPr>
            <a:xfrm>
              <a:off x="199152" y="1246525"/>
              <a:ext cx="2451554" cy="3451566"/>
            </a:xfrm>
            <a:prstGeom prst="rect">
              <a:avLst/>
            </a:prstGeom>
            <a:noFill/>
            <a:ln w="38100">
              <a:solidFill>
                <a:srgbClr val="3360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85800" fontAlgn="auto">
                <a:lnSpc>
                  <a:spcPct val="90000"/>
                </a:lnSpc>
                <a:spcBef>
                  <a:spcPts val="0"/>
                </a:spcBef>
                <a:spcAft>
                  <a:spcPts val="450"/>
                </a:spcAft>
              </a:pPr>
              <a:endParaRPr lang="en-GB" sz="1350" err="1">
                <a:solidFill>
                  <a:prstClr val="white"/>
                </a:solidFill>
                <a:latin typeface="Calibri" panose="020F0502020204030204"/>
              </a:endParaRPr>
            </a:p>
          </p:txBody>
        </p:sp>
        <p:sp>
          <p:nvSpPr>
            <p:cNvPr id="12" name="Rectangle 11">
              <a:extLst>
                <a:ext uri="{FF2B5EF4-FFF2-40B4-BE49-F238E27FC236}">
                  <a16:creationId xmlns:a16="http://schemas.microsoft.com/office/drawing/2014/main" id="{C5F14F0A-AE3A-4E5A-9D5B-E8BEF0895150}"/>
                </a:ext>
              </a:extLst>
            </p:cNvPr>
            <p:cNvSpPr/>
            <p:nvPr/>
          </p:nvSpPr>
          <p:spPr>
            <a:xfrm>
              <a:off x="181231" y="1211855"/>
              <a:ext cx="2483663" cy="383182"/>
            </a:xfrm>
            <a:prstGeom prst="rect">
              <a:avLst/>
            </a:prstGeom>
            <a:solidFill>
              <a:srgbClr val="336084"/>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800" fontAlgn="auto">
                <a:lnSpc>
                  <a:spcPct val="90000"/>
                </a:lnSpc>
                <a:spcBef>
                  <a:spcPts val="0"/>
                </a:spcBef>
                <a:spcAft>
                  <a:spcPts val="450"/>
                </a:spcAft>
              </a:pPr>
              <a:r>
                <a:rPr lang="en-GB" sz="1350" b="1">
                  <a:solidFill>
                    <a:prstClr val="white"/>
                  </a:solidFill>
                  <a:latin typeface="Calibri" panose="020F0502020204030204"/>
                </a:rPr>
                <a:t>Key Eligibility</a:t>
              </a:r>
            </a:p>
          </p:txBody>
        </p:sp>
        <p:sp>
          <p:nvSpPr>
            <p:cNvPr id="13" name="Rectangle 12">
              <a:extLst>
                <a:ext uri="{FF2B5EF4-FFF2-40B4-BE49-F238E27FC236}">
                  <a16:creationId xmlns:a16="http://schemas.microsoft.com/office/drawing/2014/main" id="{7C5C0821-E3F5-4290-BBF5-AB7F8C056398}"/>
                </a:ext>
              </a:extLst>
            </p:cNvPr>
            <p:cNvSpPr/>
            <p:nvPr/>
          </p:nvSpPr>
          <p:spPr>
            <a:xfrm>
              <a:off x="241321" y="4901997"/>
              <a:ext cx="4473846" cy="366095"/>
            </a:xfrm>
            <a:prstGeom prst="rect">
              <a:avLst/>
            </a:prstGeom>
            <a:solidFill>
              <a:srgbClr val="336084"/>
            </a:solidFill>
            <a:ln w="15875">
              <a:solidFill>
                <a:srgbClr val="3360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800" fontAlgn="auto">
                <a:lnSpc>
                  <a:spcPct val="90000"/>
                </a:lnSpc>
                <a:spcBef>
                  <a:spcPts val="0"/>
                </a:spcBef>
                <a:spcAft>
                  <a:spcPts val="450"/>
                </a:spcAft>
              </a:pPr>
              <a:r>
                <a:rPr lang="en-GB" sz="1350" b="1">
                  <a:solidFill>
                    <a:prstClr val="white"/>
                  </a:solidFill>
                  <a:latin typeface="Calibri" panose="020F0502020204030204"/>
                </a:rPr>
                <a:t>Study Endpoints</a:t>
              </a:r>
            </a:p>
          </p:txBody>
        </p:sp>
        <p:sp>
          <p:nvSpPr>
            <p:cNvPr id="19" name="TextBox 18">
              <a:extLst>
                <a:ext uri="{FF2B5EF4-FFF2-40B4-BE49-F238E27FC236}">
                  <a16:creationId xmlns:a16="http://schemas.microsoft.com/office/drawing/2014/main" id="{10357667-2B22-44A6-A57C-2D43355A120D}"/>
                </a:ext>
              </a:extLst>
            </p:cNvPr>
            <p:cNvSpPr txBox="1"/>
            <p:nvPr/>
          </p:nvSpPr>
          <p:spPr>
            <a:xfrm>
              <a:off x="233128" y="5325618"/>
              <a:ext cx="4304056" cy="651803"/>
            </a:xfrm>
            <a:prstGeom prst="rect">
              <a:avLst/>
            </a:prstGeom>
            <a:noFill/>
          </p:spPr>
          <p:txBody>
            <a:bodyPr wrap="square" rtlCol="0">
              <a:spAutoFit/>
            </a:bodyPr>
            <a:lstStyle>
              <a:defPPr>
                <a:defRPr lang="en-US"/>
              </a:defPPr>
              <a:lvl1pPr marL="285750" indent="-285750">
                <a:lnSpc>
                  <a:spcPct val="90000"/>
                </a:lnSpc>
                <a:spcAft>
                  <a:spcPts val="600"/>
                </a:spcAft>
                <a:buClr>
                  <a:schemeClr val="accent1"/>
                </a:buClr>
                <a:buFont typeface="Arial" panose="020B0604020202020204" pitchFamily="34" charset="0"/>
                <a:buChar char="•"/>
                <a:defRPr sz="1400"/>
              </a:lvl1pPr>
            </a:lstStyle>
            <a:p>
              <a:pPr marL="214313" indent="-214313" defTabSz="685800" fontAlgn="auto">
                <a:spcBef>
                  <a:spcPts val="0"/>
                </a:spcBef>
                <a:spcAft>
                  <a:spcPts val="450"/>
                </a:spcAft>
                <a:buClr>
                  <a:srgbClr val="4472C4"/>
                </a:buClr>
                <a:buSzPct val="100000"/>
                <a:buFont typeface="+mn-lt"/>
                <a:buChar char="•"/>
              </a:pPr>
              <a:r>
                <a:rPr lang="en-GB" sz="1200" b="1">
                  <a:solidFill>
                    <a:prstClr val="black"/>
                  </a:solidFill>
                  <a:latin typeface="Calibri" panose="020F0502020204030204"/>
                  <a:ea typeface="+mn-ea"/>
                  <a:cs typeface="+mn-cs"/>
                </a:rPr>
                <a:t>Primary</a:t>
              </a:r>
              <a:r>
                <a:rPr lang="en-GB" sz="1200">
                  <a:solidFill>
                    <a:prstClr val="black"/>
                  </a:solidFill>
                  <a:latin typeface="Calibri" panose="020F0502020204030204"/>
                  <a:ea typeface="+mn-ea"/>
                  <a:cs typeface="+mn-cs"/>
                </a:rPr>
                <a:t>: safety, tolerability, PK</a:t>
              </a:r>
            </a:p>
            <a:p>
              <a:pPr marL="214313" indent="-214313" defTabSz="685800" fontAlgn="auto">
                <a:spcBef>
                  <a:spcPts val="0"/>
                </a:spcBef>
                <a:spcAft>
                  <a:spcPts val="450"/>
                </a:spcAft>
                <a:buClr>
                  <a:srgbClr val="4472C4"/>
                </a:buClr>
                <a:buSzPct val="100000"/>
                <a:buFont typeface="+mn-lt"/>
                <a:buChar char="•"/>
              </a:pPr>
              <a:r>
                <a:rPr lang="en-GB" sz="1200" b="1">
                  <a:solidFill>
                    <a:prstClr val="black"/>
                  </a:solidFill>
                  <a:latin typeface="Calibri" panose="020F0502020204030204"/>
                  <a:ea typeface="+mn-ea"/>
                  <a:cs typeface="+mn-cs"/>
                </a:rPr>
                <a:t>Secondary</a:t>
              </a:r>
              <a:r>
                <a:rPr lang="en-GB" sz="1200">
                  <a:solidFill>
                    <a:prstClr val="black"/>
                  </a:solidFill>
                  <a:latin typeface="Calibri" panose="020F0502020204030204"/>
                  <a:ea typeface="+mn-ea"/>
                  <a:cs typeface="+mn-cs"/>
                </a:rPr>
                <a:t>: anti-</a:t>
              </a:r>
              <a:r>
                <a:rPr lang="en-GB" sz="1200" err="1">
                  <a:solidFill>
                    <a:prstClr val="black"/>
                  </a:solidFill>
                  <a:latin typeface="Calibri" panose="020F0502020204030204"/>
                  <a:ea typeface="+mn-ea"/>
                  <a:cs typeface="+mn-cs"/>
                </a:rPr>
                <a:t>tumor</a:t>
              </a:r>
              <a:r>
                <a:rPr lang="en-GB" sz="1200">
                  <a:solidFill>
                    <a:prstClr val="black"/>
                  </a:solidFill>
                  <a:latin typeface="Calibri" panose="020F0502020204030204"/>
                  <a:ea typeface="+mn-ea"/>
                  <a:cs typeface="+mn-cs"/>
                </a:rPr>
                <a:t> activity (RECIL 2017</a:t>
              </a:r>
              <a:r>
                <a:rPr lang="en-GB" sz="1200" baseline="30000">
                  <a:solidFill>
                    <a:prstClr val="black"/>
                  </a:solidFill>
                  <a:latin typeface="Calibri" panose="020F0502020204030204"/>
                  <a:ea typeface="+mn-ea"/>
                  <a:cs typeface="+mn-cs"/>
                </a:rPr>
                <a:t>2</a:t>
              </a:r>
              <a:r>
                <a:rPr lang="en-GB" sz="1200">
                  <a:solidFill>
                    <a:prstClr val="black"/>
                  </a:solidFill>
                  <a:latin typeface="Calibri" panose="020F0502020204030204"/>
                  <a:ea typeface="+mn-ea"/>
                  <a:cs typeface="+mn-cs"/>
                </a:rPr>
                <a:t>) </a:t>
              </a:r>
            </a:p>
          </p:txBody>
        </p:sp>
        <p:sp>
          <p:nvSpPr>
            <p:cNvPr id="20" name="Rectangle 19">
              <a:extLst>
                <a:ext uri="{FF2B5EF4-FFF2-40B4-BE49-F238E27FC236}">
                  <a16:creationId xmlns:a16="http://schemas.microsoft.com/office/drawing/2014/main" id="{FDCE2A8B-8041-4BF2-AF28-2DE287157A57}"/>
                </a:ext>
              </a:extLst>
            </p:cNvPr>
            <p:cNvSpPr/>
            <p:nvPr/>
          </p:nvSpPr>
          <p:spPr>
            <a:xfrm>
              <a:off x="236921" y="4901996"/>
              <a:ext cx="4473846" cy="1290082"/>
            </a:xfrm>
            <a:prstGeom prst="rect">
              <a:avLst/>
            </a:prstGeom>
            <a:noFill/>
            <a:ln w="38100">
              <a:solidFill>
                <a:srgbClr val="3360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85800" fontAlgn="auto">
                <a:lnSpc>
                  <a:spcPct val="90000"/>
                </a:lnSpc>
                <a:spcBef>
                  <a:spcPts val="0"/>
                </a:spcBef>
                <a:spcAft>
                  <a:spcPts val="450"/>
                </a:spcAft>
              </a:pPr>
              <a:endParaRPr lang="en-GB" sz="1350" err="1">
                <a:solidFill>
                  <a:prstClr val="white"/>
                </a:solidFill>
                <a:latin typeface="Calibri" panose="020F0502020204030204"/>
              </a:endParaRPr>
            </a:p>
          </p:txBody>
        </p:sp>
        <p:sp>
          <p:nvSpPr>
            <p:cNvPr id="50" name="Rectangle 49">
              <a:extLst>
                <a:ext uri="{FF2B5EF4-FFF2-40B4-BE49-F238E27FC236}">
                  <a16:creationId xmlns:a16="http://schemas.microsoft.com/office/drawing/2014/main" id="{2CDD3C70-A80C-F9DC-0150-4E130194916E}"/>
                </a:ext>
              </a:extLst>
            </p:cNvPr>
            <p:cNvSpPr/>
            <p:nvPr/>
          </p:nvSpPr>
          <p:spPr>
            <a:xfrm>
              <a:off x="2723324" y="1211856"/>
              <a:ext cx="9215644" cy="390162"/>
            </a:xfrm>
            <a:prstGeom prst="rect">
              <a:avLst/>
            </a:prstGeom>
            <a:solidFill>
              <a:srgbClr val="336084"/>
            </a:solidFill>
            <a:ln w="15875">
              <a:solidFill>
                <a:srgbClr val="3360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85800" fontAlgn="auto">
                <a:lnSpc>
                  <a:spcPct val="90000"/>
                </a:lnSpc>
                <a:spcBef>
                  <a:spcPts val="0"/>
                </a:spcBef>
                <a:spcAft>
                  <a:spcPts val="450"/>
                </a:spcAft>
              </a:pPr>
              <a:r>
                <a:rPr lang="en-GB" sz="1350" b="1">
                  <a:solidFill>
                    <a:prstClr val="white"/>
                  </a:solidFill>
                  <a:latin typeface="Calibri" panose="020F0502020204030204"/>
                </a:rPr>
                <a:t>Study Design</a:t>
              </a:r>
            </a:p>
          </p:txBody>
        </p:sp>
        <p:sp>
          <p:nvSpPr>
            <p:cNvPr id="3" name="Rectangle 2">
              <a:extLst>
                <a:ext uri="{FF2B5EF4-FFF2-40B4-BE49-F238E27FC236}">
                  <a16:creationId xmlns:a16="http://schemas.microsoft.com/office/drawing/2014/main" id="{CE0A79FB-BC9E-3963-4912-8190C324161B}"/>
                </a:ext>
              </a:extLst>
            </p:cNvPr>
            <p:cNvSpPr/>
            <p:nvPr/>
          </p:nvSpPr>
          <p:spPr>
            <a:xfrm>
              <a:off x="4988580" y="4901997"/>
              <a:ext cx="6968958" cy="1290082"/>
            </a:xfrm>
            <a:prstGeom prst="rect">
              <a:avLst/>
            </a:prstGeom>
            <a:noFill/>
            <a:ln w="38100">
              <a:solidFill>
                <a:srgbClr val="3360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85800" fontAlgn="auto">
                <a:lnSpc>
                  <a:spcPct val="90000"/>
                </a:lnSpc>
                <a:spcBef>
                  <a:spcPts val="0"/>
                </a:spcBef>
                <a:spcAft>
                  <a:spcPts val="450"/>
                </a:spcAft>
              </a:pPr>
              <a:endParaRPr lang="en-GB" sz="1350" err="1">
                <a:solidFill>
                  <a:prstClr val="white"/>
                </a:solidFill>
                <a:latin typeface="Calibri" panose="020F0502020204030204"/>
              </a:endParaRPr>
            </a:p>
          </p:txBody>
        </p:sp>
        <p:sp>
          <p:nvSpPr>
            <p:cNvPr id="5" name="Rectangle 4">
              <a:extLst>
                <a:ext uri="{FF2B5EF4-FFF2-40B4-BE49-F238E27FC236}">
                  <a16:creationId xmlns:a16="http://schemas.microsoft.com/office/drawing/2014/main" id="{38315C61-537B-0DF7-2FF7-302E7DD1EB50}"/>
                </a:ext>
              </a:extLst>
            </p:cNvPr>
            <p:cNvSpPr/>
            <p:nvPr/>
          </p:nvSpPr>
          <p:spPr>
            <a:xfrm>
              <a:off x="5012475" y="4912664"/>
              <a:ext cx="6950388" cy="329077"/>
            </a:xfrm>
            <a:prstGeom prst="rect">
              <a:avLst/>
            </a:prstGeom>
            <a:solidFill>
              <a:srgbClr val="336084"/>
            </a:solidFill>
            <a:ln w="15875">
              <a:solidFill>
                <a:srgbClr val="336084"/>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noAutofit/>
            </a:bodyPr>
            <a:lstStyle/>
            <a:p>
              <a:pPr algn="ctr" defTabSz="685800" fontAlgn="auto">
                <a:lnSpc>
                  <a:spcPct val="90000"/>
                </a:lnSpc>
                <a:spcBef>
                  <a:spcPts val="0"/>
                </a:spcBef>
                <a:spcAft>
                  <a:spcPts val="450"/>
                </a:spcAft>
              </a:pPr>
              <a:r>
                <a:rPr lang="en-GB" sz="1350" b="1">
                  <a:solidFill>
                    <a:prstClr val="white"/>
                  </a:solidFill>
                  <a:latin typeface="Calibri" panose="020F0502020204030204"/>
                </a:rPr>
                <a:t>Treatment Schedule</a:t>
              </a:r>
            </a:p>
          </p:txBody>
        </p:sp>
        <p:sp>
          <p:nvSpPr>
            <p:cNvPr id="10" name="TextBox 9">
              <a:extLst>
                <a:ext uri="{FF2B5EF4-FFF2-40B4-BE49-F238E27FC236}">
                  <a16:creationId xmlns:a16="http://schemas.microsoft.com/office/drawing/2014/main" id="{6CD09E5F-FF4A-9E16-B13F-A5BE423CE924}"/>
                </a:ext>
              </a:extLst>
            </p:cNvPr>
            <p:cNvSpPr txBox="1"/>
            <p:nvPr/>
          </p:nvSpPr>
          <p:spPr>
            <a:xfrm>
              <a:off x="5110898" y="5351071"/>
              <a:ext cx="6700173" cy="621025"/>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defTabSz="685800" fontAlgn="auto">
                <a:lnSpc>
                  <a:spcPct val="90000"/>
                </a:lnSpc>
                <a:spcBef>
                  <a:spcPts val="0"/>
                </a:spcBef>
                <a:spcAft>
                  <a:spcPts val="450"/>
                </a:spcAft>
                <a:buClr>
                  <a:srgbClr val="4472C4"/>
                </a:buClr>
                <a:buFontTx/>
                <a:buChar char="•"/>
              </a:pPr>
              <a:r>
                <a:rPr lang="en-GB" sz="1200" b="1">
                  <a:solidFill>
                    <a:prstClr val="black"/>
                  </a:solidFill>
                  <a:latin typeface="Calibri" panose="020F0502020204030204"/>
                  <a:ea typeface="+mn-ea"/>
                  <a:cs typeface="Arial"/>
                </a:rPr>
                <a:t>   </a:t>
              </a:r>
              <a:r>
                <a:rPr lang="en-US" sz="1200">
                  <a:solidFill>
                    <a:prstClr val="black"/>
                  </a:solidFill>
                  <a:latin typeface="Calibri" panose="020F0502020204030204"/>
                  <a:ea typeface="+mn-ea"/>
                  <a:cs typeface="Arial"/>
                </a:rPr>
                <a:t>TNB-486 administered by IV infusion every 2 </a:t>
              </a:r>
              <a:r>
                <a:rPr lang="en-US" sz="1200" err="1">
                  <a:solidFill>
                    <a:prstClr val="black"/>
                  </a:solidFill>
                  <a:latin typeface="Calibri" panose="020F0502020204030204"/>
                  <a:ea typeface="+mn-ea"/>
                  <a:cs typeface="Arial"/>
                </a:rPr>
                <a:t>wks</a:t>
              </a:r>
              <a:r>
                <a:rPr lang="en-US" sz="1200">
                  <a:solidFill>
                    <a:prstClr val="black"/>
                  </a:solidFill>
                  <a:latin typeface="Calibri" panose="020F0502020204030204"/>
                  <a:ea typeface="+mn-ea"/>
                  <a:cs typeface="Arial"/>
                </a:rPr>
                <a:t> (28-day cycles), up to 2 </a:t>
              </a:r>
              <a:r>
                <a:rPr lang="en-US" sz="1200" err="1">
                  <a:solidFill>
                    <a:prstClr val="black"/>
                  </a:solidFill>
                  <a:latin typeface="Calibri" panose="020F0502020204030204"/>
                  <a:ea typeface="+mn-ea"/>
                  <a:cs typeface="Arial"/>
                </a:rPr>
                <a:t>yrs</a:t>
              </a:r>
              <a:endParaRPr lang="en-US" sz="1200">
                <a:solidFill>
                  <a:prstClr val="black"/>
                </a:solidFill>
                <a:latin typeface="Calibri" panose="020F0502020204030204"/>
                <a:ea typeface="+mn-ea"/>
                <a:cs typeface="Arial"/>
              </a:endParaRPr>
            </a:p>
            <a:p>
              <a:pPr defTabSz="685800" fontAlgn="auto">
                <a:lnSpc>
                  <a:spcPct val="90000"/>
                </a:lnSpc>
                <a:spcBef>
                  <a:spcPts val="0"/>
                </a:spcBef>
                <a:spcAft>
                  <a:spcPts val="450"/>
                </a:spcAft>
                <a:buClr>
                  <a:srgbClr val="4472C4"/>
                </a:buClr>
                <a:buFontTx/>
                <a:buChar char="•"/>
              </a:pPr>
              <a:r>
                <a:rPr lang="en-GB" sz="1200">
                  <a:solidFill>
                    <a:prstClr val="black"/>
                  </a:solidFill>
                  <a:latin typeface="Calibri" panose="020F0502020204030204"/>
                  <a:ea typeface="+mn-ea"/>
                  <a:cs typeface="Arial"/>
                </a:rPr>
                <a:t>   In patients with CR after cycle 6, treatment may be given every 4 </a:t>
              </a:r>
              <a:r>
                <a:rPr lang="en-GB" sz="1200" err="1">
                  <a:solidFill>
                    <a:prstClr val="black"/>
                  </a:solidFill>
                  <a:latin typeface="Calibri" panose="020F0502020204030204"/>
                  <a:ea typeface="+mn-ea"/>
                  <a:cs typeface="Arial"/>
                </a:rPr>
                <a:t>wks</a:t>
              </a:r>
              <a:endParaRPr lang="en-GB" sz="1200">
                <a:solidFill>
                  <a:prstClr val="black"/>
                </a:solidFill>
                <a:latin typeface="Calibri" panose="020F0502020204030204"/>
                <a:ea typeface="+mn-ea"/>
                <a:cs typeface="Arial"/>
              </a:endParaRPr>
            </a:p>
          </p:txBody>
        </p:sp>
        <p:pic>
          <p:nvPicPr>
            <p:cNvPr id="14" name="Picture 14">
              <a:extLst>
                <a:ext uri="{FF2B5EF4-FFF2-40B4-BE49-F238E27FC236}">
                  <a16:creationId xmlns:a16="http://schemas.microsoft.com/office/drawing/2014/main" id="{A0C09A96-D0BD-FB4E-E294-95C3C4FD4D49}"/>
                </a:ext>
              </a:extLst>
            </p:cNvPr>
            <p:cNvPicPr>
              <a:picLocks noChangeAspect="1"/>
            </p:cNvPicPr>
            <p:nvPr/>
          </p:nvPicPr>
          <p:blipFill>
            <a:blip r:embed="rId3"/>
            <a:stretch>
              <a:fillRect/>
            </a:stretch>
          </p:blipFill>
          <p:spPr>
            <a:xfrm>
              <a:off x="2746624" y="1830210"/>
              <a:ext cx="6511901" cy="2761006"/>
            </a:xfrm>
            <a:prstGeom prst="rect">
              <a:avLst/>
            </a:prstGeom>
          </p:spPr>
        </p:pic>
        <p:sp>
          <p:nvSpPr>
            <p:cNvPr id="18" name="TextBox 17">
              <a:extLst>
                <a:ext uri="{FF2B5EF4-FFF2-40B4-BE49-F238E27FC236}">
                  <a16:creationId xmlns:a16="http://schemas.microsoft.com/office/drawing/2014/main" id="{AE72B0BB-BC64-4B94-D703-51908EE612B7}"/>
                </a:ext>
              </a:extLst>
            </p:cNvPr>
            <p:cNvSpPr txBox="1"/>
            <p:nvPr/>
          </p:nvSpPr>
          <p:spPr>
            <a:xfrm>
              <a:off x="5625371" y="4217960"/>
              <a:ext cx="3332383" cy="510909"/>
            </a:xfrm>
            <a:prstGeom prst="rect">
              <a:avLst/>
            </a:prstGeom>
            <a:noFill/>
          </p:spPr>
          <p:txBody>
            <a:bodyPr wrap="square" rtlCol="0">
              <a:spAutoFit/>
            </a:bodyPr>
            <a:lstStyle/>
            <a:p>
              <a:pPr defTabSz="685800" fontAlgn="auto">
                <a:lnSpc>
                  <a:spcPct val="90000"/>
                </a:lnSpc>
                <a:spcBef>
                  <a:spcPts val="0"/>
                </a:spcBef>
                <a:spcAft>
                  <a:spcPts val="450"/>
                </a:spcAft>
              </a:pPr>
              <a:r>
                <a:rPr lang="en-US" sz="1050">
                  <a:solidFill>
                    <a:prstClr val="black"/>
                  </a:solidFill>
                  <a:latin typeface="Calibri" panose="020F0502020204030204"/>
                  <a:ea typeface="+mn-ea"/>
                  <a:cs typeface="+mn-cs"/>
                </a:rPr>
                <a:t>Each dose may be expanded up to N=15 for dose optimization and RP2D selection</a:t>
              </a:r>
              <a:endParaRPr lang="en-US" sz="1350">
                <a:solidFill>
                  <a:prstClr val="black"/>
                </a:solidFill>
                <a:latin typeface="Calibri" panose="020F0502020204030204"/>
                <a:ea typeface="+mn-ea"/>
                <a:cs typeface="+mn-cs"/>
              </a:endParaRPr>
            </a:p>
          </p:txBody>
        </p:sp>
        <p:grpSp>
          <p:nvGrpSpPr>
            <p:cNvPr id="24" name="Group 23">
              <a:extLst>
                <a:ext uri="{FF2B5EF4-FFF2-40B4-BE49-F238E27FC236}">
                  <a16:creationId xmlns:a16="http://schemas.microsoft.com/office/drawing/2014/main" id="{3B674073-506F-0AB7-49F0-8BC7BA7E2B1F}"/>
                </a:ext>
              </a:extLst>
            </p:cNvPr>
            <p:cNvGrpSpPr/>
            <p:nvPr/>
          </p:nvGrpSpPr>
          <p:grpSpPr>
            <a:xfrm>
              <a:off x="8997593" y="2797431"/>
              <a:ext cx="3054054" cy="1709386"/>
              <a:chOff x="8997593" y="2797431"/>
              <a:chExt cx="3054054" cy="1709386"/>
            </a:xfrm>
          </p:grpSpPr>
          <p:sp>
            <p:nvSpPr>
              <p:cNvPr id="17" name="Speech Bubble: Rectangle 16">
                <a:extLst>
                  <a:ext uri="{FF2B5EF4-FFF2-40B4-BE49-F238E27FC236}">
                    <a16:creationId xmlns:a16="http://schemas.microsoft.com/office/drawing/2014/main" id="{7300BD12-B13B-37D3-CED0-32FDECB6FDEB}"/>
                  </a:ext>
                </a:extLst>
              </p:cNvPr>
              <p:cNvSpPr/>
              <p:nvPr/>
            </p:nvSpPr>
            <p:spPr>
              <a:xfrm rot="16200000">
                <a:off x="9669927" y="2125097"/>
                <a:ext cx="1709386" cy="3054054"/>
              </a:xfrm>
              <a:prstGeom prst="wedgeRectCallout">
                <a:avLst>
                  <a:gd name="adj1" fmla="val 81724"/>
                  <a:gd name="adj2" fmla="val -35703"/>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85800" fontAlgn="auto">
                  <a:lnSpc>
                    <a:spcPct val="90000"/>
                  </a:lnSpc>
                  <a:spcBef>
                    <a:spcPts val="0"/>
                  </a:spcBef>
                  <a:spcAft>
                    <a:spcPts val="450"/>
                  </a:spcAft>
                </a:pPr>
                <a:endParaRPr lang="en-US" sz="1350" err="1">
                  <a:solidFill>
                    <a:prstClr val="white"/>
                  </a:solidFill>
                  <a:latin typeface="Calibri" panose="020F0502020204030204"/>
                </a:endParaRPr>
              </a:p>
            </p:txBody>
          </p:sp>
          <p:sp>
            <p:nvSpPr>
              <p:cNvPr id="22" name="Rectangle 21">
                <a:extLst>
                  <a:ext uri="{FF2B5EF4-FFF2-40B4-BE49-F238E27FC236}">
                    <a16:creationId xmlns:a16="http://schemas.microsoft.com/office/drawing/2014/main" id="{EAE5F1C6-8904-5FA7-61B1-F03A8F6C8B5B}"/>
                  </a:ext>
                </a:extLst>
              </p:cNvPr>
              <p:cNvSpPr/>
              <p:nvPr/>
            </p:nvSpPr>
            <p:spPr>
              <a:xfrm>
                <a:off x="9409316" y="3302694"/>
                <a:ext cx="720205" cy="260017"/>
              </a:xfrm>
              <a:prstGeom prst="rect">
                <a:avLst/>
              </a:prstGeom>
              <a:solidFill>
                <a:srgbClr val="B2B4B4">
                  <a:alpha val="80000"/>
                </a:srgb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85000" lnSpcReduction="20000"/>
              </a:bodyPr>
              <a:lstStyle/>
              <a:p>
                <a:pPr algn="ctr" defTabSz="685800" fontAlgn="auto">
                  <a:lnSpc>
                    <a:spcPct val="90000"/>
                  </a:lnSpc>
                  <a:spcBef>
                    <a:spcPts val="0"/>
                  </a:spcBef>
                  <a:spcAft>
                    <a:spcPts val="450"/>
                  </a:spcAft>
                </a:pPr>
                <a:r>
                  <a:rPr lang="en-US" sz="1050" b="1">
                    <a:solidFill>
                      <a:prstClr val="white"/>
                    </a:solidFill>
                    <a:latin typeface="Calibri" panose="020F0502020204030204"/>
                  </a:rPr>
                  <a:t>1.0 mg</a:t>
                </a:r>
              </a:p>
            </p:txBody>
          </p:sp>
          <p:sp>
            <p:nvSpPr>
              <p:cNvPr id="23" name="Rectangle 22">
                <a:extLst>
                  <a:ext uri="{FF2B5EF4-FFF2-40B4-BE49-F238E27FC236}">
                    <a16:creationId xmlns:a16="http://schemas.microsoft.com/office/drawing/2014/main" id="{C3DB6416-6C34-27A5-0574-85E2DD38D9D3}"/>
                  </a:ext>
                </a:extLst>
              </p:cNvPr>
              <p:cNvSpPr/>
              <p:nvPr/>
            </p:nvSpPr>
            <p:spPr>
              <a:xfrm>
                <a:off x="9065102" y="3652124"/>
                <a:ext cx="688429" cy="290110"/>
              </a:xfrm>
              <a:prstGeom prst="rect">
                <a:avLst/>
              </a:prstGeom>
              <a:solidFill>
                <a:srgbClr val="B2B4B4">
                  <a:alpha val="80000"/>
                </a:srgb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noAutofit/>
              </a:bodyPr>
              <a:lstStyle/>
              <a:p>
                <a:pPr algn="ctr" defTabSz="685800" fontAlgn="auto">
                  <a:lnSpc>
                    <a:spcPct val="90000"/>
                  </a:lnSpc>
                  <a:spcBef>
                    <a:spcPts val="0"/>
                  </a:spcBef>
                  <a:spcAft>
                    <a:spcPts val="450"/>
                  </a:spcAft>
                </a:pPr>
                <a:r>
                  <a:rPr lang="en-US" sz="900" b="1">
                    <a:solidFill>
                      <a:prstClr val="white"/>
                    </a:solidFill>
                    <a:latin typeface="Calibri" panose="020F0502020204030204"/>
                  </a:rPr>
                  <a:t>0.27 mg</a:t>
                </a:r>
              </a:p>
            </p:txBody>
          </p:sp>
          <p:sp>
            <p:nvSpPr>
              <p:cNvPr id="25" name="Rectangle 24">
                <a:extLst>
                  <a:ext uri="{FF2B5EF4-FFF2-40B4-BE49-F238E27FC236}">
                    <a16:creationId xmlns:a16="http://schemas.microsoft.com/office/drawing/2014/main" id="{FDF76BDD-51D1-E6BF-73D8-4D9386F24FAB}"/>
                  </a:ext>
                </a:extLst>
              </p:cNvPr>
              <p:cNvSpPr/>
              <p:nvPr/>
            </p:nvSpPr>
            <p:spPr>
              <a:xfrm>
                <a:off x="10496313" y="2907284"/>
                <a:ext cx="709213" cy="308770"/>
              </a:xfrm>
              <a:prstGeom prst="rect">
                <a:avLst/>
              </a:prstGeom>
              <a:solidFill>
                <a:srgbClr val="B2B4B4">
                  <a:alpha val="80000"/>
                </a:srgb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normAutofit/>
              </a:bodyPr>
              <a:lstStyle/>
              <a:p>
                <a:pPr algn="ctr" defTabSz="685800" fontAlgn="auto">
                  <a:lnSpc>
                    <a:spcPct val="90000"/>
                  </a:lnSpc>
                  <a:spcBef>
                    <a:spcPts val="0"/>
                  </a:spcBef>
                  <a:spcAft>
                    <a:spcPts val="450"/>
                  </a:spcAft>
                </a:pPr>
                <a:r>
                  <a:rPr lang="en-US" sz="1050" b="1">
                    <a:solidFill>
                      <a:prstClr val="white"/>
                    </a:solidFill>
                    <a:latin typeface="Calibri" panose="020F0502020204030204"/>
                  </a:rPr>
                  <a:t>TD</a:t>
                </a:r>
              </a:p>
            </p:txBody>
          </p:sp>
          <p:cxnSp>
            <p:nvCxnSpPr>
              <p:cNvPr id="27" name="Straight Arrow Connector 26">
                <a:extLst>
                  <a:ext uri="{FF2B5EF4-FFF2-40B4-BE49-F238E27FC236}">
                    <a16:creationId xmlns:a16="http://schemas.microsoft.com/office/drawing/2014/main" id="{6EC21D86-4D6D-1C6D-831D-518834ABDB89}"/>
                  </a:ext>
                </a:extLst>
              </p:cNvPr>
              <p:cNvCxnSpPr>
                <a:cxnSpLocks/>
                <a:stCxn id="23" idx="2"/>
              </p:cNvCxnSpPr>
              <p:nvPr/>
            </p:nvCxnSpPr>
            <p:spPr>
              <a:xfrm>
                <a:off x="9409316" y="3942234"/>
                <a:ext cx="0" cy="253873"/>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58B8E819-E3CE-992B-C806-741D199D99CB}"/>
                  </a:ext>
                </a:extLst>
              </p:cNvPr>
              <p:cNvCxnSpPr>
                <a:cxnSpLocks/>
              </p:cNvCxnSpPr>
              <p:nvPr/>
            </p:nvCxnSpPr>
            <p:spPr>
              <a:xfrm>
                <a:off x="9804915" y="3620759"/>
                <a:ext cx="0" cy="521051"/>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41B92415-E850-6ECF-BAF4-2DDEBC4EC2B5}"/>
                  </a:ext>
                </a:extLst>
              </p:cNvPr>
              <p:cNvSpPr/>
              <p:nvPr/>
            </p:nvSpPr>
            <p:spPr>
              <a:xfrm>
                <a:off x="9065102" y="4196107"/>
                <a:ext cx="1659490" cy="242999"/>
              </a:xfrm>
              <a:prstGeom prst="rect">
                <a:avLst/>
              </a:prstGeom>
              <a:solidFill>
                <a:schemeClr val="accent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normAutofit fontScale="70000" lnSpcReduction="20000"/>
              </a:bodyPr>
              <a:lstStyle/>
              <a:p>
                <a:pPr algn="ctr" defTabSz="685800" fontAlgn="auto">
                  <a:lnSpc>
                    <a:spcPct val="90000"/>
                  </a:lnSpc>
                  <a:spcBef>
                    <a:spcPts val="0"/>
                  </a:spcBef>
                  <a:spcAft>
                    <a:spcPts val="450"/>
                  </a:spcAft>
                </a:pPr>
                <a:r>
                  <a:rPr lang="en-US" sz="1050">
                    <a:solidFill>
                      <a:prstClr val="white"/>
                    </a:solidFill>
                    <a:latin typeface="Calibri" panose="020F0502020204030204"/>
                  </a:rPr>
                  <a:t>C1: D1,8,15</a:t>
                </a:r>
              </a:p>
            </p:txBody>
          </p:sp>
          <p:sp>
            <p:nvSpPr>
              <p:cNvPr id="31" name="Rectangle 30">
                <a:extLst>
                  <a:ext uri="{FF2B5EF4-FFF2-40B4-BE49-F238E27FC236}">
                    <a16:creationId xmlns:a16="http://schemas.microsoft.com/office/drawing/2014/main" id="{135EF3FE-CBB7-E1E0-258D-E9DBB43F1385}"/>
                  </a:ext>
                </a:extLst>
              </p:cNvPr>
              <p:cNvSpPr/>
              <p:nvPr/>
            </p:nvSpPr>
            <p:spPr>
              <a:xfrm>
                <a:off x="10844156" y="4191486"/>
                <a:ext cx="1146465" cy="243000"/>
              </a:xfrm>
              <a:prstGeom prst="rect">
                <a:avLst/>
              </a:prstGeom>
              <a:solidFill>
                <a:schemeClr val="accent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normAutofit fontScale="70000" lnSpcReduction="20000"/>
              </a:bodyPr>
              <a:lstStyle/>
              <a:p>
                <a:pPr algn="ctr" defTabSz="685800" fontAlgn="auto">
                  <a:lnSpc>
                    <a:spcPct val="90000"/>
                  </a:lnSpc>
                  <a:spcBef>
                    <a:spcPts val="0"/>
                  </a:spcBef>
                  <a:spcAft>
                    <a:spcPts val="450"/>
                  </a:spcAft>
                </a:pPr>
                <a:r>
                  <a:rPr lang="en-US" sz="1050">
                    <a:solidFill>
                      <a:prstClr val="white"/>
                    </a:solidFill>
                    <a:latin typeface="Calibri" panose="020F0502020204030204"/>
                  </a:rPr>
                  <a:t>C 2-24: D1,15</a:t>
                </a:r>
              </a:p>
            </p:txBody>
          </p:sp>
          <p:cxnSp>
            <p:nvCxnSpPr>
              <p:cNvPr id="33" name="Straight Arrow Connector 32">
                <a:extLst>
                  <a:ext uri="{FF2B5EF4-FFF2-40B4-BE49-F238E27FC236}">
                    <a16:creationId xmlns:a16="http://schemas.microsoft.com/office/drawing/2014/main" id="{1F1DC541-4AE2-A758-1AAA-2127A6CA96E5}"/>
                  </a:ext>
                </a:extLst>
              </p:cNvPr>
              <p:cNvCxnSpPr>
                <a:cxnSpLocks/>
              </p:cNvCxnSpPr>
              <p:nvPr/>
            </p:nvCxnSpPr>
            <p:spPr>
              <a:xfrm>
                <a:off x="11473419" y="3258582"/>
                <a:ext cx="0" cy="888464"/>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01D6DCA4-5B5D-358C-E815-73BE741CE4E0}"/>
                  </a:ext>
                </a:extLst>
              </p:cNvPr>
              <p:cNvSpPr/>
              <p:nvPr/>
            </p:nvSpPr>
            <p:spPr>
              <a:xfrm>
                <a:off x="11259692" y="2906835"/>
                <a:ext cx="709212" cy="309216"/>
              </a:xfrm>
              <a:prstGeom prst="rect">
                <a:avLst/>
              </a:prstGeom>
              <a:solidFill>
                <a:srgbClr val="B2B4B4">
                  <a:alpha val="80000"/>
                </a:srgb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normAutofit/>
              </a:bodyPr>
              <a:lstStyle/>
              <a:p>
                <a:pPr algn="ctr" defTabSz="685800" fontAlgn="auto">
                  <a:lnSpc>
                    <a:spcPct val="90000"/>
                  </a:lnSpc>
                  <a:spcBef>
                    <a:spcPts val="0"/>
                  </a:spcBef>
                  <a:spcAft>
                    <a:spcPts val="450"/>
                  </a:spcAft>
                </a:pPr>
                <a:r>
                  <a:rPr lang="en-US" sz="1050" b="1">
                    <a:solidFill>
                      <a:prstClr val="white"/>
                    </a:solidFill>
                    <a:latin typeface="Calibri" panose="020F0502020204030204"/>
                  </a:rPr>
                  <a:t>TD</a:t>
                </a:r>
              </a:p>
            </p:txBody>
          </p:sp>
          <p:sp>
            <p:nvSpPr>
              <p:cNvPr id="15" name="Rectangle 14">
                <a:extLst>
                  <a:ext uri="{FF2B5EF4-FFF2-40B4-BE49-F238E27FC236}">
                    <a16:creationId xmlns:a16="http://schemas.microsoft.com/office/drawing/2014/main" id="{9FD8AD9F-56C6-9F7C-B4CF-947CD5C3847E}"/>
                  </a:ext>
                </a:extLst>
              </p:cNvPr>
              <p:cNvSpPr/>
              <p:nvPr/>
            </p:nvSpPr>
            <p:spPr>
              <a:xfrm>
                <a:off x="9705324" y="2911477"/>
                <a:ext cx="709212" cy="309216"/>
              </a:xfrm>
              <a:prstGeom prst="rect">
                <a:avLst/>
              </a:prstGeom>
              <a:solidFill>
                <a:srgbClr val="B2B4B4">
                  <a:alpha val="80000"/>
                </a:srgb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normAutofit/>
              </a:bodyPr>
              <a:lstStyle/>
              <a:p>
                <a:pPr algn="ctr" defTabSz="685800" fontAlgn="auto">
                  <a:lnSpc>
                    <a:spcPct val="90000"/>
                  </a:lnSpc>
                  <a:spcBef>
                    <a:spcPts val="0"/>
                  </a:spcBef>
                  <a:spcAft>
                    <a:spcPts val="450"/>
                  </a:spcAft>
                </a:pPr>
                <a:r>
                  <a:rPr lang="en-US" sz="1050" b="1">
                    <a:solidFill>
                      <a:prstClr val="white"/>
                    </a:solidFill>
                    <a:latin typeface="Calibri" panose="020F0502020204030204"/>
                  </a:rPr>
                  <a:t>TD</a:t>
                </a:r>
              </a:p>
            </p:txBody>
          </p:sp>
          <p:cxnSp>
            <p:nvCxnSpPr>
              <p:cNvPr id="6" name="Straight Arrow Connector 5">
                <a:extLst>
                  <a:ext uri="{FF2B5EF4-FFF2-40B4-BE49-F238E27FC236}">
                    <a16:creationId xmlns:a16="http://schemas.microsoft.com/office/drawing/2014/main" id="{F7CBB187-08E3-9E21-8D96-30198DBF7F64}"/>
                  </a:ext>
                </a:extLst>
              </p:cNvPr>
              <p:cNvCxnSpPr>
                <a:cxnSpLocks/>
              </p:cNvCxnSpPr>
              <p:nvPr/>
            </p:nvCxnSpPr>
            <p:spPr>
              <a:xfrm>
                <a:off x="10978119" y="3258582"/>
                <a:ext cx="0" cy="888464"/>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963E403C-7628-4DC4-3D44-AC1F4627B11F}"/>
                  </a:ext>
                </a:extLst>
              </p:cNvPr>
              <p:cNvCxnSpPr>
                <a:cxnSpLocks/>
              </p:cNvCxnSpPr>
              <p:nvPr/>
            </p:nvCxnSpPr>
            <p:spPr>
              <a:xfrm>
                <a:off x="10292319" y="3258582"/>
                <a:ext cx="0" cy="888464"/>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29" name="Text Placeholder 28">
            <a:extLst>
              <a:ext uri="{FF2B5EF4-FFF2-40B4-BE49-F238E27FC236}">
                <a16:creationId xmlns:a16="http://schemas.microsoft.com/office/drawing/2014/main" id="{514E8510-7AB4-E0B3-5B41-53CACB9E1570}"/>
              </a:ext>
            </a:extLst>
          </p:cNvPr>
          <p:cNvSpPr>
            <a:spLocks noGrp="1"/>
          </p:cNvSpPr>
          <p:nvPr>
            <p:ph type="body" sz="quarter" idx="111"/>
          </p:nvPr>
        </p:nvSpPr>
        <p:spPr/>
        <p:txBody>
          <a:bodyPr/>
          <a:lstStyle/>
          <a:p>
            <a:endParaRPr lang="en-US"/>
          </a:p>
        </p:txBody>
      </p:sp>
    </p:spTree>
    <p:extLst>
      <p:ext uri="{BB962C8B-B14F-4D97-AF65-F5344CB8AC3E}">
        <p14:creationId xmlns:p14="http://schemas.microsoft.com/office/powerpoint/2010/main" val="2072230460"/>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9">
            <a:extLst>
              <a:ext uri="{FF2B5EF4-FFF2-40B4-BE49-F238E27FC236}">
                <a16:creationId xmlns:a16="http://schemas.microsoft.com/office/drawing/2014/main" id="{0F3519C5-F863-EAB5-ED95-5D57A284830B}"/>
              </a:ext>
            </a:extLst>
          </p:cNvPr>
          <p:cNvGraphicFramePr>
            <a:graphicFrameLocks noGrp="1"/>
          </p:cNvGraphicFramePr>
          <p:nvPr/>
        </p:nvGraphicFramePr>
        <p:xfrm>
          <a:off x="4084124" y="2083874"/>
          <a:ext cx="4591803" cy="1861647"/>
        </p:xfrm>
        <a:graphic>
          <a:graphicData uri="http://schemas.openxmlformats.org/drawingml/2006/table">
            <a:tbl>
              <a:tblPr firstRow="1">
                <a:tableStyleId>{9D7B26C5-4107-4FEC-AEDC-1716B250A1EF}</a:tableStyleId>
              </a:tblPr>
              <a:tblGrid>
                <a:gridCol w="2121884">
                  <a:extLst>
                    <a:ext uri="{9D8B030D-6E8A-4147-A177-3AD203B41FA5}">
                      <a16:colId xmlns:a16="http://schemas.microsoft.com/office/drawing/2014/main" val="1011464220"/>
                    </a:ext>
                  </a:extLst>
                </a:gridCol>
                <a:gridCol w="1252076">
                  <a:extLst>
                    <a:ext uri="{9D8B030D-6E8A-4147-A177-3AD203B41FA5}">
                      <a16:colId xmlns:a16="http://schemas.microsoft.com/office/drawing/2014/main" val="3770333098"/>
                    </a:ext>
                  </a:extLst>
                </a:gridCol>
                <a:gridCol w="1217843">
                  <a:extLst>
                    <a:ext uri="{9D8B030D-6E8A-4147-A177-3AD203B41FA5}">
                      <a16:colId xmlns:a16="http://schemas.microsoft.com/office/drawing/2014/main" val="2870028130"/>
                    </a:ext>
                  </a:extLst>
                </a:gridCol>
              </a:tblGrid>
              <a:tr h="345185">
                <a:tc>
                  <a:txBody>
                    <a:bodyPr/>
                    <a:lstStyle/>
                    <a:p>
                      <a:r>
                        <a:rPr lang="en-GB" sz="1400">
                          <a:solidFill>
                            <a:schemeClr val="bg1"/>
                          </a:solidFill>
                        </a:rPr>
                        <a:t>n=11</a:t>
                      </a:r>
                    </a:p>
                  </a:txBody>
                  <a:tcPr marL="34290" marR="3429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36084"/>
                    </a:solidFill>
                  </a:tcPr>
                </a:tc>
                <a:tc>
                  <a:txBody>
                    <a:bodyPr/>
                    <a:lstStyle/>
                    <a:p>
                      <a:pPr marL="0" marR="0" lvl="0" indent="0" algn="ctr" defTabSz="914400" rtl="0" eaLnBrk="1" fontAlgn="auto" hangingPunct="1">
                        <a:lnSpc>
                          <a:spcPct val="100000"/>
                        </a:lnSpc>
                        <a:spcBef>
                          <a:spcPts val="0"/>
                        </a:spcBef>
                        <a:spcAft>
                          <a:spcPts val="0"/>
                        </a:spcAft>
                        <a:buFontTx/>
                        <a:buNone/>
                      </a:pPr>
                      <a:r>
                        <a:rPr kumimoji="0" lang="en-GB" sz="1500" b="1" i="0" u="none" strike="noStrike" kern="1200" cap="none" spc="0" baseline="0">
                          <a:solidFill>
                            <a:schemeClr val="bg1"/>
                          </a:solidFill>
                        </a:rPr>
                        <a:t>ORR</a:t>
                      </a: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36084"/>
                    </a:solidFill>
                  </a:tcPr>
                </a:tc>
                <a:tc>
                  <a:txBody>
                    <a:bodyPr/>
                    <a:lstStyle/>
                    <a:p>
                      <a:pPr marL="0" marR="0" lvl="0" indent="0" algn="ctr" defTabSz="914400" rtl="0" eaLnBrk="1" fontAlgn="auto" hangingPunct="1">
                        <a:lnSpc>
                          <a:spcPct val="100000"/>
                        </a:lnSpc>
                        <a:spcBef>
                          <a:spcPts val="0"/>
                        </a:spcBef>
                        <a:spcAft>
                          <a:spcPts val="0"/>
                        </a:spcAft>
                        <a:buFontTx/>
                        <a:buNone/>
                      </a:pPr>
                      <a:r>
                        <a:rPr kumimoji="0" lang="en-GB" sz="1500" b="1" i="0" u="none" strike="noStrike" kern="1200" cap="none" spc="0" baseline="0">
                          <a:solidFill>
                            <a:schemeClr val="bg1"/>
                          </a:solidFill>
                        </a:rPr>
                        <a:t>CR</a:t>
                      </a:r>
                    </a:p>
                  </a:txBody>
                  <a:tcPr marL="68580" marR="6858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36084"/>
                    </a:solidFill>
                  </a:tcPr>
                </a:tc>
                <a:extLst>
                  <a:ext uri="{0D108BD9-81ED-4DB2-BD59-A6C34878D82A}">
                    <a16:rowId xmlns:a16="http://schemas.microsoft.com/office/drawing/2014/main" val="1890020665"/>
                  </a:ext>
                </a:extLst>
              </a:tr>
              <a:tr h="480060">
                <a:tc>
                  <a:txBody>
                    <a:bodyPr/>
                    <a:lstStyle/>
                    <a:p>
                      <a:pPr marL="0" marR="0" lvl="0" indent="0" algn="l" defTabSz="914400" rtl="0" eaLnBrk="1" fontAlgn="auto" latinLnBrk="0" hangingPunct="1">
                        <a:lnSpc>
                          <a:spcPct val="100000"/>
                        </a:lnSpc>
                        <a:spcBef>
                          <a:spcPts val="0"/>
                        </a:spcBef>
                        <a:spcAft>
                          <a:spcPts val="0"/>
                        </a:spcAft>
                        <a:buFontTx/>
                        <a:buNone/>
                      </a:pPr>
                      <a:r>
                        <a:rPr kumimoji="0" lang="en-GB" sz="1400" b="1" i="0" u="none" strike="noStrike" kern="1200" cap="none" spc="0" baseline="0">
                          <a:solidFill>
                            <a:schemeClr val="tx1"/>
                          </a:solidFill>
                          <a:latin typeface="+mn-lt"/>
                          <a:ea typeface="+mn-ea"/>
                          <a:cs typeface="+mn-cs"/>
                        </a:rPr>
                        <a:t>CD20 negative status, n (%)</a:t>
                      </a:r>
                    </a:p>
                  </a:txBody>
                  <a:tcPr marL="34290" marR="3429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l" defTabSz="914400" rtl="0" eaLnBrk="1" fontAlgn="auto" hangingPunct="1">
                        <a:lnSpc>
                          <a:spcPct val="100000"/>
                        </a:lnSpc>
                        <a:spcBef>
                          <a:spcPts val="0"/>
                        </a:spcBef>
                        <a:spcAft>
                          <a:spcPts val="0"/>
                        </a:spcAft>
                        <a:buFontTx/>
                        <a:buNone/>
                      </a:pPr>
                      <a:r>
                        <a:rPr kumimoji="0" lang="en-GB" sz="1400" b="0" i="0" u="none" strike="noStrike" kern="1200" cap="none" spc="0" baseline="0">
                          <a:solidFill>
                            <a:schemeClr val="tx1"/>
                          </a:solidFill>
                        </a:rPr>
                        <a:t>2/2 (100%)</a:t>
                      </a:r>
                    </a:p>
                  </a:txBody>
                  <a:tcPr marL="137160" marR="3429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l" defTabSz="914400" rtl="0" eaLnBrk="1" fontAlgn="auto" hangingPunct="1">
                        <a:lnSpc>
                          <a:spcPct val="100000"/>
                        </a:lnSpc>
                        <a:spcBef>
                          <a:spcPts val="0"/>
                        </a:spcBef>
                        <a:spcAft>
                          <a:spcPts val="0"/>
                        </a:spcAft>
                        <a:buFontTx/>
                        <a:buNone/>
                      </a:pPr>
                      <a:r>
                        <a:rPr kumimoji="0" lang="en-GB" sz="1400" b="0" i="0" u="none" strike="noStrike" kern="1200" cap="none" spc="0" baseline="0">
                          <a:solidFill>
                            <a:schemeClr val="tx1"/>
                          </a:solidFill>
                        </a:rPr>
                        <a:t>2/2 (100%)</a:t>
                      </a:r>
                    </a:p>
                  </a:txBody>
                  <a:tcPr marL="137160" marR="3429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54010686"/>
                  </a:ext>
                </a:extLst>
              </a:tr>
              <a:tr h="342900">
                <a:tc>
                  <a:txBody>
                    <a:bodyPr/>
                    <a:lstStyle/>
                    <a:p>
                      <a:pPr marL="0" marR="0" lvl="0" indent="0" algn="l" defTabSz="914400" rtl="0" eaLnBrk="1" fontAlgn="auto" hangingPunct="1">
                        <a:lnSpc>
                          <a:spcPct val="100000"/>
                        </a:lnSpc>
                        <a:spcBef>
                          <a:spcPts val="0"/>
                        </a:spcBef>
                        <a:spcAft>
                          <a:spcPts val="0"/>
                        </a:spcAft>
                        <a:buFontTx/>
                        <a:buNone/>
                      </a:pPr>
                      <a:r>
                        <a:rPr kumimoji="0" lang="en-GB" sz="1400" b="1" i="0" u="none" strike="noStrike" kern="1200" cap="none" spc="0" baseline="0">
                          <a:solidFill>
                            <a:schemeClr val="tx1"/>
                          </a:solidFill>
                        </a:rPr>
                        <a:t>Prior CD20 TCE</a:t>
                      </a:r>
                      <a:endParaRPr kumimoji="0" lang="en-GB" sz="1400" b="1" i="0" u="none" strike="noStrike" kern="1200" cap="none" spc="0" baseline="0">
                        <a:solidFill>
                          <a:schemeClr val="tx1"/>
                        </a:solidFill>
                        <a:latin typeface="+mn-lt"/>
                        <a:ea typeface="+mn-ea"/>
                        <a:cs typeface="+mn-cs"/>
                      </a:endParaRPr>
                    </a:p>
                  </a:txBody>
                  <a:tcPr marL="34290" marR="3429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l" defTabSz="914400" rtl="0" eaLnBrk="1" fontAlgn="auto" hangingPunct="1">
                        <a:lnSpc>
                          <a:spcPct val="100000"/>
                        </a:lnSpc>
                        <a:spcBef>
                          <a:spcPts val="0"/>
                        </a:spcBef>
                        <a:spcAft>
                          <a:spcPts val="0"/>
                        </a:spcAft>
                        <a:buFontTx/>
                        <a:buNone/>
                      </a:pPr>
                      <a:r>
                        <a:rPr kumimoji="0" lang="en-GB" sz="1400" b="0" i="0" u="none" strike="noStrike" kern="1200" cap="none" spc="0" baseline="0">
                          <a:solidFill>
                            <a:schemeClr val="tx1"/>
                          </a:solidFill>
                        </a:rPr>
                        <a:t>2/2 (100%)</a:t>
                      </a:r>
                    </a:p>
                  </a:txBody>
                  <a:tcPr marL="137160" marR="3429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l" defTabSz="914400" rtl="0" eaLnBrk="1" fontAlgn="auto" hangingPunct="1">
                        <a:lnSpc>
                          <a:spcPct val="100000"/>
                        </a:lnSpc>
                        <a:spcBef>
                          <a:spcPts val="0"/>
                        </a:spcBef>
                        <a:spcAft>
                          <a:spcPts val="0"/>
                        </a:spcAft>
                        <a:buFontTx/>
                        <a:buNone/>
                      </a:pPr>
                      <a:r>
                        <a:rPr kumimoji="0" lang="en-GB" sz="1400" b="0" i="0" u="none" strike="noStrike" kern="1200" cap="none" spc="0" baseline="0">
                          <a:solidFill>
                            <a:schemeClr val="tx1"/>
                          </a:solidFill>
                        </a:rPr>
                        <a:t>2/2 (100%)</a:t>
                      </a:r>
                    </a:p>
                  </a:txBody>
                  <a:tcPr marL="137160" marR="3429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137501017"/>
                  </a:ext>
                </a:extLst>
              </a:tr>
              <a:tr h="336306">
                <a:tc>
                  <a:txBody>
                    <a:bodyPr/>
                    <a:lstStyle/>
                    <a:p>
                      <a:pPr marL="0" marR="0" lvl="0" indent="0" algn="l" defTabSz="914400" rtl="0" eaLnBrk="1" fontAlgn="auto" hangingPunct="1">
                        <a:lnSpc>
                          <a:spcPct val="100000"/>
                        </a:lnSpc>
                        <a:spcBef>
                          <a:spcPts val="0"/>
                        </a:spcBef>
                        <a:spcAft>
                          <a:spcPts val="0"/>
                        </a:spcAft>
                        <a:buFontTx/>
                        <a:buNone/>
                      </a:pPr>
                      <a:r>
                        <a:rPr kumimoji="0" lang="en-GB" sz="1400" b="1" i="0" u="none" strike="noStrike" kern="1200" cap="none" spc="0" baseline="0">
                          <a:solidFill>
                            <a:schemeClr val="tx1"/>
                          </a:solidFill>
                          <a:latin typeface="+mn-lt"/>
                          <a:ea typeface="+mn-ea"/>
                          <a:cs typeface="+mn-cs"/>
                        </a:rPr>
                        <a:t>POD24, n (%)</a:t>
                      </a:r>
                    </a:p>
                  </a:txBody>
                  <a:tcPr marL="34290" marR="3429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l" defTabSz="914400" rtl="0" eaLnBrk="1" fontAlgn="auto" hangingPunct="1">
                        <a:lnSpc>
                          <a:spcPct val="100000"/>
                        </a:lnSpc>
                        <a:spcBef>
                          <a:spcPts val="0"/>
                        </a:spcBef>
                        <a:spcAft>
                          <a:spcPts val="0"/>
                        </a:spcAft>
                        <a:buFontTx/>
                        <a:buNone/>
                      </a:pPr>
                      <a:r>
                        <a:rPr kumimoji="0" lang="en-GB" sz="1400" b="0" i="0" u="none" strike="noStrike" kern="1200" cap="none" spc="0" baseline="0">
                          <a:solidFill>
                            <a:schemeClr val="tx1"/>
                          </a:solidFill>
                        </a:rPr>
                        <a:t>5/5 (100%)</a:t>
                      </a:r>
                    </a:p>
                  </a:txBody>
                  <a:tcPr marL="137160" marR="3429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l" defTabSz="914400" rtl="0" eaLnBrk="1" fontAlgn="auto" hangingPunct="1">
                        <a:lnSpc>
                          <a:spcPct val="100000"/>
                        </a:lnSpc>
                        <a:spcBef>
                          <a:spcPts val="0"/>
                        </a:spcBef>
                        <a:spcAft>
                          <a:spcPts val="0"/>
                        </a:spcAft>
                        <a:buFontTx/>
                        <a:buNone/>
                      </a:pPr>
                      <a:r>
                        <a:rPr kumimoji="0" lang="en-GB" sz="1400" b="0" i="0" u="none" strike="noStrike" kern="1200" cap="none" spc="0" baseline="0">
                          <a:solidFill>
                            <a:schemeClr val="tx1"/>
                          </a:solidFill>
                        </a:rPr>
                        <a:t>5/5 (100%)</a:t>
                      </a:r>
                    </a:p>
                  </a:txBody>
                  <a:tcPr marL="137160" marR="3429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850648357"/>
                  </a:ext>
                </a:extLst>
              </a:tr>
              <a:tr h="341956">
                <a:tc>
                  <a:txBody>
                    <a:bodyPr/>
                    <a:lstStyle/>
                    <a:p>
                      <a:pPr marL="0" marR="0" lvl="0" indent="0" algn="l" defTabSz="914400" rtl="0" eaLnBrk="1" fontAlgn="auto" hangingPunct="1">
                        <a:lnSpc>
                          <a:spcPct val="100000"/>
                        </a:lnSpc>
                        <a:spcBef>
                          <a:spcPts val="0"/>
                        </a:spcBef>
                        <a:spcAft>
                          <a:spcPts val="0"/>
                        </a:spcAft>
                        <a:buFontTx/>
                        <a:buNone/>
                      </a:pPr>
                      <a:r>
                        <a:rPr kumimoji="0" lang="en-GB" sz="1400" b="1" i="0" u="none" strike="noStrike" kern="1200" cap="none" spc="0" baseline="0">
                          <a:solidFill>
                            <a:schemeClr val="tx1"/>
                          </a:solidFill>
                          <a:latin typeface="+mn-lt"/>
                          <a:ea typeface="+mn-ea"/>
                          <a:cs typeface="+mn-cs"/>
                        </a:rPr>
                        <a:t>≥ 4 prior lines</a:t>
                      </a:r>
                    </a:p>
                  </a:txBody>
                  <a:tcPr marL="34290" marR="3429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l" rtl="0" eaLnBrk="1" fontAlgn="auto" hangingPunct="1">
                        <a:lnSpc>
                          <a:spcPct val="100000"/>
                        </a:lnSpc>
                        <a:spcBef>
                          <a:spcPts val="0"/>
                        </a:spcBef>
                        <a:spcAft>
                          <a:spcPts val="0"/>
                        </a:spcAft>
                        <a:buFontTx/>
                        <a:buNone/>
                      </a:pPr>
                      <a:r>
                        <a:rPr lang="en-GB" sz="1400" b="0" i="0" u="none" strike="noStrike" kern="1200" cap="none" spc="0" baseline="0">
                          <a:solidFill>
                            <a:schemeClr val="tx1"/>
                          </a:solidFill>
                          <a:highlight>
                            <a:srgbClr val="FFFFFF"/>
                          </a:highlight>
                        </a:rPr>
                        <a:t>3/4 (75%)</a:t>
                      </a:r>
                      <a:endParaRPr kumimoji="0" lang="en-GB" sz="1400" b="0" i="0" u="none" strike="noStrike" kern="1200" cap="none" spc="0" baseline="0">
                        <a:solidFill>
                          <a:schemeClr val="tx1"/>
                        </a:solidFill>
                        <a:highlight>
                          <a:srgbClr val="FFFFFF"/>
                        </a:highlight>
                      </a:endParaRPr>
                    </a:p>
                  </a:txBody>
                  <a:tcPr marL="137160" marR="3429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l" rtl="0" eaLnBrk="1" fontAlgn="auto" hangingPunct="1">
                        <a:lnSpc>
                          <a:spcPct val="100000"/>
                        </a:lnSpc>
                        <a:spcBef>
                          <a:spcPts val="0"/>
                        </a:spcBef>
                        <a:spcAft>
                          <a:spcPts val="0"/>
                        </a:spcAft>
                        <a:buFontTx/>
                        <a:buNone/>
                      </a:pPr>
                      <a:r>
                        <a:rPr lang="en-GB" sz="1400" b="0" i="0" u="none" strike="noStrike" kern="1200" cap="none" spc="0" baseline="0">
                          <a:solidFill>
                            <a:schemeClr val="tx1"/>
                          </a:solidFill>
                        </a:rPr>
                        <a:t>3/4 (75%)</a:t>
                      </a:r>
                      <a:endParaRPr kumimoji="0" lang="en-GB" sz="1400" b="0" i="0" u="none" strike="noStrike" kern="1200" cap="none" spc="0" baseline="0">
                        <a:solidFill>
                          <a:schemeClr val="tx1"/>
                        </a:solidFill>
                      </a:endParaRPr>
                    </a:p>
                  </a:txBody>
                  <a:tcPr marL="137160" marR="34290" marT="34290" marB="3429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920619500"/>
                  </a:ext>
                </a:extLst>
              </a:tr>
            </a:tbl>
          </a:graphicData>
        </a:graphic>
      </p:graphicFrame>
      <p:sp>
        <p:nvSpPr>
          <p:cNvPr id="7" name="TextBox 6">
            <a:extLst>
              <a:ext uri="{FF2B5EF4-FFF2-40B4-BE49-F238E27FC236}">
                <a16:creationId xmlns:a16="http://schemas.microsoft.com/office/drawing/2014/main" id="{82037D28-F43F-F614-DFDD-039E338839FF}"/>
              </a:ext>
            </a:extLst>
          </p:cNvPr>
          <p:cNvSpPr txBox="1"/>
          <p:nvPr/>
        </p:nvSpPr>
        <p:spPr>
          <a:xfrm>
            <a:off x="156367" y="810564"/>
            <a:ext cx="8925467" cy="684803"/>
          </a:xfrm>
          <a:prstGeom prst="rect">
            <a:avLst/>
          </a:prstGeom>
          <a:noFill/>
        </p:spPr>
        <p:txBody>
          <a:bodyPr wrap="square" lIns="0" rIns="0">
            <a:spAutoFit/>
          </a:bodyPr>
          <a:lstStyle>
            <a:defPPr>
              <a:defRPr lang="en-US"/>
            </a:defPPr>
            <a:lvl2pPr marL="742950" lvl="1" indent="-285750">
              <a:spcAft>
                <a:spcPts val="600"/>
              </a:spcAft>
              <a:buClr>
                <a:schemeClr val="accent1"/>
              </a:buClr>
              <a:buFont typeface="Arial" panose="020B0604020202020204" pitchFamily="34" charset="0"/>
              <a:buChar char="•"/>
              <a:defRPr sz="2400" b="1">
                <a:solidFill>
                  <a:srgbClr val="262929"/>
                </a:solidFill>
              </a:defRPr>
            </a:lvl2pPr>
            <a:lvl3pPr marL="1257300" lvl="2" indent="-342900">
              <a:buClr>
                <a:schemeClr val="accent1"/>
              </a:buClr>
              <a:buFont typeface="Arial" panose="020B0604020202020204" pitchFamily="34" charset="0"/>
              <a:buChar char="•"/>
              <a:defRPr sz="2000">
                <a:solidFill>
                  <a:srgbClr val="262929"/>
                </a:solidFill>
              </a:defRPr>
            </a:lvl3pPr>
          </a:lstStyle>
          <a:p>
            <a:pPr lvl="1">
              <a:spcAft>
                <a:spcPts val="300"/>
              </a:spcAft>
              <a:buSzPct val="100000"/>
              <a:buFont typeface="+mn-lt"/>
            </a:pPr>
            <a:r>
              <a:rPr lang="en-GB" sz="1800">
                <a:solidFill>
                  <a:schemeClr val="tx1"/>
                </a:solidFill>
              </a:rPr>
              <a:t>ORR / CR rate 91% (10/11) </a:t>
            </a:r>
            <a:r>
              <a:rPr lang="en-GB" sz="1800" b="0">
                <a:solidFill>
                  <a:schemeClr val="tx1"/>
                </a:solidFill>
              </a:rPr>
              <a:t>at target </a:t>
            </a:r>
            <a:r>
              <a:rPr lang="en-GB" sz="1800">
                <a:solidFill>
                  <a:schemeClr val="tx1"/>
                </a:solidFill>
              </a:rPr>
              <a:t>doses of </a:t>
            </a:r>
            <a:r>
              <a:rPr lang="en-GB" sz="1800" u="sng">
                <a:solidFill>
                  <a:schemeClr val="tx1"/>
                </a:solidFill>
              </a:rPr>
              <a:t>&gt;</a:t>
            </a:r>
            <a:r>
              <a:rPr lang="en-GB" sz="1800">
                <a:solidFill>
                  <a:schemeClr val="tx1"/>
                </a:solidFill>
              </a:rPr>
              <a:t>2.4 mg</a:t>
            </a:r>
          </a:p>
          <a:p>
            <a:pPr lvl="1">
              <a:spcAft>
                <a:spcPts val="300"/>
              </a:spcAft>
              <a:buSzPct val="100000"/>
              <a:buFont typeface="+mn-lt"/>
            </a:pPr>
            <a:r>
              <a:rPr lang="en-GB" sz="1800" b="0">
                <a:solidFill>
                  <a:schemeClr val="tx1"/>
                </a:solidFill>
              </a:rPr>
              <a:t>Out of 5 CR patients with available samples, </a:t>
            </a:r>
            <a:r>
              <a:rPr lang="en-GB" sz="1800">
                <a:solidFill>
                  <a:schemeClr val="tx1"/>
                </a:solidFill>
              </a:rPr>
              <a:t>all were MRD negative by NGS</a:t>
            </a:r>
          </a:p>
        </p:txBody>
      </p:sp>
      <p:sp>
        <p:nvSpPr>
          <p:cNvPr id="8" name="Title 1">
            <a:extLst>
              <a:ext uri="{FF2B5EF4-FFF2-40B4-BE49-F238E27FC236}">
                <a16:creationId xmlns:a16="http://schemas.microsoft.com/office/drawing/2014/main" id="{0A298E03-4A00-40B0-0FF2-DBA92DDAA00D}"/>
              </a:ext>
            </a:extLst>
          </p:cNvPr>
          <p:cNvSpPr txBox="1">
            <a:spLocks/>
          </p:cNvSpPr>
          <p:nvPr/>
        </p:nvSpPr>
        <p:spPr>
          <a:xfrm>
            <a:off x="320277" y="51672"/>
            <a:ext cx="8532019" cy="755570"/>
          </a:xfrm>
          <a:prstGeom prst="rect">
            <a:avLst/>
          </a:prstGeom>
          <a:ln>
            <a:noFill/>
          </a:ln>
        </p:spPr>
        <p:txBody>
          <a:bodyPr vert="horz" lIns="68580" tIns="34290" rIns="68580" bIns="34290" rtlCol="0" anchor="ctr">
            <a:noAutofit/>
          </a:bodyPr>
          <a:lstStyle>
            <a:lvl1pPr>
              <a:lnSpc>
                <a:spcPct val="100000"/>
              </a:lnSpc>
              <a:spcBef>
                <a:spcPct val="0"/>
              </a:spcBef>
              <a:buNone/>
              <a:defRPr sz="3200" b="1">
                <a:solidFill>
                  <a:schemeClr val="accent1">
                    <a:lumMod val="75000"/>
                  </a:schemeClr>
                </a:solidFill>
                <a:ea typeface="+mj-ea"/>
                <a:cs typeface="+mj-cs"/>
              </a:defRPr>
            </a:lvl1pPr>
          </a:lstStyle>
          <a:p>
            <a:r>
              <a:rPr lang="en-GB" sz="2400" dirty="0">
                <a:solidFill>
                  <a:srgbClr val="003767"/>
                </a:solidFill>
                <a:latin typeface="+mj-lt"/>
              </a:rPr>
              <a:t>High complete response rate reported by IRC</a:t>
            </a:r>
            <a:endParaRPr lang="en-GB" sz="2400" strike="sngStrike" dirty="0">
              <a:solidFill>
                <a:srgbClr val="003767"/>
              </a:solidFill>
              <a:latin typeface="+mj-lt"/>
            </a:endParaRPr>
          </a:p>
        </p:txBody>
      </p:sp>
      <p:cxnSp>
        <p:nvCxnSpPr>
          <p:cNvPr id="9" name="Straight Connector 8">
            <a:extLst>
              <a:ext uri="{FF2B5EF4-FFF2-40B4-BE49-F238E27FC236}">
                <a16:creationId xmlns:a16="http://schemas.microsoft.com/office/drawing/2014/main" id="{33182316-45BB-304B-CE70-0B9771803A12}"/>
              </a:ext>
            </a:extLst>
          </p:cNvPr>
          <p:cNvCxnSpPr>
            <a:cxnSpLocks/>
          </p:cNvCxnSpPr>
          <p:nvPr/>
        </p:nvCxnSpPr>
        <p:spPr>
          <a:xfrm>
            <a:off x="305991" y="729160"/>
            <a:ext cx="8532019"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E23CBA29-FAC7-7E21-BE2B-1868B55ED679}"/>
              </a:ext>
            </a:extLst>
          </p:cNvPr>
          <p:cNvSpPr txBox="1"/>
          <p:nvPr/>
        </p:nvSpPr>
        <p:spPr>
          <a:xfrm>
            <a:off x="217907" y="4760673"/>
            <a:ext cx="8775870" cy="323165"/>
          </a:xfrm>
          <a:prstGeom prst="rect">
            <a:avLst/>
          </a:prstGeom>
          <a:noFill/>
        </p:spPr>
        <p:txBody>
          <a:bodyPr wrap="square" lIns="34290" tIns="34290" rIns="34290" bIns="34290" anchor="t">
            <a:spAutoFit/>
          </a:bodyPr>
          <a:lstStyle>
            <a:defPPr>
              <a:defRPr lang="en-US"/>
            </a:defPPr>
            <a:lvl1pPr>
              <a:defRPr sz="1100"/>
            </a:lvl1pPr>
          </a:lstStyle>
          <a:p>
            <a:r>
              <a:rPr lang="en-GB" sz="825"/>
              <a:t>Data refers to efficacy evaluable subset. CD20; cluster of differentiation 20; CR, complete response; IRC, independent radiological review committee; MRD, minimal residual disease; ORR, overall response rate; POD24, progression of disease in 24 months, TCE, T-cell engagers</a:t>
            </a:r>
          </a:p>
        </p:txBody>
      </p:sp>
      <p:pic>
        <p:nvPicPr>
          <p:cNvPr id="2" name="chart">
            <a:extLst>
              <a:ext uri="{FF2B5EF4-FFF2-40B4-BE49-F238E27FC236}">
                <a16:creationId xmlns:a16="http://schemas.microsoft.com/office/drawing/2014/main" id="{0FF31996-6550-0430-FF60-250A37709793}"/>
              </a:ext>
            </a:extLst>
          </p:cNvPr>
          <p:cNvPicPr>
            <a:picLocks noChangeAspect="1"/>
          </p:cNvPicPr>
          <p:nvPr/>
        </p:nvPicPr>
        <p:blipFill rotWithShape="1">
          <a:blip r:embed="rId3"/>
          <a:srcRect b="46135"/>
          <a:stretch/>
        </p:blipFill>
        <p:spPr>
          <a:xfrm>
            <a:off x="3903429" y="3984818"/>
            <a:ext cx="1801870" cy="319583"/>
          </a:xfrm>
          <a:prstGeom prst="rect">
            <a:avLst/>
          </a:prstGeom>
        </p:spPr>
      </p:pic>
      <p:grpSp>
        <p:nvGrpSpPr>
          <p:cNvPr id="17" name="Group 16">
            <a:extLst>
              <a:ext uri="{FF2B5EF4-FFF2-40B4-BE49-F238E27FC236}">
                <a16:creationId xmlns:a16="http://schemas.microsoft.com/office/drawing/2014/main" id="{8A83DC1B-6D2E-4857-2B2D-00E05C2C4324}"/>
              </a:ext>
            </a:extLst>
          </p:cNvPr>
          <p:cNvGrpSpPr/>
          <p:nvPr/>
        </p:nvGrpSpPr>
        <p:grpSpPr>
          <a:xfrm>
            <a:off x="1127937" y="1567794"/>
            <a:ext cx="2701269" cy="3212825"/>
            <a:chOff x="1503916" y="2087217"/>
            <a:chExt cx="3601692" cy="4283766"/>
          </a:xfrm>
        </p:grpSpPr>
        <p:grpSp>
          <p:nvGrpSpPr>
            <p:cNvPr id="14" name="Group 13">
              <a:extLst>
                <a:ext uri="{FF2B5EF4-FFF2-40B4-BE49-F238E27FC236}">
                  <a16:creationId xmlns:a16="http://schemas.microsoft.com/office/drawing/2014/main" id="{D8E8DD20-9009-3797-9824-2C06965D50A3}"/>
                </a:ext>
              </a:extLst>
            </p:cNvPr>
            <p:cNvGrpSpPr/>
            <p:nvPr/>
          </p:nvGrpSpPr>
          <p:grpSpPr>
            <a:xfrm>
              <a:off x="1503916" y="2100470"/>
              <a:ext cx="3601692" cy="4270513"/>
              <a:chOff x="410611" y="2189922"/>
              <a:chExt cx="3601692" cy="4270513"/>
            </a:xfrm>
          </p:grpSpPr>
          <p:pic>
            <p:nvPicPr>
              <p:cNvPr id="12" name="Picture 11">
                <a:extLst>
                  <a:ext uri="{FF2B5EF4-FFF2-40B4-BE49-F238E27FC236}">
                    <a16:creationId xmlns:a16="http://schemas.microsoft.com/office/drawing/2014/main" id="{8310E23A-BB31-B412-D77A-02C420634183}"/>
                  </a:ext>
                </a:extLst>
              </p:cNvPr>
              <p:cNvPicPr>
                <a:picLocks noChangeAspect="1"/>
              </p:cNvPicPr>
              <p:nvPr/>
            </p:nvPicPr>
            <p:blipFill rotWithShape="1">
              <a:blip r:embed="rId4"/>
              <a:srcRect r="82214"/>
              <a:stretch/>
            </p:blipFill>
            <p:spPr>
              <a:xfrm>
                <a:off x="410611" y="2189922"/>
                <a:ext cx="1055411" cy="4267200"/>
              </a:xfrm>
              <a:prstGeom prst="rect">
                <a:avLst/>
              </a:prstGeom>
            </p:spPr>
          </p:pic>
          <p:pic>
            <p:nvPicPr>
              <p:cNvPr id="13" name="Picture 12">
                <a:extLst>
                  <a:ext uri="{FF2B5EF4-FFF2-40B4-BE49-F238E27FC236}">
                    <a16:creationId xmlns:a16="http://schemas.microsoft.com/office/drawing/2014/main" id="{290A2FB0-9F4D-A48F-8D80-F752BA46400F}"/>
                  </a:ext>
                </a:extLst>
              </p:cNvPr>
              <p:cNvPicPr>
                <a:picLocks noChangeAspect="1"/>
              </p:cNvPicPr>
              <p:nvPr/>
            </p:nvPicPr>
            <p:blipFill rotWithShape="1">
              <a:blip r:embed="rId4"/>
              <a:srcRect l="57090"/>
              <a:stretch/>
            </p:blipFill>
            <p:spPr>
              <a:xfrm>
                <a:off x="1466022" y="2193235"/>
                <a:ext cx="2546281" cy="4267200"/>
              </a:xfrm>
              <a:prstGeom prst="rect">
                <a:avLst/>
              </a:prstGeom>
            </p:spPr>
          </p:pic>
        </p:grpSp>
        <p:sp>
          <p:nvSpPr>
            <p:cNvPr id="16" name="Rectangle 15">
              <a:extLst>
                <a:ext uri="{FF2B5EF4-FFF2-40B4-BE49-F238E27FC236}">
                  <a16:creationId xmlns:a16="http://schemas.microsoft.com/office/drawing/2014/main" id="{F7591714-6534-5261-9E93-D90CD162A74B}"/>
                </a:ext>
              </a:extLst>
            </p:cNvPr>
            <p:cNvSpPr/>
            <p:nvPr/>
          </p:nvSpPr>
          <p:spPr>
            <a:xfrm>
              <a:off x="3707296" y="2087217"/>
              <a:ext cx="646043" cy="4273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algn="ctr">
                <a:lnSpc>
                  <a:spcPct val="90000"/>
                </a:lnSpc>
                <a:spcAft>
                  <a:spcPts val="450"/>
                </a:spcAft>
              </a:pPr>
              <a:endParaRPr lang="en-GB" sz="1800" err="1"/>
            </a:p>
          </p:txBody>
        </p:sp>
      </p:grpSp>
      <p:sp>
        <p:nvSpPr>
          <p:cNvPr id="3" name="Rectangle 2">
            <a:extLst>
              <a:ext uri="{FF2B5EF4-FFF2-40B4-BE49-F238E27FC236}">
                <a16:creationId xmlns:a16="http://schemas.microsoft.com/office/drawing/2014/main" id="{D4481C23-56F2-99F2-138F-6BA2E3D21E3B}"/>
              </a:ext>
            </a:extLst>
          </p:cNvPr>
          <p:cNvSpPr/>
          <p:nvPr/>
        </p:nvSpPr>
        <p:spPr>
          <a:xfrm>
            <a:off x="2553788" y="1577733"/>
            <a:ext cx="359229" cy="3105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2500" lnSpcReduction="10000"/>
          </a:bodyPr>
          <a:lstStyle/>
          <a:p>
            <a:pPr algn="ctr">
              <a:lnSpc>
                <a:spcPct val="90000"/>
              </a:lnSpc>
              <a:spcAft>
                <a:spcPts val="450"/>
              </a:spcAft>
            </a:pPr>
            <a:endParaRPr lang="en-US" sz="1800" err="1"/>
          </a:p>
        </p:txBody>
      </p:sp>
    </p:spTree>
    <p:extLst>
      <p:ext uri="{BB962C8B-B14F-4D97-AF65-F5344CB8AC3E}">
        <p14:creationId xmlns:p14="http://schemas.microsoft.com/office/powerpoint/2010/main" val="383685530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0C74CA0-513B-4CB4-8B06-63796D94328F}"/>
              </a:ext>
            </a:extLst>
          </p:cNvPr>
          <p:cNvSpPr txBox="1">
            <a:spLocks/>
          </p:cNvSpPr>
          <p:nvPr/>
        </p:nvSpPr>
        <p:spPr>
          <a:xfrm>
            <a:off x="305991" y="-4867"/>
            <a:ext cx="8532019" cy="755570"/>
          </a:xfrm>
          <a:prstGeom prst="rect">
            <a:avLst/>
          </a:prstGeom>
          <a:ln>
            <a:noFill/>
          </a:ln>
        </p:spPr>
        <p:txBody>
          <a:bodyPr vert="horz" lIns="68580" tIns="34290" rIns="68580" bIns="34290" rtlCol="0" anchor="ctr">
            <a:noAutofit/>
          </a:bodyPr>
          <a:lstStyle>
            <a:lvl1pPr>
              <a:lnSpc>
                <a:spcPct val="100000"/>
              </a:lnSpc>
              <a:spcBef>
                <a:spcPct val="0"/>
              </a:spcBef>
              <a:buNone/>
              <a:defRPr sz="3200" b="1">
                <a:solidFill>
                  <a:schemeClr val="accent1">
                    <a:lumMod val="75000"/>
                  </a:schemeClr>
                </a:solidFill>
                <a:ea typeface="+mj-ea"/>
                <a:cs typeface="+mj-cs"/>
              </a:defRPr>
            </a:lvl1pPr>
          </a:lstStyle>
          <a:p>
            <a:r>
              <a:rPr lang="en-GB" sz="2400" dirty="0">
                <a:solidFill>
                  <a:srgbClr val="003767"/>
                </a:solidFill>
                <a:latin typeface="+mj-lt"/>
              </a:rPr>
              <a:t>Low incidence of ICANS with fixed or single-step up dosing</a:t>
            </a:r>
          </a:p>
        </p:txBody>
      </p:sp>
      <p:cxnSp>
        <p:nvCxnSpPr>
          <p:cNvPr id="6" name="Straight Connector 5">
            <a:extLst>
              <a:ext uri="{FF2B5EF4-FFF2-40B4-BE49-F238E27FC236}">
                <a16:creationId xmlns:a16="http://schemas.microsoft.com/office/drawing/2014/main" id="{CF985659-EFD2-4D0D-9795-A724981EBEB9}"/>
              </a:ext>
            </a:extLst>
          </p:cNvPr>
          <p:cNvCxnSpPr>
            <a:cxnSpLocks/>
          </p:cNvCxnSpPr>
          <p:nvPr/>
        </p:nvCxnSpPr>
        <p:spPr>
          <a:xfrm>
            <a:off x="305991" y="729160"/>
            <a:ext cx="8532019"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ECD88820-FE5D-4B00-9E3A-9BCA618D937C}"/>
              </a:ext>
            </a:extLst>
          </p:cNvPr>
          <p:cNvSpPr txBox="1"/>
          <p:nvPr/>
        </p:nvSpPr>
        <p:spPr>
          <a:xfrm>
            <a:off x="378498" y="784987"/>
            <a:ext cx="8393263" cy="769441"/>
          </a:xfrm>
          <a:prstGeom prst="rect">
            <a:avLst/>
          </a:prstGeom>
          <a:noFill/>
        </p:spPr>
        <p:txBody>
          <a:bodyPr wrap="square" lIns="68580" tIns="34290" rIns="68580" bIns="34290" rtlCol="0" anchor="t">
            <a:spAutoFit/>
          </a:bodyPr>
          <a:lstStyle>
            <a:defPPr>
              <a:defRPr lang="en-US"/>
            </a:defPPr>
            <a:lvl1pPr marL="342900" indent="-342900">
              <a:lnSpc>
                <a:spcPct val="90000"/>
              </a:lnSpc>
              <a:spcAft>
                <a:spcPts val="600"/>
              </a:spcAft>
              <a:buClr>
                <a:schemeClr val="accent1"/>
              </a:buClr>
              <a:buFont typeface="Arial" panose="020B0604020202020204" pitchFamily="34" charset="0"/>
              <a:buChar char="•"/>
              <a:defRPr sz="2000"/>
            </a:lvl1pPr>
            <a:lvl2pPr marL="800100" lvl="1" indent="-342900">
              <a:lnSpc>
                <a:spcPct val="90000"/>
              </a:lnSpc>
              <a:spcAft>
                <a:spcPts val="600"/>
              </a:spcAft>
              <a:buClr>
                <a:schemeClr val="accent1"/>
              </a:buClr>
              <a:buFont typeface="Arial" panose="020B0604020202020204" pitchFamily="34" charset="0"/>
              <a:buChar char="•"/>
              <a:defRPr sz="2000"/>
            </a:lvl2pPr>
          </a:lstStyle>
          <a:p>
            <a:pPr>
              <a:buSzPct val="100000"/>
              <a:buFont typeface="+mn-lt"/>
            </a:pPr>
            <a:r>
              <a:rPr lang="en-GB" sz="1500"/>
              <a:t>Only 1 patient experienced Grade 3 ICANS (confusion and somnolence), prior to implementation of double step-up dosing schedule</a:t>
            </a:r>
          </a:p>
          <a:p>
            <a:pPr>
              <a:buSzPct val="100000"/>
              <a:buFont typeface="+mn-lt"/>
            </a:pPr>
            <a:r>
              <a:rPr lang="en-GB" sz="1500"/>
              <a:t>All cases completely resolved </a:t>
            </a:r>
          </a:p>
        </p:txBody>
      </p:sp>
      <p:graphicFrame>
        <p:nvGraphicFramePr>
          <p:cNvPr id="12" name="Table 11">
            <a:extLst>
              <a:ext uri="{FF2B5EF4-FFF2-40B4-BE49-F238E27FC236}">
                <a16:creationId xmlns:a16="http://schemas.microsoft.com/office/drawing/2014/main" id="{FE3EDCFF-9AB9-05F9-8506-93D78002D846}"/>
              </a:ext>
            </a:extLst>
          </p:cNvPr>
          <p:cNvGraphicFramePr>
            <a:graphicFrameLocks noGrp="1"/>
          </p:cNvGraphicFramePr>
          <p:nvPr/>
        </p:nvGraphicFramePr>
        <p:xfrm>
          <a:off x="5380266" y="1822919"/>
          <a:ext cx="3396343" cy="2671790"/>
        </p:xfrm>
        <a:graphic>
          <a:graphicData uri="http://schemas.openxmlformats.org/drawingml/2006/table">
            <a:tbl>
              <a:tblPr/>
              <a:tblGrid>
                <a:gridCol w="2295733">
                  <a:extLst>
                    <a:ext uri="{9D8B030D-6E8A-4147-A177-3AD203B41FA5}">
                      <a16:colId xmlns:a16="http://schemas.microsoft.com/office/drawing/2014/main" val="169763118"/>
                    </a:ext>
                  </a:extLst>
                </a:gridCol>
                <a:gridCol w="1100610">
                  <a:extLst>
                    <a:ext uri="{9D8B030D-6E8A-4147-A177-3AD203B41FA5}">
                      <a16:colId xmlns:a16="http://schemas.microsoft.com/office/drawing/2014/main" val="4212324043"/>
                    </a:ext>
                  </a:extLst>
                </a:gridCol>
              </a:tblGrid>
              <a:tr h="451485">
                <a:tc>
                  <a:txBody>
                    <a:bodyPr/>
                    <a:lstStyle/>
                    <a:p>
                      <a:pPr algn="ctr" fontAlgn="b"/>
                      <a:endParaRPr lang="en-GB" sz="1400" b="1" i="0" u="none" strike="noStrike">
                        <a:solidFill>
                          <a:srgbClr val="FFFFFF"/>
                        </a:solidFill>
                        <a:effectLst/>
                        <a:latin typeface="Calibri"/>
                      </a:endParaRPr>
                    </a:p>
                  </a:txBody>
                  <a:tcPr marL="5715" marR="5715" marT="5715" marB="34290" anchor="b">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336084"/>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400" b="1" i="0" u="none" strike="noStrike">
                          <a:solidFill>
                            <a:srgbClr val="FFFFFF"/>
                          </a:solidFill>
                          <a:effectLst/>
                          <a:latin typeface="+mn-lt"/>
                        </a:rPr>
                        <a:t>All patients (n=17)</a:t>
                      </a:r>
                    </a:p>
                  </a:txBody>
                  <a:tcPr marL="5715" marR="5715" marT="5715" marB="34290" anchor="b">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336084"/>
                    </a:solidFill>
                  </a:tcPr>
                </a:tc>
                <a:extLst>
                  <a:ext uri="{0D108BD9-81ED-4DB2-BD59-A6C34878D82A}">
                    <a16:rowId xmlns:a16="http://schemas.microsoft.com/office/drawing/2014/main" val="398749700"/>
                  </a:ext>
                </a:extLst>
              </a:tr>
              <a:tr h="451485">
                <a:tc>
                  <a:txBody>
                    <a:bodyPr/>
                    <a:lstStyle/>
                    <a:p>
                      <a:pPr marL="0" marR="0" lvl="0" indent="0" algn="l" defTabSz="914400" rtl="0" eaLnBrk="1" fontAlgn="b" hangingPunct="1">
                        <a:lnSpc>
                          <a:spcPct val="100000"/>
                        </a:lnSpc>
                        <a:spcBef>
                          <a:spcPts val="0"/>
                        </a:spcBef>
                        <a:spcAft>
                          <a:spcPts val="0"/>
                        </a:spcAft>
                        <a:buFontTx/>
                        <a:buNone/>
                      </a:pPr>
                      <a:r>
                        <a:rPr kumimoji="0" lang="en-GB" sz="1400" b="1" i="0" u="none" strike="noStrike" kern="1200" cap="none" spc="0" baseline="0">
                          <a:solidFill>
                            <a:schemeClr val="tx1"/>
                          </a:solidFill>
                          <a:effectLst/>
                          <a:latin typeface="Calibri"/>
                        </a:rPr>
                        <a:t>Patients that experienced ICANS</a:t>
                      </a:r>
                    </a:p>
                  </a:txBody>
                  <a:tcPr marL="137160" marR="5715" marT="5715" marB="34290" anchor="b">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pPr marL="0" marR="0" lvl="0" indent="0" algn="r" defTabSz="914400" rtl="0" eaLnBrk="1" fontAlgn="b" hangingPunct="1">
                        <a:lnSpc>
                          <a:spcPct val="100000"/>
                        </a:lnSpc>
                        <a:spcBef>
                          <a:spcPts val="0"/>
                        </a:spcBef>
                        <a:spcAft>
                          <a:spcPts val="0"/>
                        </a:spcAft>
                        <a:buFontTx/>
                        <a:buNone/>
                      </a:pPr>
                      <a:r>
                        <a:rPr kumimoji="0" lang="en-GB" sz="1400" b="0" i="0" u="none" strike="noStrike" kern="1200" cap="none" spc="0" baseline="0">
                          <a:solidFill>
                            <a:schemeClr val="tx1"/>
                          </a:solidFill>
                          <a:effectLst/>
                          <a:latin typeface="Calibri"/>
                        </a:rPr>
                        <a:t>4 (23.5%)</a:t>
                      </a:r>
                    </a:p>
                  </a:txBody>
                  <a:tcPr marL="68580" marR="274320" marT="5715" marB="34290" anchor="b">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520562565"/>
                  </a:ext>
                </a:extLst>
              </a:tr>
              <a:tr h="254323">
                <a:tc>
                  <a:txBody>
                    <a:bodyPr/>
                    <a:lstStyle/>
                    <a:p>
                      <a:pPr marL="0" marR="0" lvl="0" indent="0" algn="l" defTabSz="914400" rtl="0" eaLnBrk="1" fontAlgn="b" hangingPunct="1">
                        <a:lnSpc>
                          <a:spcPct val="100000"/>
                        </a:lnSpc>
                        <a:spcBef>
                          <a:spcPts val="0"/>
                        </a:spcBef>
                        <a:spcAft>
                          <a:spcPts val="0"/>
                        </a:spcAft>
                        <a:buFontTx/>
                        <a:buNone/>
                      </a:pPr>
                      <a:r>
                        <a:rPr kumimoji="0" lang="en-GB" sz="1400" b="0" i="0" u="none" strike="noStrike" kern="1200" cap="none" spc="0" baseline="0">
                          <a:solidFill>
                            <a:schemeClr val="tx1"/>
                          </a:solidFill>
                          <a:effectLst/>
                          <a:latin typeface="Calibri"/>
                        </a:rPr>
                        <a:t>Grade 1</a:t>
                      </a:r>
                    </a:p>
                  </a:txBody>
                  <a:tcPr marL="342900" marR="5715" marT="5715" marB="34290" anchor="b">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pPr marL="0" marR="0" lvl="0" indent="0" algn="r" defTabSz="914400" rtl="0" eaLnBrk="1" fontAlgn="b" hangingPunct="1">
                        <a:lnSpc>
                          <a:spcPct val="100000"/>
                        </a:lnSpc>
                        <a:spcBef>
                          <a:spcPts val="0"/>
                        </a:spcBef>
                        <a:spcAft>
                          <a:spcPts val="0"/>
                        </a:spcAft>
                        <a:buFontTx/>
                        <a:buNone/>
                      </a:pPr>
                      <a:r>
                        <a:rPr kumimoji="0" lang="en-GB" sz="1400" b="0" i="0" u="none" strike="noStrike" kern="1200" cap="none" spc="0" baseline="0">
                          <a:solidFill>
                            <a:schemeClr val="tx1"/>
                          </a:solidFill>
                          <a:effectLst/>
                          <a:latin typeface="Calibri"/>
                        </a:rPr>
                        <a:t>1 (5.9%)</a:t>
                      </a:r>
                    </a:p>
                  </a:txBody>
                  <a:tcPr marL="68580" marR="274320" marT="5715" marB="34290" anchor="b">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594431047"/>
                  </a:ext>
                </a:extLst>
              </a:tr>
              <a:tr h="254323">
                <a:tc>
                  <a:txBody>
                    <a:bodyPr/>
                    <a:lstStyle/>
                    <a:p>
                      <a:pPr marL="0" marR="0" lvl="0" indent="0" algn="l" defTabSz="914400" rtl="0" eaLnBrk="1" fontAlgn="b" hangingPunct="1">
                        <a:lnSpc>
                          <a:spcPct val="100000"/>
                        </a:lnSpc>
                        <a:spcBef>
                          <a:spcPts val="0"/>
                        </a:spcBef>
                        <a:spcAft>
                          <a:spcPts val="0"/>
                        </a:spcAft>
                        <a:buFontTx/>
                        <a:buNone/>
                      </a:pPr>
                      <a:r>
                        <a:rPr kumimoji="0" lang="en-GB" sz="1400" b="0" i="0" u="none" strike="noStrike" kern="1200" cap="none" spc="0" baseline="0">
                          <a:solidFill>
                            <a:schemeClr val="tx1"/>
                          </a:solidFill>
                          <a:effectLst/>
                          <a:latin typeface="Calibri"/>
                        </a:rPr>
                        <a:t>Grade 2</a:t>
                      </a:r>
                    </a:p>
                  </a:txBody>
                  <a:tcPr marL="342900" marR="5715" marT="5715" marB="34290" anchor="b">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pPr marL="0" marR="0" lvl="0" indent="0" algn="r" defTabSz="914400" rtl="0" eaLnBrk="1" fontAlgn="b" hangingPunct="1">
                        <a:lnSpc>
                          <a:spcPct val="100000"/>
                        </a:lnSpc>
                        <a:spcBef>
                          <a:spcPts val="0"/>
                        </a:spcBef>
                        <a:spcAft>
                          <a:spcPts val="0"/>
                        </a:spcAft>
                        <a:buFontTx/>
                        <a:buNone/>
                      </a:pPr>
                      <a:r>
                        <a:rPr kumimoji="0" lang="en-GB" sz="1400" b="0" i="0" u="none" strike="noStrike" kern="1200" cap="none" spc="0" baseline="0">
                          <a:solidFill>
                            <a:schemeClr val="tx1"/>
                          </a:solidFill>
                          <a:effectLst/>
                          <a:latin typeface="Calibri"/>
                        </a:rPr>
                        <a:t>2 (11.8%)</a:t>
                      </a:r>
                    </a:p>
                  </a:txBody>
                  <a:tcPr marL="68580" marR="274320" marT="5715" marB="34290" anchor="b">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71192609"/>
                  </a:ext>
                </a:extLst>
              </a:tr>
              <a:tr h="254323">
                <a:tc>
                  <a:txBody>
                    <a:bodyPr/>
                    <a:lstStyle/>
                    <a:p>
                      <a:pPr marL="0" marR="0" lvl="0" indent="0" algn="l" defTabSz="914400" rtl="0" eaLnBrk="1" fontAlgn="b" hangingPunct="1">
                        <a:lnSpc>
                          <a:spcPct val="100000"/>
                        </a:lnSpc>
                        <a:spcBef>
                          <a:spcPts val="0"/>
                        </a:spcBef>
                        <a:spcAft>
                          <a:spcPts val="0"/>
                        </a:spcAft>
                        <a:buFontTx/>
                        <a:buNone/>
                      </a:pPr>
                      <a:r>
                        <a:rPr kumimoji="0" lang="en-GB" sz="1400" b="0" i="0" u="none" strike="noStrike" kern="1200" cap="none" spc="0" baseline="0">
                          <a:solidFill>
                            <a:schemeClr val="tx1"/>
                          </a:solidFill>
                          <a:effectLst/>
                          <a:latin typeface="Calibri"/>
                        </a:rPr>
                        <a:t>Grade 3</a:t>
                      </a:r>
                    </a:p>
                  </a:txBody>
                  <a:tcPr marL="342900" marR="5715" marT="5715" marB="34290" anchor="b">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lvl="0" indent="0" algn="r" defTabSz="914400" rtl="0" eaLnBrk="1" fontAlgn="b" hangingPunct="1">
                        <a:lnSpc>
                          <a:spcPct val="100000"/>
                        </a:lnSpc>
                        <a:spcBef>
                          <a:spcPts val="0"/>
                        </a:spcBef>
                        <a:spcAft>
                          <a:spcPts val="0"/>
                        </a:spcAft>
                        <a:buFontTx/>
                        <a:buNone/>
                      </a:pPr>
                      <a:r>
                        <a:rPr kumimoji="0" lang="en-GB" sz="1400" b="0" i="0" u="none" strike="noStrike" kern="1200" cap="none" spc="0" baseline="0">
                          <a:solidFill>
                            <a:schemeClr val="tx1"/>
                          </a:solidFill>
                          <a:effectLst/>
                          <a:latin typeface="Calibri"/>
                        </a:rPr>
                        <a:t>1 (5.9%)</a:t>
                      </a:r>
                    </a:p>
                  </a:txBody>
                  <a:tcPr marL="68580" marR="274320" marT="5715" marB="34290" anchor="b">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253758466"/>
                  </a:ext>
                </a:extLst>
              </a:tr>
              <a:tr h="25432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GB" sz="1400" b="0" i="0" u="none" strike="noStrike" kern="1200" cap="none" spc="0" baseline="0">
                          <a:solidFill>
                            <a:schemeClr val="tx1"/>
                          </a:solidFill>
                          <a:effectLst/>
                          <a:latin typeface="Calibri"/>
                        </a:rPr>
                        <a:t>Onset*, median days (range)</a:t>
                      </a:r>
                    </a:p>
                  </a:txBody>
                  <a:tcPr marL="137160" marR="5715" marT="5715" marB="34290" anchor="b">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lvl="0" indent="0" algn="r" defTabSz="914400" rtl="0" eaLnBrk="1" fontAlgn="b" hangingPunct="1">
                        <a:lnSpc>
                          <a:spcPct val="100000"/>
                        </a:lnSpc>
                        <a:spcBef>
                          <a:spcPts val="0"/>
                        </a:spcBef>
                        <a:spcAft>
                          <a:spcPts val="0"/>
                        </a:spcAft>
                        <a:buFontTx/>
                        <a:buNone/>
                      </a:pPr>
                      <a:r>
                        <a:rPr kumimoji="0" lang="en-GB" sz="1400" b="0" i="0" u="none" strike="noStrike" kern="1200" cap="none" spc="0" baseline="0">
                          <a:solidFill>
                            <a:schemeClr val="tx1"/>
                          </a:solidFill>
                          <a:effectLst/>
                          <a:latin typeface="Calibri"/>
                        </a:rPr>
                        <a:t>2.5 (2-3)</a:t>
                      </a:r>
                    </a:p>
                  </a:txBody>
                  <a:tcPr marL="68580" marR="274320" marT="5715" marB="34290" anchor="b">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452277805"/>
                  </a:ext>
                </a:extLst>
              </a:tr>
              <a:tr h="25432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GB" sz="1400" b="0" i="0" u="none" strike="noStrike" kern="1200" cap="none" spc="0" baseline="0">
                          <a:solidFill>
                            <a:schemeClr val="tx1"/>
                          </a:solidFill>
                          <a:effectLst/>
                          <a:latin typeface="Calibri"/>
                        </a:rPr>
                        <a:t>Duration, median days (range)</a:t>
                      </a:r>
                    </a:p>
                  </a:txBody>
                  <a:tcPr marL="137160" marR="5715" marT="5715" marB="34290" anchor="b">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0" marR="0" lvl="0" indent="0" algn="r" defTabSz="914400" rtl="0" eaLnBrk="1" fontAlgn="b" hangingPunct="1">
                        <a:lnSpc>
                          <a:spcPct val="100000"/>
                        </a:lnSpc>
                        <a:spcBef>
                          <a:spcPts val="0"/>
                        </a:spcBef>
                        <a:spcAft>
                          <a:spcPts val="0"/>
                        </a:spcAft>
                        <a:buFontTx/>
                        <a:buNone/>
                      </a:pPr>
                      <a:r>
                        <a:rPr kumimoji="0" lang="en-GB" sz="1400" b="0" i="0" u="none" strike="noStrike" kern="1200" cap="none" spc="0" baseline="0">
                          <a:solidFill>
                            <a:schemeClr val="tx1"/>
                          </a:solidFill>
                          <a:effectLst/>
                          <a:latin typeface="Calibri"/>
                        </a:rPr>
                        <a:t>2 (1-5)</a:t>
                      </a:r>
                    </a:p>
                  </a:txBody>
                  <a:tcPr marL="68580" marR="274320" marT="5715" marB="34290" anchor="b">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627156644"/>
                  </a:ext>
                </a:extLst>
              </a:tr>
              <a:tr h="254323">
                <a:tc>
                  <a:txBody>
                    <a:bodyPr/>
                    <a:lstStyle/>
                    <a:p>
                      <a:pPr marL="0" marR="0" lvl="0" indent="0" algn="l" defTabSz="914400" rtl="0" eaLnBrk="1" fontAlgn="b" hangingPunct="1">
                        <a:lnSpc>
                          <a:spcPct val="100000"/>
                        </a:lnSpc>
                        <a:spcBef>
                          <a:spcPts val="0"/>
                        </a:spcBef>
                        <a:spcAft>
                          <a:spcPts val="0"/>
                        </a:spcAft>
                        <a:buFontTx/>
                        <a:buNone/>
                      </a:pPr>
                      <a:r>
                        <a:rPr kumimoji="0" lang="en-GB" sz="1400" b="0" i="0" u="none" strike="noStrike" kern="1200" cap="none" spc="0" baseline="0">
                          <a:solidFill>
                            <a:schemeClr val="tx1"/>
                          </a:solidFill>
                          <a:effectLst/>
                          <a:latin typeface="Calibri"/>
                        </a:rPr>
                        <a:t>Resolved</a:t>
                      </a:r>
                    </a:p>
                  </a:txBody>
                  <a:tcPr marL="137160" marR="5715" marT="5715" marB="34290" anchor="b">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kumimoji="0" lang="en-GB" sz="1400" b="0" i="0" u="none" strike="noStrike" kern="1200" cap="none" spc="0" baseline="0">
                          <a:solidFill>
                            <a:schemeClr val="tx1"/>
                          </a:solidFill>
                          <a:effectLst/>
                          <a:latin typeface="Calibri"/>
                        </a:rPr>
                        <a:t>4 (100%)</a:t>
                      </a:r>
                    </a:p>
                  </a:txBody>
                  <a:tcPr marL="68580" marR="274320" marT="5715" marB="34290" anchor="b">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736883491"/>
                  </a:ext>
                </a:extLst>
              </a:tr>
            </a:tbl>
          </a:graphicData>
        </a:graphic>
      </p:graphicFrame>
      <p:sp>
        <p:nvSpPr>
          <p:cNvPr id="3" name="TextBox 2">
            <a:extLst>
              <a:ext uri="{FF2B5EF4-FFF2-40B4-BE49-F238E27FC236}">
                <a16:creationId xmlns:a16="http://schemas.microsoft.com/office/drawing/2014/main" id="{4DAE6EB8-F82A-49AB-DC93-EF1EBFD9FB8B}"/>
              </a:ext>
            </a:extLst>
          </p:cNvPr>
          <p:cNvSpPr txBox="1"/>
          <p:nvPr/>
        </p:nvSpPr>
        <p:spPr>
          <a:xfrm>
            <a:off x="363589" y="4951982"/>
            <a:ext cx="8685990" cy="216982"/>
          </a:xfrm>
          <a:prstGeom prst="rect">
            <a:avLst/>
          </a:prstGeom>
          <a:noFill/>
        </p:spPr>
        <p:txBody>
          <a:bodyPr wrap="square">
            <a:spAutoFit/>
          </a:bodyPr>
          <a:lstStyle>
            <a:defPPr>
              <a:defRPr lang="en-US"/>
            </a:defPPr>
            <a:lvl1pPr>
              <a:lnSpc>
                <a:spcPct val="90000"/>
              </a:lnSpc>
              <a:spcAft>
                <a:spcPts val="600"/>
              </a:spcAft>
              <a:defRPr sz="1400"/>
            </a:lvl1pPr>
          </a:lstStyle>
          <a:p>
            <a:pPr>
              <a:spcAft>
                <a:spcPts val="0"/>
              </a:spcAft>
            </a:pPr>
            <a:r>
              <a:rPr lang="en-GB" sz="900"/>
              <a:t>ICANS defined as TNB-486-related neurological AEs potentially consistent with ICANS, ICANS, Immune effector cell-associated neurotoxicity syndrome</a:t>
            </a:r>
          </a:p>
        </p:txBody>
      </p:sp>
      <p:sp>
        <p:nvSpPr>
          <p:cNvPr id="4" name="TextBox 3">
            <a:extLst>
              <a:ext uri="{FF2B5EF4-FFF2-40B4-BE49-F238E27FC236}">
                <a16:creationId xmlns:a16="http://schemas.microsoft.com/office/drawing/2014/main" id="{E50F47CD-A93A-E865-7C24-D6536BFF791A}"/>
              </a:ext>
            </a:extLst>
          </p:cNvPr>
          <p:cNvSpPr txBox="1"/>
          <p:nvPr/>
        </p:nvSpPr>
        <p:spPr>
          <a:xfrm>
            <a:off x="5407694" y="4274653"/>
            <a:ext cx="1627369" cy="216982"/>
          </a:xfrm>
          <a:prstGeom prst="rect">
            <a:avLst/>
          </a:prstGeom>
          <a:noFill/>
        </p:spPr>
        <p:txBody>
          <a:bodyPr wrap="none" rtlCol="0">
            <a:spAutoFit/>
          </a:bodyPr>
          <a:lstStyle/>
          <a:p>
            <a:pPr>
              <a:lnSpc>
                <a:spcPct val="90000"/>
              </a:lnSpc>
              <a:spcAft>
                <a:spcPts val="450"/>
              </a:spcAft>
            </a:pPr>
            <a:r>
              <a:rPr lang="en-US" sz="900"/>
              <a:t>*Calculated from dosing day</a:t>
            </a:r>
          </a:p>
        </p:txBody>
      </p:sp>
      <p:grpSp>
        <p:nvGrpSpPr>
          <p:cNvPr id="137" name="Group 136">
            <a:extLst>
              <a:ext uri="{FF2B5EF4-FFF2-40B4-BE49-F238E27FC236}">
                <a16:creationId xmlns:a16="http://schemas.microsoft.com/office/drawing/2014/main" id="{421F846E-A6BD-6BCB-DCC7-1E2D76462EF4}"/>
              </a:ext>
            </a:extLst>
          </p:cNvPr>
          <p:cNvGrpSpPr>
            <a:grpSpLocks noChangeAspect="1"/>
          </p:cNvGrpSpPr>
          <p:nvPr/>
        </p:nvGrpSpPr>
        <p:grpSpPr>
          <a:xfrm>
            <a:off x="72707" y="1547870"/>
            <a:ext cx="5189544" cy="3481023"/>
            <a:chOff x="94205" y="2013073"/>
            <a:chExt cx="7573923" cy="5080408"/>
          </a:xfrm>
        </p:grpSpPr>
        <p:sp>
          <p:nvSpPr>
            <p:cNvPr id="138" name="Freeform 10">
              <a:extLst>
                <a:ext uri="{FF2B5EF4-FFF2-40B4-BE49-F238E27FC236}">
                  <a16:creationId xmlns:a16="http://schemas.microsoft.com/office/drawing/2014/main" id="{6A6F67C3-E6A1-F470-04E8-B96B59938C97}"/>
                </a:ext>
              </a:extLst>
            </p:cNvPr>
            <p:cNvSpPr/>
            <p:nvPr/>
          </p:nvSpPr>
          <p:spPr>
            <a:xfrm>
              <a:off x="737204" y="2013073"/>
              <a:ext cx="5888355" cy="4440780"/>
            </a:xfrm>
            <a:custGeom>
              <a:avLst/>
              <a:gdLst>
                <a:gd name="connsiteX0" fmla="*/ 0 w 5888355"/>
                <a:gd name="connsiteY0" fmla="*/ 0 h 4440780"/>
                <a:gd name="connsiteX1" fmla="*/ 5888355 w 5888355"/>
                <a:gd name="connsiteY1" fmla="*/ 0 h 4440780"/>
                <a:gd name="connsiteX2" fmla="*/ 5888355 w 5888355"/>
                <a:gd name="connsiteY2" fmla="*/ 4440780 h 4440780"/>
                <a:gd name="connsiteX3" fmla="*/ 0 w 5888355"/>
                <a:gd name="connsiteY3" fmla="*/ 4440780 h 4440780"/>
              </a:gdLst>
              <a:ahLst/>
              <a:cxnLst>
                <a:cxn ang="0">
                  <a:pos x="connsiteX0" y="connsiteY0"/>
                </a:cxn>
                <a:cxn ang="0">
                  <a:pos x="connsiteX1" y="connsiteY1"/>
                </a:cxn>
                <a:cxn ang="0">
                  <a:pos x="connsiteX2" y="connsiteY2"/>
                </a:cxn>
                <a:cxn ang="0">
                  <a:pos x="connsiteX3" y="connsiteY3"/>
                </a:cxn>
              </a:cxnLst>
              <a:rect l="l" t="t" r="r" b="b"/>
              <a:pathLst>
                <a:path w="5888355" h="4440780">
                  <a:moveTo>
                    <a:pt x="0" y="0"/>
                  </a:moveTo>
                  <a:lnTo>
                    <a:pt x="5888355" y="0"/>
                  </a:lnTo>
                  <a:lnTo>
                    <a:pt x="5888355" y="4440780"/>
                  </a:lnTo>
                  <a:lnTo>
                    <a:pt x="0" y="4440780"/>
                  </a:lnTo>
                  <a:close/>
                </a:path>
              </a:pathLst>
            </a:custGeom>
            <a:solidFill>
              <a:srgbClr val="FFFFFF"/>
            </a:solidFill>
            <a:ln w="9525" cap="flat">
              <a:noFill/>
              <a:prstDash val="solid"/>
              <a:miter/>
            </a:ln>
          </p:spPr>
          <p:txBody>
            <a:bodyPr rtlCol="0" anchor="ctr"/>
            <a:lstStyle/>
            <a:p>
              <a:endParaRPr lang="en-US" sz="1050"/>
            </a:p>
          </p:txBody>
        </p:sp>
        <p:sp>
          <p:nvSpPr>
            <p:cNvPr id="139" name="Freeform 127">
              <a:extLst>
                <a:ext uri="{FF2B5EF4-FFF2-40B4-BE49-F238E27FC236}">
                  <a16:creationId xmlns:a16="http://schemas.microsoft.com/office/drawing/2014/main" id="{A736F9E1-1B35-EEB9-F5A7-CE3D72E96945}"/>
                </a:ext>
              </a:extLst>
            </p:cNvPr>
            <p:cNvSpPr/>
            <p:nvPr/>
          </p:nvSpPr>
          <p:spPr>
            <a:xfrm>
              <a:off x="737203" y="5658106"/>
              <a:ext cx="5887402" cy="9507"/>
            </a:xfrm>
            <a:custGeom>
              <a:avLst/>
              <a:gdLst>
                <a:gd name="connsiteX0" fmla="*/ 0 w 5887402"/>
                <a:gd name="connsiteY0" fmla="*/ 0 h 9507"/>
                <a:gd name="connsiteX1" fmla="*/ 5887403 w 5887402"/>
                <a:gd name="connsiteY1" fmla="*/ 0 h 9507"/>
              </a:gdLst>
              <a:ahLst/>
              <a:cxnLst>
                <a:cxn ang="0">
                  <a:pos x="connsiteX0" y="connsiteY0"/>
                </a:cxn>
                <a:cxn ang="0">
                  <a:pos x="connsiteX1" y="connsiteY1"/>
                </a:cxn>
              </a:cxnLst>
              <a:rect l="l" t="t" r="r" b="b"/>
              <a:pathLst>
                <a:path w="5887402" h="9507">
                  <a:moveTo>
                    <a:pt x="0" y="0"/>
                  </a:moveTo>
                  <a:lnTo>
                    <a:pt x="5887403" y="0"/>
                  </a:lnTo>
                </a:path>
              </a:pathLst>
            </a:custGeom>
            <a:ln w="4763" cap="flat">
              <a:solidFill>
                <a:srgbClr val="EBEBEB"/>
              </a:solidFill>
              <a:prstDash val="solid"/>
              <a:round/>
            </a:ln>
          </p:spPr>
          <p:txBody>
            <a:bodyPr rtlCol="0" anchor="ctr"/>
            <a:lstStyle/>
            <a:p>
              <a:endParaRPr lang="en-US" sz="1050"/>
            </a:p>
          </p:txBody>
        </p:sp>
        <p:sp>
          <p:nvSpPr>
            <p:cNvPr id="140" name="Freeform 128">
              <a:extLst>
                <a:ext uri="{FF2B5EF4-FFF2-40B4-BE49-F238E27FC236}">
                  <a16:creationId xmlns:a16="http://schemas.microsoft.com/office/drawing/2014/main" id="{C27AED27-5627-7725-14DA-384401CD7D52}"/>
                </a:ext>
              </a:extLst>
            </p:cNvPr>
            <p:cNvSpPr/>
            <p:nvPr/>
          </p:nvSpPr>
          <p:spPr>
            <a:xfrm>
              <a:off x="737203" y="4470666"/>
              <a:ext cx="5887402" cy="9507"/>
            </a:xfrm>
            <a:custGeom>
              <a:avLst/>
              <a:gdLst>
                <a:gd name="connsiteX0" fmla="*/ 0 w 5887402"/>
                <a:gd name="connsiteY0" fmla="*/ 0 h 9507"/>
                <a:gd name="connsiteX1" fmla="*/ 5887403 w 5887402"/>
                <a:gd name="connsiteY1" fmla="*/ 0 h 9507"/>
              </a:gdLst>
              <a:ahLst/>
              <a:cxnLst>
                <a:cxn ang="0">
                  <a:pos x="connsiteX0" y="connsiteY0"/>
                </a:cxn>
                <a:cxn ang="0">
                  <a:pos x="connsiteX1" y="connsiteY1"/>
                </a:cxn>
              </a:cxnLst>
              <a:rect l="l" t="t" r="r" b="b"/>
              <a:pathLst>
                <a:path w="5887402" h="9507">
                  <a:moveTo>
                    <a:pt x="0" y="0"/>
                  </a:moveTo>
                  <a:lnTo>
                    <a:pt x="5887403" y="0"/>
                  </a:lnTo>
                </a:path>
              </a:pathLst>
            </a:custGeom>
            <a:ln w="4763" cap="flat">
              <a:solidFill>
                <a:srgbClr val="EBEBEB"/>
              </a:solidFill>
              <a:prstDash val="solid"/>
              <a:round/>
            </a:ln>
          </p:spPr>
          <p:txBody>
            <a:bodyPr rtlCol="0" anchor="ctr"/>
            <a:lstStyle/>
            <a:p>
              <a:endParaRPr lang="en-US" sz="1050"/>
            </a:p>
          </p:txBody>
        </p:sp>
        <p:sp>
          <p:nvSpPr>
            <p:cNvPr id="141" name="Freeform 129">
              <a:extLst>
                <a:ext uri="{FF2B5EF4-FFF2-40B4-BE49-F238E27FC236}">
                  <a16:creationId xmlns:a16="http://schemas.microsoft.com/office/drawing/2014/main" id="{6EE68A2C-FD47-4882-B6C8-D2AA7FBE04E9}"/>
                </a:ext>
              </a:extLst>
            </p:cNvPr>
            <p:cNvSpPr/>
            <p:nvPr/>
          </p:nvSpPr>
          <p:spPr>
            <a:xfrm>
              <a:off x="737203" y="3283225"/>
              <a:ext cx="5887402" cy="9507"/>
            </a:xfrm>
            <a:custGeom>
              <a:avLst/>
              <a:gdLst>
                <a:gd name="connsiteX0" fmla="*/ 0 w 5887402"/>
                <a:gd name="connsiteY0" fmla="*/ 0 h 9507"/>
                <a:gd name="connsiteX1" fmla="*/ 5887403 w 5887402"/>
                <a:gd name="connsiteY1" fmla="*/ 0 h 9507"/>
              </a:gdLst>
              <a:ahLst/>
              <a:cxnLst>
                <a:cxn ang="0">
                  <a:pos x="connsiteX0" y="connsiteY0"/>
                </a:cxn>
                <a:cxn ang="0">
                  <a:pos x="connsiteX1" y="connsiteY1"/>
                </a:cxn>
              </a:cxnLst>
              <a:rect l="l" t="t" r="r" b="b"/>
              <a:pathLst>
                <a:path w="5887402" h="9507">
                  <a:moveTo>
                    <a:pt x="0" y="0"/>
                  </a:moveTo>
                  <a:lnTo>
                    <a:pt x="5887403" y="0"/>
                  </a:lnTo>
                </a:path>
              </a:pathLst>
            </a:custGeom>
            <a:ln w="4763" cap="flat">
              <a:solidFill>
                <a:srgbClr val="EBEBEB"/>
              </a:solidFill>
              <a:prstDash val="solid"/>
              <a:round/>
            </a:ln>
          </p:spPr>
          <p:txBody>
            <a:bodyPr rtlCol="0" anchor="ctr"/>
            <a:lstStyle/>
            <a:p>
              <a:endParaRPr lang="en-US" sz="1050"/>
            </a:p>
          </p:txBody>
        </p:sp>
        <p:sp>
          <p:nvSpPr>
            <p:cNvPr id="142" name="Freeform 130">
              <a:extLst>
                <a:ext uri="{FF2B5EF4-FFF2-40B4-BE49-F238E27FC236}">
                  <a16:creationId xmlns:a16="http://schemas.microsoft.com/office/drawing/2014/main" id="{E6180586-272A-8269-7630-425227F92DCD}"/>
                </a:ext>
              </a:extLst>
            </p:cNvPr>
            <p:cNvSpPr/>
            <p:nvPr/>
          </p:nvSpPr>
          <p:spPr>
            <a:xfrm>
              <a:off x="737203" y="2095785"/>
              <a:ext cx="5887402" cy="9507"/>
            </a:xfrm>
            <a:custGeom>
              <a:avLst/>
              <a:gdLst>
                <a:gd name="connsiteX0" fmla="*/ 0 w 5887402"/>
                <a:gd name="connsiteY0" fmla="*/ 0 h 9507"/>
                <a:gd name="connsiteX1" fmla="*/ 5887403 w 5887402"/>
                <a:gd name="connsiteY1" fmla="*/ 0 h 9507"/>
              </a:gdLst>
              <a:ahLst/>
              <a:cxnLst>
                <a:cxn ang="0">
                  <a:pos x="connsiteX0" y="connsiteY0"/>
                </a:cxn>
                <a:cxn ang="0">
                  <a:pos x="connsiteX1" y="connsiteY1"/>
                </a:cxn>
              </a:cxnLst>
              <a:rect l="l" t="t" r="r" b="b"/>
              <a:pathLst>
                <a:path w="5887402" h="9507">
                  <a:moveTo>
                    <a:pt x="0" y="0"/>
                  </a:moveTo>
                  <a:lnTo>
                    <a:pt x="5887403" y="0"/>
                  </a:lnTo>
                </a:path>
              </a:pathLst>
            </a:custGeom>
            <a:ln w="4763" cap="flat">
              <a:solidFill>
                <a:srgbClr val="EBEBEB"/>
              </a:solidFill>
              <a:prstDash val="solid"/>
              <a:round/>
            </a:ln>
          </p:spPr>
          <p:txBody>
            <a:bodyPr rtlCol="0" anchor="ctr"/>
            <a:lstStyle/>
            <a:p>
              <a:endParaRPr lang="en-US" sz="1050"/>
            </a:p>
          </p:txBody>
        </p:sp>
        <p:sp>
          <p:nvSpPr>
            <p:cNvPr id="143" name="Freeform 131">
              <a:extLst>
                <a:ext uri="{FF2B5EF4-FFF2-40B4-BE49-F238E27FC236}">
                  <a16:creationId xmlns:a16="http://schemas.microsoft.com/office/drawing/2014/main" id="{CBF07AE3-3056-A562-EF02-ECAF1AC2EA33}"/>
                </a:ext>
              </a:extLst>
            </p:cNvPr>
            <p:cNvSpPr/>
            <p:nvPr/>
          </p:nvSpPr>
          <p:spPr>
            <a:xfrm>
              <a:off x="737203" y="5064861"/>
              <a:ext cx="5887402" cy="9507"/>
            </a:xfrm>
            <a:custGeom>
              <a:avLst/>
              <a:gdLst>
                <a:gd name="connsiteX0" fmla="*/ 0 w 5887402"/>
                <a:gd name="connsiteY0" fmla="*/ 0 h 9507"/>
                <a:gd name="connsiteX1" fmla="*/ 5887403 w 5887402"/>
                <a:gd name="connsiteY1" fmla="*/ 0 h 9507"/>
              </a:gdLst>
              <a:ahLst/>
              <a:cxnLst>
                <a:cxn ang="0">
                  <a:pos x="connsiteX0" y="connsiteY0"/>
                </a:cxn>
                <a:cxn ang="0">
                  <a:pos x="connsiteX1" y="connsiteY1"/>
                </a:cxn>
              </a:cxnLst>
              <a:rect l="l" t="t" r="r" b="b"/>
              <a:pathLst>
                <a:path w="5887402" h="9507">
                  <a:moveTo>
                    <a:pt x="0" y="0"/>
                  </a:moveTo>
                  <a:lnTo>
                    <a:pt x="5887403" y="0"/>
                  </a:lnTo>
                </a:path>
              </a:pathLst>
            </a:custGeom>
            <a:ln w="10478" cap="flat">
              <a:solidFill>
                <a:srgbClr val="EBEBEB"/>
              </a:solidFill>
              <a:prstDash val="solid"/>
              <a:round/>
            </a:ln>
          </p:spPr>
          <p:txBody>
            <a:bodyPr rtlCol="0" anchor="ctr"/>
            <a:lstStyle/>
            <a:p>
              <a:endParaRPr lang="en-US" sz="1050"/>
            </a:p>
          </p:txBody>
        </p:sp>
        <p:sp>
          <p:nvSpPr>
            <p:cNvPr id="144" name="Freeform 132">
              <a:extLst>
                <a:ext uri="{FF2B5EF4-FFF2-40B4-BE49-F238E27FC236}">
                  <a16:creationId xmlns:a16="http://schemas.microsoft.com/office/drawing/2014/main" id="{3918B5FF-CCA0-E7D5-58C4-56CC75E92F41}"/>
                </a:ext>
              </a:extLst>
            </p:cNvPr>
            <p:cNvSpPr/>
            <p:nvPr/>
          </p:nvSpPr>
          <p:spPr>
            <a:xfrm>
              <a:off x="737203" y="3877421"/>
              <a:ext cx="5887402" cy="9507"/>
            </a:xfrm>
            <a:custGeom>
              <a:avLst/>
              <a:gdLst>
                <a:gd name="connsiteX0" fmla="*/ 0 w 5887402"/>
                <a:gd name="connsiteY0" fmla="*/ 0 h 9507"/>
                <a:gd name="connsiteX1" fmla="*/ 5887403 w 5887402"/>
                <a:gd name="connsiteY1" fmla="*/ 0 h 9507"/>
              </a:gdLst>
              <a:ahLst/>
              <a:cxnLst>
                <a:cxn ang="0">
                  <a:pos x="connsiteX0" y="connsiteY0"/>
                </a:cxn>
                <a:cxn ang="0">
                  <a:pos x="connsiteX1" y="connsiteY1"/>
                </a:cxn>
              </a:cxnLst>
              <a:rect l="l" t="t" r="r" b="b"/>
              <a:pathLst>
                <a:path w="5887402" h="9507">
                  <a:moveTo>
                    <a:pt x="0" y="0"/>
                  </a:moveTo>
                  <a:lnTo>
                    <a:pt x="5887403" y="0"/>
                  </a:lnTo>
                </a:path>
              </a:pathLst>
            </a:custGeom>
            <a:ln w="10478" cap="flat">
              <a:solidFill>
                <a:srgbClr val="EBEBEB"/>
              </a:solidFill>
              <a:prstDash val="solid"/>
              <a:round/>
            </a:ln>
          </p:spPr>
          <p:txBody>
            <a:bodyPr rtlCol="0" anchor="ctr"/>
            <a:lstStyle/>
            <a:p>
              <a:endParaRPr lang="en-US" sz="1050"/>
            </a:p>
          </p:txBody>
        </p:sp>
        <p:sp>
          <p:nvSpPr>
            <p:cNvPr id="145" name="Freeform 133">
              <a:extLst>
                <a:ext uri="{FF2B5EF4-FFF2-40B4-BE49-F238E27FC236}">
                  <a16:creationId xmlns:a16="http://schemas.microsoft.com/office/drawing/2014/main" id="{2AE88ADD-F10D-0F70-E1BA-535CBAB4DE37}"/>
                </a:ext>
              </a:extLst>
            </p:cNvPr>
            <p:cNvSpPr/>
            <p:nvPr/>
          </p:nvSpPr>
          <p:spPr>
            <a:xfrm>
              <a:off x="737203" y="2689980"/>
              <a:ext cx="5887402" cy="9507"/>
            </a:xfrm>
            <a:custGeom>
              <a:avLst/>
              <a:gdLst>
                <a:gd name="connsiteX0" fmla="*/ 0 w 5887402"/>
                <a:gd name="connsiteY0" fmla="*/ 0 h 9507"/>
                <a:gd name="connsiteX1" fmla="*/ 5887403 w 5887402"/>
                <a:gd name="connsiteY1" fmla="*/ 0 h 9507"/>
              </a:gdLst>
              <a:ahLst/>
              <a:cxnLst>
                <a:cxn ang="0">
                  <a:pos x="connsiteX0" y="connsiteY0"/>
                </a:cxn>
                <a:cxn ang="0">
                  <a:pos x="connsiteX1" y="connsiteY1"/>
                </a:cxn>
              </a:cxnLst>
              <a:rect l="l" t="t" r="r" b="b"/>
              <a:pathLst>
                <a:path w="5887402" h="9507">
                  <a:moveTo>
                    <a:pt x="0" y="0"/>
                  </a:moveTo>
                  <a:lnTo>
                    <a:pt x="5887403" y="0"/>
                  </a:lnTo>
                </a:path>
              </a:pathLst>
            </a:custGeom>
            <a:ln w="10478" cap="flat">
              <a:solidFill>
                <a:srgbClr val="EBEBEB"/>
              </a:solidFill>
              <a:prstDash val="solid"/>
              <a:round/>
            </a:ln>
          </p:spPr>
          <p:txBody>
            <a:bodyPr rtlCol="0" anchor="ctr"/>
            <a:lstStyle/>
            <a:p>
              <a:endParaRPr lang="en-US" sz="1050"/>
            </a:p>
          </p:txBody>
        </p:sp>
        <p:sp>
          <p:nvSpPr>
            <p:cNvPr id="146" name="Freeform 134">
              <a:extLst>
                <a:ext uri="{FF2B5EF4-FFF2-40B4-BE49-F238E27FC236}">
                  <a16:creationId xmlns:a16="http://schemas.microsoft.com/office/drawing/2014/main" id="{1CC8DD4A-E12D-EF92-276F-C0F855235E9D}"/>
                </a:ext>
              </a:extLst>
            </p:cNvPr>
            <p:cNvSpPr/>
            <p:nvPr/>
          </p:nvSpPr>
          <p:spPr>
            <a:xfrm>
              <a:off x="2147856" y="2214624"/>
              <a:ext cx="1226820" cy="950712"/>
            </a:xfrm>
            <a:custGeom>
              <a:avLst/>
              <a:gdLst>
                <a:gd name="connsiteX0" fmla="*/ 0 w 1226820"/>
                <a:gd name="connsiteY0" fmla="*/ 237678 h 950712"/>
                <a:gd name="connsiteX1" fmla="*/ 953 w 1226820"/>
                <a:gd name="connsiteY1" fmla="*/ 237678 h 950712"/>
                <a:gd name="connsiteX2" fmla="*/ 8573 w 1226820"/>
                <a:gd name="connsiteY2" fmla="*/ 238629 h 950712"/>
                <a:gd name="connsiteX3" fmla="*/ 24765 w 1226820"/>
                <a:gd name="connsiteY3" fmla="*/ 240530 h 950712"/>
                <a:gd name="connsiteX4" fmla="*/ 52388 w 1226820"/>
                <a:gd name="connsiteY4" fmla="*/ 243383 h 950712"/>
                <a:gd name="connsiteX5" fmla="*/ 87630 w 1226820"/>
                <a:gd name="connsiteY5" fmla="*/ 248136 h 950712"/>
                <a:gd name="connsiteX6" fmla="*/ 125730 w 1226820"/>
                <a:gd name="connsiteY6" fmla="*/ 254791 h 950712"/>
                <a:gd name="connsiteX7" fmla="*/ 164783 w 1226820"/>
                <a:gd name="connsiteY7" fmla="*/ 263347 h 950712"/>
                <a:gd name="connsiteX8" fmla="*/ 200978 w 1226820"/>
                <a:gd name="connsiteY8" fmla="*/ 272855 h 950712"/>
                <a:gd name="connsiteX9" fmla="*/ 235267 w 1226820"/>
                <a:gd name="connsiteY9" fmla="*/ 285214 h 950712"/>
                <a:gd name="connsiteX10" fmla="*/ 267653 w 1226820"/>
                <a:gd name="connsiteY10" fmla="*/ 299475 h 950712"/>
                <a:gd name="connsiteX11" fmla="*/ 299085 w 1226820"/>
                <a:gd name="connsiteY11" fmla="*/ 316587 h 950712"/>
                <a:gd name="connsiteX12" fmla="*/ 330517 w 1226820"/>
                <a:gd name="connsiteY12" fmla="*/ 336552 h 950712"/>
                <a:gd name="connsiteX13" fmla="*/ 357188 w 1226820"/>
                <a:gd name="connsiteY13" fmla="*/ 356517 h 950712"/>
                <a:gd name="connsiteX14" fmla="*/ 381952 w 1226820"/>
                <a:gd name="connsiteY14" fmla="*/ 376482 h 950712"/>
                <a:gd name="connsiteX15" fmla="*/ 407670 w 1226820"/>
                <a:gd name="connsiteY15" fmla="*/ 398349 h 950712"/>
                <a:gd name="connsiteX16" fmla="*/ 435292 w 1226820"/>
                <a:gd name="connsiteY16" fmla="*/ 422117 h 950712"/>
                <a:gd name="connsiteX17" fmla="*/ 463867 w 1226820"/>
                <a:gd name="connsiteY17" fmla="*/ 448737 h 950712"/>
                <a:gd name="connsiteX18" fmla="*/ 493395 w 1226820"/>
                <a:gd name="connsiteY18" fmla="*/ 476307 h 950712"/>
                <a:gd name="connsiteX19" fmla="*/ 523875 w 1226820"/>
                <a:gd name="connsiteY19" fmla="*/ 506730 h 950712"/>
                <a:gd name="connsiteX20" fmla="*/ 556260 w 1226820"/>
                <a:gd name="connsiteY20" fmla="*/ 538104 h 950712"/>
                <a:gd name="connsiteX21" fmla="*/ 588645 w 1226820"/>
                <a:gd name="connsiteY21" fmla="*/ 570428 h 950712"/>
                <a:gd name="connsiteX22" fmla="*/ 621983 w 1226820"/>
                <a:gd name="connsiteY22" fmla="*/ 602752 h 950712"/>
                <a:gd name="connsiteX23" fmla="*/ 654368 w 1226820"/>
                <a:gd name="connsiteY23" fmla="*/ 635076 h 950712"/>
                <a:gd name="connsiteX24" fmla="*/ 686752 w 1226820"/>
                <a:gd name="connsiteY24" fmla="*/ 666450 h 950712"/>
                <a:gd name="connsiteX25" fmla="*/ 718185 w 1226820"/>
                <a:gd name="connsiteY25" fmla="*/ 696873 h 950712"/>
                <a:gd name="connsiteX26" fmla="*/ 748665 w 1226820"/>
                <a:gd name="connsiteY26" fmla="*/ 726345 h 950712"/>
                <a:gd name="connsiteX27" fmla="*/ 777240 w 1226820"/>
                <a:gd name="connsiteY27" fmla="*/ 753915 h 950712"/>
                <a:gd name="connsiteX28" fmla="*/ 805815 w 1226820"/>
                <a:gd name="connsiteY28" fmla="*/ 778634 h 950712"/>
                <a:gd name="connsiteX29" fmla="*/ 831533 w 1226820"/>
                <a:gd name="connsiteY29" fmla="*/ 801451 h 950712"/>
                <a:gd name="connsiteX30" fmla="*/ 857250 w 1226820"/>
                <a:gd name="connsiteY30" fmla="*/ 822367 h 950712"/>
                <a:gd name="connsiteX31" fmla="*/ 868680 w 1226820"/>
                <a:gd name="connsiteY31" fmla="*/ 831874 h 950712"/>
                <a:gd name="connsiteX32" fmla="*/ 901065 w 1226820"/>
                <a:gd name="connsiteY32" fmla="*/ 854691 h 950712"/>
                <a:gd name="connsiteX33" fmla="*/ 931545 w 1226820"/>
                <a:gd name="connsiteY33" fmla="*/ 874656 h 950712"/>
                <a:gd name="connsiteX34" fmla="*/ 962977 w 1226820"/>
                <a:gd name="connsiteY34" fmla="*/ 890818 h 950712"/>
                <a:gd name="connsiteX35" fmla="*/ 995363 w 1226820"/>
                <a:gd name="connsiteY35" fmla="*/ 905079 h 950712"/>
                <a:gd name="connsiteX36" fmla="*/ 1030605 w 1226820"/>
                <a:gd name="connsiteY36" fmla="*/ 916487 h 950712"/>
                <a:gd name="connsiteX37" fmla="*/ 1067752 w 1226820"/>
                <a:gd name="connsiteY37" fmla="*/ 925994 h 950712"/>
                <a:gd name="connsiteX38" fmla="*/ 1106805 w 1226820"/>
                <a:gd name="connsiteY38" fmla="*/ 934551 h 950712"/>
                <a:gd name="connsiteX39" fmla="*/ 1144905 w 1226820"/>
                <a:gd name="connsiteY39" fmla="*/ 940255 h 950712"/>
                <a:gd name="connsiteX40" fmla="*/ 1178243 w 1226820"/>
                <a:gd name="connsiteY40" fmla="*/ 945009 h 950712"/>
                <a:gd name="connsiteX41" fmla="*/ 1203960 w 1226820"/>
                <a:gd name="connsiteY41" fmla="*/ 947861 h 950712"/>
                <a:gd name="connsiteX42" fmla="*/ 1220152 w 1226820"/>
                <a:gd name="connsiteY42" fmla="*/ 949762 h 950712"/>
                <a:gd name="connsiteX43" fmla="*/ 1225868 w 1226820"/>
                <a:gd name="connsiteY43" fmla="*/ 949762 h 950712"/>
                <a:gd name="connsiteX44" fmla="*/ 1226820 w 1226820"/>
                <a:gd name="connsiteY44" fmla="*/ 950713 h 950712"/>
                <a:gd name="connsiteX45" fmla="*/ 1226820 w 1226820"/>
                <a:gd name="connsiteY45" fmla="*/ 713035 h 950712"/>
                <a:gd name="connsiteX46" fmla="*/ 1224915 w 1226820"/>
                <a:gd name="connsiteY46" fmla="*/ 713035 h 950712"/>
                <a:gd name="connsiteX47" fmla="*/ 1218248 w 1226820"/>
                <a:gd name="connsiteY47" fmla="*/ 712084 h 950712"/>
                <a:gd name="connsiteX48" fmla="*/ 1201102 w 1226820"/>
                <a:gd name="connsiteY48" fmla="*/ 710183 h 950712"/>
                <a:gd name="connsiteX49" fmla="*/ 1173480 w 1226820"/>
                <a:gd name="connsiteY49" fmla="*/ 707330 h 950712"/>
                <a:gd name="connsiteX50" fmla="*/ 1139190 w 1226820"/>
                <a:gd name="connsiteY50" fmla="*/ 702577 h 950712"/>
                <a:gd name="connsiteX51" fmla="*/ 1100138 w 1226820"/>
                <a:gd name="connsiteY51" fmla="*/ 695922 h 950712"/>
                <a:gd name="connsiteX52" fmla="*/ 1062038 w 1226820"/>
                <a:gd name="connsiteY52" fmla="*/ 687365 h 950712"/>
                <a:gd name="connsiteX53" fmla="*/ 1024890 w 1226820"/>
                <a:gd name="connsiteY53" fmla="*/ 676908 h 950712"/>
                <a:gd name="connsiteX54" fmla="*/ 990600 w 1226820"/>
                <a:gd name="connsiteY54" fmla="*/ 665499 h 950712"/>
                <a:gd name="connsiteX55" fmla="*/ 958215 w 1226820"/>
                <a:gd name="connsiteY55" fmla="*/ 651238 h 950712"/>
                <a:gd name="connsiteX56" fmla="*/ 926783 w 1226820"/>
                <a:gd name="connsiteY56" fmla="*/ 634126 h 950712"/>
                <a:gd name="connsiteX57" fmla="*/ 895350 w 1226820"/>
                <a:gd name="connsiteY57" fmla="*/ 614161 h 950712"/>
                <a:gd name="connsiteX58" fmla="*/ 868680 w 1226820"/>
                <a:gd name="connsiteY58" fmla="*/ 594196 h 950712"/>
                <a:gd name="connsiteX59" fmla="*/ 843915 w 1226820"/>
                <a:gd name="connsiteY59" fmla="*/ 574231 h 950712"/>
                <a:gd name="connsiteX60" fmla="*/ 818198 w 1226820"/>
                <a:gd name="connsiteY60" fmla="*/ 552364 h 950712"/>
                <a:gd name="connsiteX61" fmla="*/ 791527 w 1226820"/>
                <a:gd name="connsiteY61" fmla="*/ 528596 h 950712"/>
                <a:gd name="connsiteX62" fmla="*/ 762952 w 1226820"/>
                <a:gd name="connsiteY62" fmla="*/ 501976 h 950712"/>
                <a:gd name="connsiteX63" fmla="*/ 732473 w 1226820"/>
                <a:gd name="connsiteY63" fmla="*/ 473455 h 950712"/>
                <a:gd name="connsiteX64" fmla="*/ 701993 w 1226820"/>
                <a:gd name="connsiteY64" fmla="*/ 443983 h 950712"/>
                <a:gd name="connsiteX65" fmla="*/ 669608 w 1226820"/>
                <a:gd name="connsiteY65" fmla="*/ 412609 h 950712"/>
                <a:gd name="connsiteX66" fmla="*/ 637223 w 1226820"/>
                <a:gd name="connsiteY66" fmla="*/ 380285 h 950712"/>
                <a:gd name="connsiteX67" fmla="*/ 604838 w 1226820"/>
                <a:gd name="connsiteY67" fmla="*/ 347961 h 950712"/>
                <a:gd name="connsiteX68" fmla="*/ 571500 w 1226820"/>
                <a:gd name="connsiteY68" fmla="*/ 315637 h 950712"/>
                <a:gd name="connsiteX69" fmla="*/ 539115 w 1226820"/>
                <a:gd name="connsiteY69" fmla="*/ 284263 h 950712"/>
                <a:gd name="connsiteX70" fmla="*/ 507683 w 1226820"/>
                <a:gd name="connsiteY70" fmla="*/ 252890 h 950712"/>
                <a:gd name="connsiteX71" fmla="*/ 477202 w 1226820"/>
                <a:gd name="connsiteY71" fmla="*/ 224368 h 950712"/>
                <a:gd name="connsiteX72" fmla="*/ 448627 w 1226820"/>
                <a:gd name="connsiteY72" fmla="*/ 196798 h 950712"/>
                <a:gd name="connsiteX73" fmla="*/ 421005 w 1226820"/>
                <a:gd name="connsiteY73" fmla="*/ 172079 h 950712"/>
                <a:gd name="connsiteX74" fmla="*/ 394335 w 1226820"/>
                <a:gd name="connsiteY74" fmla="*/ 149262 h 950712"/>
                <a:gd name="connsiteX75" fmla="*/ 369570 w 1226820"/>
                <a:gd name="connsiteY75" fmla="*/ 128346 h 950712"/>
                <a:gd name="connsiteX76" fmla="*/ 357188 w 1226820"/>
                <a:gd name="connsiteY76" fmla="*/ 118839 h 950712"/>
                <a:gd name="connsiteX77" fmla="*/ 325755 w 1226820"/>
                <a:gd name="connsiteY77" fmla="*/ 96022 h 950712"/>
                <a:gd name="connsiteX78" fmla="*/ 294323 w 1226820"/>
                <a:gd name="connsiteY78" fmla="*/ 76057 h 950712"/>
                <a:gd name="connsiteX79" fmla="*/ 262890 w 1226820"/>
                <a:gd name="connsiteY79" fmla="*/ 58944 h 950712"/>
                <a:gd name="connsiteX80" fmla="*/ 230505 w 1226820"/>
                <a:gd name="connsiteY80" fmla="*/ 45634 h 950712"/>
                <a:gd name="connsiteX81" fmla="*/ 195263 w 1226820"/>
                <a:gd name="connsiteY81" fmla="*/ 34226 h 950712"/>
                <a:gd name="connsiteX82" fmla="*/ 158115 w 1226820"/>
                <a:gd name="connsiteY82" fmla="*/ 24719 h 950712"/>
                <a:gd name="connsiteX83" fmla="*/ 120015 w 1226820"/>
                <a:gd name="connsiteY83" fmla="*/ 16162 h 950712"/>
                <a:gd name="connsiteX84" fmla="*/ 80963 w 1226820"/>
                <a:gd name="connsiteY84" fmla="*/ 9507 h 950712"/>
                <a:gd name="connsiteX85" fmla="*/ 47625 w 1226820"/>
                <a:gd name="connsiteY85" fmla="*/ 5704 h 950712"/>
                <a:gd name="connsiteX86" fmla="*/ 21908 w 1226820"/>
                <a:gd name="connsiteY86" fmla="*/ 1901 h 950712"/>
                <a:gd name="connsiteX87" fmla="*/ 6667 w 1226820"/>
                <a:gd name="connsiteY87" fmla="*/ 951 h 950712"/>
                <a:gd name="connsiteX88" fmla="*/ 0 w 1226820"/>
                <a:gd name="connsiteY88" fmla="*/ 0 h 950712"/>
                <a:gd name="connsiteX89" fmla="*/ 0 w 1226820"/>
                <a:gd name="connsiteY89" fmla="*/ 0 h 950712"/>
                <a:gd name="connsiteX90" fmla="*/ 0 w 1226820"/>
                <a:gd name="connsiteY90" fmla="*/ 237678 h 950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226820" h="950712">
                  <a:moveTo>
                    <a:pt x="0" y="237678"/>
                  </a:moveTo>
                  <a:lnTo>
                    <a:pt x="953" y="237678"/>
                  </a:lnTo>
                  <a:lnTo>
                    <a:pt x="8573" y="238629"/>
                  </a:lnTo>
                  <a:lnTo>
                    <a:pt x="24765" y="240530"/>
                  </a:lnTo>
                  <a:lnTo>
                    <a:pt x="52388" y="243383"/>
                  </a:lnTo>
                  <a:lnTo>
                    <a:pt x="87630" y="248136"/>
                  </a:lnTo>
                  <a:lnTo>
                    <a:pt x="125730" y="254791"/>
                  </a:lnTo>
                  <a:lnTo>
                    <a:pt x="164783" y="263347"/>
                  </a:lnTo>
                  <a:lnTo>
                    <a:pt x="200978" y="272855"/>
                  </a:lnTo>
                  <a:lnTo>
                    <a:pt x="235267" y="285214"/>
                  </a:lnTo>
                  <a:lnTo>
                    <a:pt x="267653" y="299475"/>
                  </a:lnTo>
                  <a:lnTo>
                    <a:pt x="299085" y="316587"/>
                  </a:lnTo>
                  <a:lnTo>
                    <a:pt x="330517" y="336552"/>
                  </a:lnTo>
                  <a:lnTo>
                    <a:pt x="357188" y="356517"/>
                  </a:lnTo>
                  <a:lnTo>
                    <a:pt x="381952" y="376482"/>
                  </a:lnTo>
                  <a:lnTo>
                    <a:pt x="407670" y="398349"/>
                  </a:lnTo>
                  <a:lnTo>
                    <a:pt x="435292" y="422117"/>
                  </a:lnTo>
                  <a:lnTo>
                    <a:pt x="463867" y="448737"/>
                  </a:lnTo>
                  <a:lnTo>
                    <a:pt x="493395" y="476307"/>
                  </a:lnTo>
                  <a:lnTo>
                    <a:pt x="523875" y="506730"/>
                  </a:lnTo>
                  <a:lnTo>
                    <a:pt x="556260" y="538104"/>
                  </a:lnTo>
                  <a:lnTo>
                    <a:pt x="588645" y="570428"/>
                  </a:lnTo>
                  <a:lnTo>
                    <a:pt x="621983" y="602752"/>
                  </a:lnTo>
                  <a:lnTo>
                    <a:pt x="654368" y="635076"/>
                  </a:lnTo>
                  <a:lnTo>
                    <a:pt x="686752" y="666450"/>
                  </a:lnTo>
                  <a:lnTo>
                    <a:pt x="718185" y="696873"/>
                  </a:lnTo>
                  <a:lnTo>
                    <a:pt x="748665" y="726345"/>
                  </a:lnTo>
                  <a:lnTo>
                    <a:pt x="777240" y="753915"/>
                  </a:lnTo>
                  <a:lnTo>
                    <a:pt x="805815" y="778634"/>
                  </a:lnTo>
                  <a:lnTo>
                    <a:pt x="831533" y="801451"/>
                  </a:lnTo>
                  <a:lnTo>
                    <a:pt x="857250" y="822367"/>
                  </a:lnTo>
                  <a:lnTo>
                    <a:pt x="868680" y="831874"/>
                  </a:lnTo>
                  <a:lnTo>
                    <a:pt x="901065" y="854691"/>
                  </a:lnTo>
                  <a:lnTo>
                    <a:pt x="931545" y="874656"/>
                  </a:lnTo>
                  <a:lnTo>
                    <a:pt x="962977" y="890818"/>
                  </a:lnTo>
                  <a:lnTo>
                    <a:pt x="995363" y="905079"/>
                  </a:lnTo>
                  <a:lnTo>
                    <a:pt x="1030605" y="916487"/>
                  </a:lnTo>
                  <a:lnTo>
                    <a:pt x="1067752" y="925994"/>
                  </a:lnTo>
                  <a:lnTo>
                    <a:pt x="1106805" y="934551"/>
                  </a:lnTo>
                  <a:lnTo>
                    <a:pt x="1144905" y="940255"/>
                  </a:lnTo>
                  <a:lnTo>
                    <a:pt x="1178243" y="945009"/>
                  </a:lnTo>
                  <a:lnTo>
                    <a:pt x="1203960" y="947861"/>
                  </a:lnTo>
                  <a:lnTo>
                    <a:pt x="1220152" y="949762"/>
                  </a:lnTo>
                  <a:lnTo>
                    <a:pt x="1225868" y="949762"/>
                  </a:lnTo>
                  <a:lnTo>
                    <a:pt x="1226820" y="950713"/>
                  </a:lnTo>
                  <a:lnTo>
                    <a:pt x="1226820" y="713035"/>
                  </a:lnTo>
                  <a:lnTo>
                    <a:pt x="1224915" y="713035"/>
                  </a:lnTo>
                  <a:lnTo>
                    <a:pt x="1218248" y="712084"/>
                  </a:lnTo>
                  <a:lnTo>
                    <a:pt x="1201102" y="710183"/>
                  </a:lnTo>
                  <a:lnTo>
                    <a:pt x="1173480" y="707330"/>
                  </a:lnTo>
                  <a:lnTo>
                    <a:pt x="1139190" y="702577"/>
                  </a:lnTo>
                  <a:lnTo>
                    <a:pt x="1100138" y="695922"/>
                  </a:lnTo>
                  <a:lnTo>
                    <a:pt x="1062038" y="687365"/>
                  </a:lnTo>
                  <a:lnTo>
                    <a:pt x="1024890" y="676908"/>
                  </a:lnTo>
                  <a:lnTo>
                    <a:pt x="990600" y="665499"/>
                  </a:lnTo>
                  <a:lnTo>
                    <a:pt x="958215" y="651238"/>
                  </a:lnTo>
                  <a:lnTo>
                    <a:pt x="926783" y="634126"/>
                  </a:lnTo>
                  <a:lnTo>
                    <a:pt x="895350" y="614161"/>
                  </a:lnTo>
                  <a:lnTo>
                    <a:pt x="868680" y="594196"/>
                  </a:lnTo>
                  <a:lnTo>
                    <a:pt x="843915" y="574231"/>
                  </a:lnTo>
                  <a:lnTo>
                    <a:pt x="818198" y="552364"/>
                  </a:lnTo>
                  <a:lnTo>
                    <a:pt x="791527" y="528596"/>
                  </a:lnTo>
                  <a:lnTo>
                    <a:pt x="762952" y="501976"/>
                  </a:lnTo>
                  <a:lnTo>
                    <a:pt x="732473" y="473455"/>
                  </a:lnTo>
                  <a:lnTo>
                    <a:pt x="701993" y="443983"/>
                  </a:lnTo>
                  <a:lnTo>
                    <a:pt x="669608" y="412609"/>
                  </a:lnTo>
                  <a:lnTo>
                    <a:pt x="637223" y="380285"/>
                  </a:lnTo>
                  <a:lnTo>
                    <a:pt x="604838" y="347961"/>
                  </a:lnTo>
                  <a:lnTo>
                    <a:pt x="571500" y="315637"/>
                  </a:lnTo>
                  <a:lnTo>
                    <a:pt x="539115" y="284263"/>
                  </a:lnTo>
                  <a:lnTo>
                    <a:pt x="507683" y="252890"/>
                  </a:lnTo>
                  <a:lnTo>
                    <a:pt x="477202" y="224368"/>
                  </a:lnTo>
                  <a:lnTo>
                    <a:pt x="448627" y="196798"/>
                  </a:lnTo>
                  <a:lnTo>
                    <a:pt x="421005" y="172079"/>
                  </a:lnTo>
                  <a:lnTo>
                    <a:pt x="394335" y="149262"/>
                  </a:lnTo>
                  <a:lnTo>
                    <a:pt x="369570" y="128346"/>
                  </a:lnTo>
                  <a:lnTo>
                    <a:pt x="357188" y="118839"/>
                  </a:lnTo>
                  <a:lnTo>
                    <a:pt x="325755" y="96022"/>
                  </a:lnTo>
                  <a:lnTo>
                    <a:pt x="294323" y="76057"/>
                  </a:lnTo>
                  <a:lnTo>
                    <a:pt x="262890" y="58944"/>
                  </a:lnTo>
                  <a:lnTo>
                    <a:pt x="230505" y="45634"/>
                  </a:lnTo>
                  <a:lnTo>
                    <a:pt x="195263" y="34226"/>
                  </a:lnTo>
                  <a:lnTo>
                    <a:pt x="158115" y="24719"/>
                  </a:lnTo>
                  <a:lnTo>
                    <a:pt x="120015" y="16162"/>
                  </a:lnTo>
                  <a:lnTo>
                    <a:pt x="80963" y="9507"/>
                  </a:lnTo>
                  <a:lnTo>
                    <a:pt x="47625" y="5704"/>
                  </a:lnTo>
                  <a:lnTo>
                    <a:pt x="21908" y="1901"/>
                  </a:lnTo>
                  <a:lnTo>
                    <a:pt x="6667" y="951"/>
                  </a:lnTo>
                  <a:lnTo>
                    <a:pt x="0" y="0"/>
                  </a:lnTo>
                  <a:lnTo>
                    <a:pt x="0" y="0"/>
                  </a:lnTo>
                  <a:lnTo>
                    <a:pt x="0" y="237678"/>
                  </a:lnTo>
                  <a:close/>
                </a:path>
              </a:pathLst>
            </a:custGeom>
            <a:solidFill>
              <a:srgbClr val="831B55">
                <a:alpha val="60000"/>
              </a:srgbClr>
            </a:solidFill>
            <a:ln w="9525" cap="flat">
              <a:noFill/>
              <a:prstDash val="solid"/>
              <a:miter/>
            </a:ln>
          </p:spPr>
          <p:txBody>
            <a:bodyPr rtlCol="0" anchor="ctr"/>
            <a:lstStyle/>
            <a:p>
              <a:endParaRPr lang="en-US" sz="1050"/>
            </a:p>
          </p:txBody>
        </p:sp>
        <p:sp>
          <p:nvSpPr>
            <p:cNvPr id="147" name="Freeform 135">
              <a:extLst>
                <a:ext uri="{FF2B5EF4-FFF2-40B4-BE49-F238E27FC236}">
                  <a16:creationId xmlns:a16="http://schemas.microsoft.com/office/drawing/2014/main" id="{56F152F2-3047-F36D-05E5-E18A66E9004E}"/>
                </a:ext>
              </a:extLst>
            </p:cNvPr>
            <p:cNvSpPr/>
            <p:nvPr/>
          </p:nvSpPr>
          <p:spPr>
            <a:xfrm>
              <a:off x="2147856" y="2214624"/>
              <a:ext cx="1226820" cy="950712"/>
            </a:xfrm>
            <a:custGeom>
              <a:avLst/>
              <a:gdLst>
                <a:gd name="connsiteX0" fmla="*/ 0 w 1226820"/>
                <a:gd name="connsiteY0" fmla="*/ 237678 h 950712"/>
                <a:gd name="connsiteX1" fmla="*/ 953 w 1226820"/>
                <a:gd name="connsiteY1" fmla="*/ 237678 h 950712"/>
                <a:gd name="connsiteX2" fmla="*/ 8573 w 1226820"/>
                <a:gd name="connsiteY2" fmla="*/ 238629 h 950712"/>
                <a:gd name="connsiteX3" fmla="*/ 24765 w 1226820"/>
                <a:gd name="connsiteY3" fmla="*/ 240530 h 950712"/>
                <a:gd name="connsiteX4" fmla="*/ 52388 w 1226820"/>
                <a:gd name="connsiteY4" fmla="*/ 243383 h 950712"/>
                <a:gd name="connsiteX5" fmla="*/ 87630 w 1226820"/>
                <a:gd name="connsiteY5" fmla="*/ 248136 h 950712"/>
                <a:gd name="connsiteX6" fmla="*/ 125730 w 1226820"/>
                <a:gd name="connsiteY6" fmla="*/ 254791 h 950712"/>
                <a:gd name="connsiteX7" fmla="*/ 164783 w 1226820"/>
                <a:gd name="connsiteY7" fmla="*/ 263347 h 950712"/>
                <a:gd name="connsiteX8" fmla="*/ 200978 w 1226820"/>
                <a:gd name="connsiteY8" fmla="*/ 272855 h 950712"/>
                <a:gd name="connsiteX9" fmla="*/ 235267 w 1226820"/>
                <a:gd name="connsiteY9" fmla="*/ 285214 h 950712"/>
                <a:gd name="connsiteX10" fmla="*/ 267653 w 1226820"/>
                <a:gd name="connsiteY10" fmla="*/ 299475 h 950712"/>
                <a:gd name="connsiteX11" fmla="*/ 299085 w 1226820"/>
                <a:gd name="connsiteY11" fmla="*/ 316587 h 950712"/>
                <a:gd name="connsiteX12" fmla="*/ 330517 w 1226820"/>
                <a:gd name="connsiteY12" fmla="*/ 336552 h 950712"/>
                <a:gd name="connsiteX13" fmla="*/ 357188 w 1226820"/>
                <a:gd name="connsiteY13" fmla="*/ 356517 h 950712"/>
                <a:gd name="connsiteX14" fmla="*/ 381952 w 1226820"/>
                <a:gd name="connsiteY14" fmla="*/ 376482 h 950712"/>
                <a:gd name="connsiteX15" fmla="*/ 407670 w 1226820"/>
                <a:gd name="connsiteY15" fmla="*/ 398349 h 950712"/>
                <a:gd name="connsiteX16" fmla="*/ 435292 w 1226820"/>
                <a:gd name="connsiteY16" fmla="*/ 422117 h 950712"/>
                <a:gd name="connsiteX17" fmla="*/ 463867 w 1226820"/>
                <a:gd name="connsiteY17" fmla="*/ 448737 h 950712"/>
                <a:gd name="connsiteX18" fmla="*/ 493395 w 1226820"/>
                <a:gd name="connsiteY18" fmla="*/ 476307 h 950712"/>
                <a:gd name="connsiteX19" fmla="*/ 523875 w 1226820"/>
                <a:gd name="connsiteY19" fmla="*/ 506730 h 950712"/>
                <a:gd name="connsiteX20" fmla="*/ 556260 w 1226820"/>
                <a:gd name="connsiteY20" fmla="*/ 538104 h 950712"/>
                <a:gd name="connsiteX21" fmla="*/ 588645 w 1226820"/>
                <a:gd name="connsiteY21" fmla="*/ 570428 h 950712"/>
                <a:gd name="connsiteX22" fmla="*/ 621983 w 1226820"/>
                <a:gd name="connsiteY22" fmla="*/ 602752 h 950712"/>
                <a:gd name="connsiteX23" fmla="*/ 654368 w 1226820"/>
                <a:gd name="connsiteY23" fmla="*/ 635076 h 950712"/>
                <a:gd name="connsiteX24" fmla="*/ 686752 w 1226820"/>
                <a:gd name="connsiteY24" fmla="*/ 666450 h 950712"/>
                <a:gd name="connsiteX25" fmla="*/ 718185 w 1226820"/>
                <a:gd name="connsiteY25" fmla="*/ 696873 h 950712"/>
                <a:gd name="connsiteX26" fmla="*/ 748665 w 1226820"/>
                <a:gd name="connsiteY26" fmla="*/ 726345 h 950712"/>
                <a:gd name="connsiteX27" fmla="*/ 777240 w 1226820"/>
                <a:gd name="connsiteY27" fmla="*/ 753915 h 950712"/>
                <a:gd name="connsiteX28" fmla="*/ 805815 w 1226820"/>
                <a:gd name="connsiteY28" fmla="*/ 778634 h 950712"/>
                <a:gd name="connsiteX29" fmla="*/ 831533 w 1226820"/>
                <a:gd name="connsiteY29" fmla="*/ 801451 h 950712"/>
                <a:gd name="connsiteX30" fmla="*/ 857250 w 1226820"/>
                <a:gd name="connsiteY30" fmla="*/ 822367 h 950712"/>
                <a:gd name="connsiteX31" fmla="*/ 868680 w 1226820"/>
                <a:gd name="connsiteY31" fmla="*/ 831874 h 950712"/>
                <a:gd name="connsiteX32" fmla="*/ 901065 w 1226820"/>
                <a:gd name="connsiteY32" fmla="*/ 854691 h 950712"/>
                <a:gd name="connsiteX33" fmla="*/ 931545 w 1226820"/>
                <a:gd name="connsiteY33" fmla="*/ 874656 h 950712"/>
                <a:gd name="connsiteX34" fmla="*/ 962977 w 1226820"/>
                <a:gd name="connsiteY34" fmla="*/ 890818 h 950712"/>
                <a:gd name="connsiteX35" fmla="*/ 995363 w 1226820"/>
                <a:gd name="connsiteY35" fmla="*/ 905079 h 950712"/>
                <a:gd name="connsiteX36" fmla="*/ 1030605 w 1226820"/>
                <a:gd name="connsiteY36" fmla="*/ 916487 h 950712"/>
                <a:gd name="connsiteX37" fmla="*/ 1067752 w 1226820"/>
                <a:gd name="connsiteY37" fmla="*/ 925994 h 950712"/>
                <a:gd name="connsiteX38" fmla="*/ 1106805 w 1226820"/>
                <a:gd name="connsiteY38" fmla="*/ 934551 h 950712"/>
                <a:gd name="connsiteX39" fmla="*/ 1144905 w 1226820"/>
                <a:gd name="connsiteY39" fmla="*/ 940255 h 950712"/>
                <a:gd name="connsiteX40" fmla="*/ 1178243 w 1226820"/>
                <a:gd name="connsiteY40" fmla="*/ 945009 h 950712"/>
                <a:gd name="connsiteX41" fmla="*/ 1203960 w 1226820"/>
                <a:gd name="connsiteY41" fmla="*/ 947861 h 950712"/>
                <a:gd name="connsiteX42" fmla="*/ 1220152 w 1226820"/>
                <a:gd name="connsiteY42" fmla="*/ 949762 h 950712"/>
                <a:gd name="connsiteX43" fmla="*/ 1225868 w 1226820"/>
                <a:gd name="connsiteY43" fmla="*/ 949762 h 950712"/>
                <a:gd name="connsiteX44" fmla="*/ 1226820 w 1226820"/>
                <a:gd name="connsiteY44" fmla="*/ 950713 h 950712"/>
                <a:gd name="connsiteX45" fmla="*/ 1226820 w 1226820"/>
                <a:gd name="connsiteY45" fmla="*/ 713035 h 950712"/>
                <a:gd name="connsiteX46" fmla="*/ 1224915 w 1226820"/>
                <a:gd name="connsiteY46" fmla="*/ 713035 h 950712"/>
                <a:gd name="connsiteX47" fmla="*/ 1218248 w 1226820"/>
                <a:gd name="connsiteY47" fmla="*/ 712084 h 950712"/>
                <a:gd name="connsiteX48" fmla="*/ 1201102 w 1226820"/>
                <a:gd name="connsiteY48" fmla="*/ 710183 h 950712"/>
                <a:gd name="connsiteX49" fmla="*/ 1173480 w 1226820"/>
                <a:gd name="connsiteY49" fmla="*/ 707330 h 950712"/>
                <a:gd name="connsiteX50" fmla="*/ 1139190 w 1226820"/>
                <a:gd name="connsiteY50" fmla="*/ 702577 h 950712"/>
                <a:gd name="connsiteX51" fmla="*/ 1100138 w 1226820"/>
                <a:gd name="connsiteY51" fmla="*/ 695922 h 950712"/>
                <a:gd name="connsiteX52" fmla="*/ 1062038 w 1226820"/>
                <a:gd name="connsiteY52" fmla="*/ 687365 h 950712"/>
                <a:gd name="connsiteX53" fmla="*/ 1024890 w 1226820"/>
                <a:gd name="connsiteY53" fmla="*/ 676908 h 950712"/>
                <a:gd name="connsiteX54" fmla="*/ 990600 w 1226820"/>
                <a:gd name="connsiteY54" fmla="*/ 665499 h 950712"/>
                <a:gd name="connsiteX55" fmla="*/ 958215 w 1226820"/>
                <a:gd name="connsiteY55" fmla="*/ 651238 h 950712"/>
                <a:gd name="connsiteX56" fmla="*/ 926783 w 1226820"/>
                <a:gd name="connsiteY56" fmla="*/ 634126 h 950712"/>
                <a:gd name="connsiteX57" fmla="*/ 895350 w 1226820"/>
                <a:gd name="connsiteY57" fmla="*/ 614161 h 950712"/>
                <a:gd name="connsiteX58" fmla="*/ 868680 w 1226820"/>
                <a:gd name="connsiteY58" fmla="*/ 594196 h 950712"/>
                <a:gd name="connsiteX59" fmla="*/ 843915 w 1226820"/>
                <a:gd name="connsiteY59" fmla="*/ 574231 h 950712"/>
                <a:gd name="connsiteX60" fmla="*/ 818198 w 1226820"/>
                <a:gd name="connsiteY60" fmla="*/ 552364 h 950712"/>
                <a:gd name="connsiteX61" fmla="*/ 791527 w 1226820"/>
                <a:gd name="connsiteY61" fmla="*/ 528596 h 950712"/>
                <a:gd name="connsiteX62" fmla="*/ 762952 w 1226820"/>
                <a:gd name="connsiteY62" fmla="*/ 501976 h 950712"/>
                <a:gd name="connsiteX63" fmla="*/ 732473 w 1226820"/>
                <a:gd name="connsiteY63" fmla="*/ 473455 h 950712"/>
                <a:gd name="connsiteX64" fmla="*/ 701993 w 1226820"/>
                <a:gd name="connsiteY64" fmla="*/ 443983 h 950712"/>
                <a:gd name="connsiteX65" fmla="*/ 669608 w 1226820"/>
                <a:gd name="connsiteY65" fmla="*/ 412609 h 950712"/>
                <a:gd name="connsiteX66" fmla="*/ 637223 w 1226820"/>
                <a:gd name="connsiteY66" fmla="*/ 380285 h 950712"/>
                <a:gd name="connsiteX67" fmla="*/ 604838 w 1226820"/>
                <a:gd name="connsiteY67" fmla="*/ 347961 h 950712"/>
                <a:gd name="connsiteX68" fmla="*/ 571500 w 1226820"/>
                <a:gd name="connsiteY68" fmla="*/ 315637 h 950712"/>
                <a:gd name="connsiteX69" fmla="*/ 539115 w 1226820"/>
                <a:gd name="connsiteY69" fmla="*/ 284263 h 950712"/>
                <a:gd name="connsiteX70" fmla="*/ 507683 w 1226820"/>
                <a:gd name="connsiteY70" fmla="*/ 252890 h 950712"/>
                <a:gd name="connsiteX71" fmla="*/ 477202 w 1226820"/>
                <a:gd name="connsiteY71" fmla="*/ 224368 h 950712"/>
                <a:gd name="connsiteX72" fmla="*/ 448627 w 1226820"/>
                <a:gd name="connsiteY72" fmla="*/ 196798 h 950712"/>
                <a:gd name="connsiteX73" fmla="*/ 421005 w 1226820"/>
                <a:gd name="connsiteY73" fmla="*/ 172079 h 950712"/>
                <a:gd name="connsiteX74" fmla="*/ 394335 w 1226820"/>
                <a:gd name="connsiteY74" fmla="*/ 149262 h 950712"/>
                <a:gd name="connsiteX75" fmla="*/ 369570 w 1226820"/>
                <a:gd name="connsiteY75" fmla="*/ 128346 h 950712"/>
                <a:gd name="connsiteX76" fmla="*/ 357188 w 1226820"/>
                <a:gd name="connsiteY76" fmla="*/ 118839 h 950712"/>
                <a:gd name="connsiteX77" fmla="*/ 325755 w 1226820"/>
                <a:gd name="connsiteY77" fmla="*/ 96022 h 950712"/>
                <a:gd name="connsiteX78" fmla="*/ 294323 w 1226820"/>
                <a:gd name="connsiteY78" fmla="*/ 76057 h 950712"/>
                <a:gd name="connsiteX79" fmla="*/ 262890 w 1226820"/>
                <a:gd name="connsiteY79" fmla="*/ 58944 h 950712"/>
                <a:gd name="connsiteX80" fmla="*/ 230505 w 1226820"/>
                <a:gd name="connsiteY80" fmla="*/ 45634 h 950712"/>
                <a:gd name="connsiteX81" fmla="*/ 195263 w 1226820"/>
                <a:gd name="connsiteY81" fmla="*/ 34226 h 950712"/>
                <a:gd name="connsiteX82" fmla="*/ 158115 w 1226820"/>
                <a:gd name="connsiteY82" fmla="*/ 24719 h 950712"/>
                <a:gd name="connsiteX83" fmla="*/ 120015 w 1226820"/>
                <a:gd name="connsiteY83" fmla="*/ 16162 h 950712"/>
                <a:gd name="connsiteX84" fmla="*/ 80963 w 1226820"/>
                <a:gd name="connsiteY84" fmla="*/ 9507 h 950712"/>
                <a:gd name="connsiteX85" fmla="*/ 47625 w 1226820"/>
                <a:gd name="connsiteY85" fmla="*/ 5704 h 950712"/>
                <a:gd name="connsiteX86" fmla="*/ 21908 w 1226820"/>
                <a:gd name="connsiteY86" fmla="*/ 1901 h 950712"/>
                <a:gd name="connsiteX87" fmla="*/ 6667 w 1226820"/>
                <a:gd name="connsiteY87" fmla="*/ 951 h 950712"/>
                <a:gd name="connsiteX88" fmla="*/ 0 w 1226820"/>
                <a:gd name="connsiteY88" fmla="*/ 0 h 950712"/>
                <a:gd name="connsiteX89" fmla="*/ 0 w 1226820"/>
                <a:gd name="connsiteY89" fmla="*/ 0 h 950712"/>
                <a:gd name="connsiteX90" fmla="*/ 0 w 1226820"/>
                <a:gd name="connsiteY90" fmla="*/ 237678 h 950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226820" h="950712">
                  <a:moveTo>
                    <a:pt x="0" y="237678"/>
                  </a:moveTo>
                  <a:lnTo>
                    <a:pt x="953" y="237678"/>
                  </a:lnTo>
                  <a:lnTo>
                    <a:pt x="8573" y="238629"/>
                  </a:lnTo>
                  <a:lnTo>
                    <a:pt x="24765" y="240530"/>
                  </a:lnTo>
                  <a:lnTo>
                    <a:pt x="52388" y="243383"/>
                  </a:lnTo>
                  <a:lnTo>
                    <a:pt x="87630" y="248136"/>
                  </a:lnTo>
                  <a:lnTo>
                    <a:pt x="125730" y="254791"/>
                  </a:lnTo>
                  <a:lnTo>
                    <a:pt x="164783" y="263347"/>
                  </a:lnTo>
                  <a:lnTo>
                    <a:pt x="200978" y="272855"/>
                  </a:lnTo>
                  <a:lnTo>
                    <a:pt x="235267" y="285214"/>
                  </a:lnTo>
                  <a:lnTo>
                    <a:pt x="267653" y="299475"/>
                  </a:lnTo>
                  <a:lnTo>
                    <a:pt x="299085" y="316587"/>
                  </a:lnTo>
                  <a:lnTo>
                    <a:pt x="330517" y="336552"/>
                  </a:lnTo>
                  <a:lnTo>
                    <a:pt x="357188" y="356517"/>
                  </a:lnTo>
                  <a:lnTo>
                    <a:pt x="381952" y="376482"/>
                  </a:lnTo>
                  <a:lnTo>
                    <a:pt x="407670" y="398349"/>
                  </a:lnTo>
                  <a:lnTo>
                    <a:pt x="435292" y="422117"/>
                  </a:lnTo>
                  <a:lnTo>
                    <a:pt x="463867" y="448737"/>
                  </a:lnTo>
                  <a:lnTo>
                    <a:pt x="493395" y="476307"/>
                  </a:lnTo>
                  <a:lnTo>
                    <a:pt x="523875" y="506730"/>
                  </a:lnTo>
                  <a:lnTo>
                    <a:pt x="556260" y="538104"/>
                  </a:lnTo>
                  <a:lnTo>
                    <a:pt x="588645" y="570428"/>
                  </a:lnTo>
                  <a:lnTo>
                    <a:pt x="621983" y="602752"/>
                  </a:lnTo>
                  <a:lnTo>
                    <a:pt x="654368" y="635076"/>
                  </a:lnTo>
                  <a:lnTo>
                    <a:pt x="686752" y="666450"/>
                  </a:lnTo>
                  <a:lnTo>
                    <a:pt x="718185" y="696873"/>
                  </a:lnTo>
                  <a:lnTo>
                    <a:pt x="748665" y="726345"/>
                  </a:lnTo>
                  <a:lnTo>
                    <a:pt x="777240" y="753915"/>
                  </a:lnTo>
                  <a:lnTo>
                    <a:pt x="805815" y="778634"/>
                  </a:lnTo>
                  <a:lnTo>
                    <a:pt x="831533" y="801451"/>
                  </a:lnTo>
                  <a:lnTo>
                    <a:pt x="857250" y="822367"/>
                  </a:lnTo>
                  <a:lnTo>
                    <a:pt x="868680" y="831874"/>
                  </a:lnTo>
                  <a:lnTo>
                    <a:pt x="901065" y="854691"/>
                  </a:lnTo>
                  <a:lnTo>
                    <a:pt x="931545" y="874656"/>
                  </a:lnTo>
                  <a:lnTo>
                    <a:pt x="962977" y="890818"/>
                  </a:lnTo>
                  <a:lnTo>
                    <a:pt x="995363" y="905079"/>
                  </a:lnTo>
                  <a:lnTo>
                    <a:pt x="1030605" y="916487"/>
                  </a:lnTo>
                  <a:lnTo>
                    <a:pt x="1067752" y="925994"/>
                  </a:lnTo>
                  <a:lnTo>
                    <a:pt x="1106805" y="934551"/>
                  </a:lnTo>
                  <a:lnTo>
                    <a:pt x="1144905" y="940255"/>
                  </a:lnTo>
                  <a:lnTo>
                    <a:pt x="1178243" y="945009"/>
                  </a:lnTo>
                  <a:lnTo>
                    <a:pt x="1203960" y="947861"/>
                  </a:lnTo>
                  <a:lnTo>
                    <a:pt x="1220152" y="949762"/>
                  </a:lnTo>
                  <a:lnTo>
                    <a:pt x="1225868" y="949762"/>
                  </a:lnTo>
                  <a:lnTo>
                    <a:pt x="1226820" y="950713"/>
                  </a:lnTo>
                  <a:lnTo>
                    <a:pt x="1226820" y="713035"/>
                  </a:lnTo>
                  <a:lnTo>
                    <a:pt x="1224915" y="713035"/>
                  </a:lnTo>
                  <a:lnTo>
                    <a:pt x="1218248" y="712084"/>
                  </a:lnTo>
                  <a:lnTo>
                    <a:pt x="1201102" y="710183"/>
                  </a:lnTo>
                  <a:lnTo>
                    <a:pt x="1173480" y="707330"/>
                  </a:lnTo>
                  <a:lnTo>
                    <a:pt x="1139190" y="702577"/>
                  </a:lnTo>
                  <a:lnTo>
                    <a:pt x="1100138" y="695922"/>
                  </a:lnTo>
                  <a:lnTo>
                    <a:pt x="1062038" y="687365"/>
                  </a:lnTo>
                  <a:lnTo>
                    <a:pt x="1024890" y="676908"/>
                  </a:lnTo>
                  <a:lnTo>
                    <a:pt x="990600" y="665499"/>
                  </a:lnTo>
                  <a:lnTo>
                    <a:pt x="958215" y="651238"/>
                  </a:lnTo>
                  <a:lnTo>
                    <a:pt x="926783" y="634126"/>
                  </a:lnTo>
                  <a:lnTo>
                    <a:pt x="895350" y="614161"/>
                  </a:lnTo>
                  <a:lnTo>
                    <a:pt x="868680" y="594196"/>
                  </a:lnTo>
                  <a:lnTo>
                    <a:pt x="843915" y="574231"/>
                  </a:lnTo>
                  <a:lnTo>
                    <a:pt x="818198" y="552364"/>
                  </a:lnTo>
                  <a:lnTo>
                    <a:pt x="791527" y="528596"/>
                  </a:lnTo>
                  <a:lnTo>
                    <a:pt x="762952" y="501976"/>
                  </a:lnTo>
                  <a:lnTo>
                    <a:pt x="732473" y="473455"/>
                  </a:lnTo>
                  <a:lnTo>
                    <a:pt x="701993" y="443983"/>
                  </a:lnTo>
                  <a:lnTo>
                    <a:pt x="669608" y="412609"/>
                  </a:lnTo>
                  <a:lnTo>
                    <a:pt x="637223" y="380285"/>
                  </a:lnTo>
                  <a:lnTo>
                    <a:pt x="604838" y="347961"/>
                  </a:lnTo>
                  <a:lnTo>
                    <a:pt x="571500" y="315637"/>
                  </a:lnTo>
                  <a:lnTo>
                    <a:pt x="539115" y="284263"/>
                  </a:lnTo>
                  <a:lnTo>
                    <a:pt x="507683" y="252890"/>
                  </a:lnTo>
                  <a:lnTo>
                    <a:pt x="477202" y="224368"/>
                  </a:lnTo>
                  <a:lnTo>
                    <a:pt x="448627" y="196798"/>
                  </a:lnTo>
                  <a:lnTo>
                    <a:pt x="421005" y="172079"/>
                  </a:lnTo>
                  <a:lnTo>
                    <a:pt x="394335" y="149262"/>
                  </a:lnTo>
                  <a:lnTo>
                    <a:pt x="369570" y="128346"/>
                  </a:lnTo>
                  <a:lnTo>
                    <a:pt x="357188" y="118839"/>
                  </a:lnTo>
                  <a:lnTo>
                    <a:pt x="325755" y="96022"/>
                  </a:lnTo>
                  <a:lnTo>
                    <a:pt x="294323" y="76057"/>
                  </a:lnTo>
                  <a:lnTo>
                    <a:pt x="262890" y="58944"/>
                  </a:lnTo>
                  <a:lnTo>
                    <a:pt x="230505" y="45634"/>
                  </a:lnTo>
                  <a:lnTo>
                    <a:pt x="195263" y="34226"/>
                  </a:lnTo>
                  <a:lnTo>
                    <a:pt x="158115" y="24719"/>
                  </a:lnTo>
                  <a:lnTo>
                    <a:pt x="120015" y="16162"/>
                  </a:lnTo>
                  <a:lnTo>
                    <a:pt x="80963" y="9507"/>
                  </a:lnTo>
                  <a:lnTo>
                    <a:pt x="47625" y="5704"/>
                  </a:lnTo>
                  <a:lnTo>
                    <a:pt x="21908" y="1901"/>
                  </a:lnTo>
                  <a:lnTo>
                    <a:pt x="6667" y="951"/>
                  </a:lnTo>
                  <a:lnTo>
                    <a:pt x="0" y="0"/>
                  </a:lnTo>
                  <a:lnTo>
                    <a:pt x="0" y="0"/>
                  </a:lnTo>
                  <a:lnTo>
                    <a:pt x="0" y="237678"/>
                  </a:lnTo>
                  <a:close/>
                </a:path>
              </a:pathLst>
            </a:custGeom>
            <a:noFill/>
            <a:ln w="9525" cap="flat">
              <a:solidFill>
                <a:srgbClr val="831B55"/>
              </a:solidFill>
              <a:prstDash val="solid"/>
              <a:miter/>
            </a:ln>
          </p:spPr>
          <p:txBody>
            <a:bodyPr rtlCol="0" anchor="ctr"/>
            <a:lstStyle/>
            <a:p>
              <a:endParaRPr lang="en-US" sz="1050"/>
            </a:p>
          </p:txBody>
        </p:sp>
        <p:sp>
          <p:nvSpPr>
            <p:cNvPr id="148" name="Freeform 136">
              <a:extLst>
                <a:ext uri="{FF2B5EF4-FFF2-40B4-BE49-F238E27FC236}">
                  <a16:creationId xmlns:a16="http://schemas.microsoft.com/office/drawing/2014/main" id="{6A7834E2-A9B2-820F-5B3C-59612CA4F706}"/>
                </a:ext>
              </a:extLst>
            </p:cNvPr>
            <p:cNvSpPr/>
            <p:nvPr/>
          </p:nvSpPr>
          <p:spPr>
            <a:xfrm>
              <a:off x="2147856" y="2457056"/>
              <a:ext cx="1226820" cy="231023"/>
            </a:xfrm>
            <a:custGeom>
              <a:avLst/>
              <a:gdLst>
                <a:gd name="connsiteX0" fmla="*/ 0 w 1226820"/>
                <a:gd name="connsiteY0" fmla="*/ 231023 h 231023"/>
                <a:gd name="connsiteX1" fmla="*/ 953 w 1226820"/>
                <a:gd name="connsiteY1" fmla="*/ 231023 h 231023"/>
                <a:gd name="connsiteX2" fmla="*/ 8573 w 1226820"/>
                <a:gd name="connsiteY2" fmla="*/ 231023 h 231023"/>
                <a:gd name="connsiteX3" fmla="*/ 26670 w 1226820"/>
                <a:gd name="connsiteY3" fmla="*/ 231023 h 231023"/>
                <a:gd name="connsiteX4" fmla="*/ 56198 w 1226820"/>
                <a:gd name="connsiteY4" fmla="*/ 231023 h 231023"/>
                <a:gd name="connsiteX5" fmla="*/ 92392 w 1226820"/>
                <a:gd name="connsiteY5" fmla="*/ 231023 h 231023"/>
                <a:gd name="connsiteX6" fmla="*/ 132398 w 1226820"/>
                <a:gd name="connsiteY6" fmla="*/ 231023 h 231023"/>
                <a:gd name="connsiteX7" fmla="*/ 171450 w 1226820"/>
                <a:gd name="connsiteY7" fmla="*/ 231023 h 231023"/>
                <a:gd name="connsiteX8" fmla="*/ 208598 w 1226820"/>
                <a:gd name="connsiteY8" fmla="*/ 231023 h 231023"/>
                <a:gd name="connsiteX9" fmla="*/ 243840 w 1226820"/>
                <a:gd name="connsiteY9" fmla="*/ 231023 h 231023"/>
                <a:gd name="connsiteX10" fmla="*/ 276225 w 1226820"/>
                <a:gd name="connsiteY10" fmla="*/ 231023 h 231023"/>
                <a:gd name="connsiteX11" fmla="*/ 308610 w 1226820"/>
                <a:gd name="connsiteY11" fmla="*/ 231023 h 231023"/>
                <a:gd name="connsiteX12" fmla="*/ 340995 w 1226820"/>
                <a:gd name="connsiteY12" fmla="*/ 231023 h 231023"/>
                <a:gd name="connsiteX13" fmla="*/ 357188 w 1226820"/>
                <a:gd name="connsiteY13" fmla="*/ 231023 h 231023"/>
                <a:gd name="connsiteX14" fmla="*/ 386715 w 1226820"/>
                <a:gd name="connsiteY14" fmla="*/ 231023 h 231023"/>
                <a:gd name="connsiteX15" fmla="*/ 417195 w 1226820"/>
                <a:gd name="connsiteY15" fmla="*/ 231023 h 231023"/>
                <a:gd name="connsiteX16" fmla="*/ 449580 w 1226820"/>
                <a:gd name="connsiteY16" fmla="*/ 231023 h 231023"/>
                <a:gd name="connsiteX17" fmla="*/ 483870 w 1226820"/>
                <a:gd name="connsiteY17" fmla="*/ 231023 h 231023"/>
                <a:gd name="connsiteX18" fmla="*/ 519113 w 1226820"/>
                <a:gd name="connsiteY18" fmla="*/ 231023 h 231023"/>
                <a:gd name="connsiteX19" fmla="*/ 556260 w 1226820"/>
                <a:gd name="connsiteY19" fmla="*/ 231023 h 231023"/>
                <a:gd name="connsiteX20" fmla="*/ 594360 w 1226820"/>
                <a:gd name="connsiteY20" fmla="*/ 231023 h 231023"/>
                <a:gd name="connsiteX21" fmla="*/ 633413 w 1226820"/>
                <a:gd name="connsiteY21" fmla="*/ 231023 h 231023"/>
                <a:gd name="connsiteX22" fmla="*/ 671513 w 1226820"/>
                <a:gd name="connsiteY22" fmla="*/ 231023 h 231023"/>
                <a:gd name="connsiteX23" fmla="*/ 708660 w 1226820"/>
                <a:gd name="connsiteY23" fmla="*/ 231023 h 231023"/>
                <a:gd name="connsiteX24" fmla="*/ 743902 w 1226820"/>
                <a:gd name="connsiteY24" fmla="*/ 231023 h 231023"/>
                <a:gd name="connsiteX25" fmla="*/ 778193 w 1226820"/>
                <a:gd name="connsiteY25" fmla="*/ 231023 h 231023"/>
                <a:gd name="connsiteX26" fmla="*/ 810577 w 1226820"/>
                <a:gd name="connsiteY26" fmla="*/ 231023 h 231023"/>
                <a:gd name="connsiteX27" fmla="*/ 841058 w 1226820"/>
                <a:gd name="connsiteY27" fmla="*/ 231023 h 231023"/>
                <a:gd name="connsiteX28" fmla="*/ 868680 w 1226820"/>
                <a:gd name="connsiteY28" fmla="*/ 231023 h 231023"/>
                <a:gd name="connsiteX29" fmla="*/ 902018 w 1226820"/>
                <a:gd name="connsiteY29" fmla="*/ 231023 h 231023"/>
                <a:gd name="connsiteX30" fmla="*/ 933450 w 1226820"/>
                <a:gd name="connsiteY30" fmla="*/ 231023 h 231023"/>
                <a:gd name="connsiteX31" fmla="*/ 965835 w 1226820"/>
                <a:gd name="connsiteY31" fmla="*/ 231023 h 231023"/>
                <a:gd name="connsiteX32" fmla="*/ 999173 w 1226820"/>
                <a:gd name="connsiteY32" fmla="*/ 231023 h 231023"/>
                <a:gd name="connsiteX33" fmla="*/ 1035368 w 1226820"/>
                <a:gd name="connsiteY33" fmla="*/ 231023 h 231023"/>
                <a:gd name="connsiteX34" fmla="*/ 1073468 w 1226820"/>
                <a:gd name="connsiteY34" fmla="*/ 231023 h 231023"/>
                <a:gd name="connsiteX35" fmla="*/ 1113473 w 1226820"/>
                <a:gd name="connsiteY35" fmla="*/ 231023 h 231023"/>
                <a:gd name="connsiteX36" fmla="*/ 1152525 w 1226820"/>
                <a:gd name="connsiteY36" fmla="*/ 231023 h 231023"/>
                <a:gd name="connsiteX37" fmla="*/ 1185863 w 1226820"/>
                <a:gd name="connsiteY37" fmla="*/ 231023 h 231023"/>
                <a:gd name="connsiteX38" fmla="*/ 1209675 w 1226820"/>
                <a:gd name="connsiteY38" fmla="*/ 231023 h 231023"/>
                <a:gd name="connsiteX39" fmla="*/ 1222058 w 1226820"/>
                <a:gd name="connsiteY39" fmla="*/ 231023 h 231023"/>
                <a:gd name="connsiteX40" fmla="*/ 1225868 w 1226820"/>
                <a:gd name="connsiteY40" fmla="*/ 231023 h 231023"/>
                <a:gd name="connsiteX41" fmla="*/ 1226820 w 1226820"/>
                <a:gd name="connsiteY41" fmla="*/ 231023 h 231023"/>
                <a:gd name="connsiteX42" fmla="*/ 1226820 w 1226820"/>
                <a:gd name="connsiteY42" fmla="*/ 0 h 231023"/>
                <a:gd name="connsiteX43" fmla="*/ 1224915 w 1226820"/>
                <a:gd name="connsiteY43" fmla="*/ 0 h 231023"/>
                <a:gd name="connsiteX44" fmla="*/ 1217295 w 1226820"/>
                <a:gd name="connsiteY44" fmla="*/ 0 h 231023"/>
                <a:gd name="connsiteX45" fmla="*/ 1199198 w 1226820"/>
                <a:gd name="connsiteY45" fmla="*/ 0 h 231023"/>
                <a:gd name="connsiteX46" fmla="*/ 1170623 w 1226820"/>
                <a:gd name="connsiteY46" fmla="*/ 0 h 231023"/>
                <a:gd name="connsiteX47" fmla="*/ 1133475 w 1226820"/>
                <a:gd name="connsiteY47" fmla="*/ 0 h 231023"/>
                <a:gd name="connsiteX48" fmla="*/ 1094423 w 1226820"/>
                <a:gd name="connsiteY48" fmla="*/ 0 h 231023"/>
                <a:gd name="connsiteX49" fmla="*/ 1054418 w 1226820"/>
                <a:gd name="connsiteY49" fmla="*/ 0 h 231023"/>
                <a:gd name="connsiteX50" fmla="*/ 1017270 w 1226820"/>
                <a:gd name="connsiteY50" fmla="*/ 0 h 231023"/>
                <a:gd name="connsiteX51" fmla="*/ 982980 w 1226820"/>
                <a:gd name="connsiteY51" fmla="*/ 0 h 231023"/>
                <a:gd name="connsiteX52" fmla="*/ 949643 w 1226820"/>
                <a:gd name="connsiteY52" fmla="*/ 0 h 231023"/>
                <a:gd name="connsiteX53" fmla="*/ 918210 w 1226820"/>
                <a:gd name="connsiteY53" fmla="*/ 0 h 231023"/>
                <a:gd name="connsiteX54" fmla="*/ 885825 w 1226820"/>
                <a:gd name="connsiteY54" fmla="*/ 0 h 231023"/>
                <a:gd name="connsiteX55" fmla="*/ 868680 w 1226820"/>
                <a:gd name="connsiteY55" fmla="*/ 0 h 231023"/>
                <a:gd name="connsiteX56" fmla="*/ 840105 w 1226820"/>
                <a:gd name="connsiteY56" fmla="*/ 0 h 231023"/>
                <a:gd name="connsiteX57" fmla="*/ 809625 w 1226820"/>
                <a:gd name="connsiteY57" fmla="*/ 0 h 231023"/>
                <a:gd name="connsiteX58" fmla="*/ 777240 w 1226820"/>
                <a:gd name="connsiteY58" fmla="*/ 0 h 231023"/>
                <a:gd name="connsiteX59" fmla="*/ 742950 w 1226820"/>
                <a:gd name="connsiteY59" fmla="*/ 0 h 231023"/>
                <a:gd name="connsiteX60" fmla="*/ 706755 w 1226820"/>
                <a:gd name="connsiteY60" fmla="*/ 0 h 231023"/>
                <a:gd name="connsiteX61" fmla="*/ 669608 w 1226820"/>
                <a:gd name="connsiteY61" fmla="*/ 0 h 231023"/>
                <a:gd name="connsiteX62" fmla="*/ 631508 w 1226820"/>
                <a:gd name="connsiteY62" fmla="*/ 0 h 231023"/>
                <a:gd name="connsiteX63" fmla="*/ 593408 w 1226820"/>
                <a:gd name="connsiteY63" fmla="*/ 0 h 231023"/>
                <a:gd name="connsiteX64" fmla="*/ 555308 w 1226820"/>
                <a:gd name="connsiteY64" fmla="*/ 0 h 231023"/>
                <a:gd name="connsiteX65" fmla="*/ 517208 w 1226820"/>
                <a:gd name="connsiteY65" fmla="*/ 0 h 231023"/>
                <a:gd name="connsiteX66" fmla="*/ 481965 w 1226820"/>
                <a:gd name="connsiteY66" fmla="*/ 0 h 231023"/>
                <a:gd name="connsiteX67" fmla="*/ 447675 w 1226820"/>
                <a:gd name="connsiteY67" fmla="*/ 0 h 231023"/>
                <a:gd name="connsiteX68" fmla="*/ 415290 w 1226820"/>
                <a:gd name="connsiteY68" fmla="*/ 0 h 231023"/>
                <a:gd name="connsiteX69" fmla="*/ 384810 w 1226820"/>
                <a:gd name="connsiteY69" fmla="*/ 0 h 231023"/>
                <a:gd name="connsiteX70" fmla="*/ 357188 w 1226820"/>
                <a:gd name="connsiteY70" fmla="*/ 0 h 231023"/>
                <a:gd name="connsiteX71" fmla="*/ 324803 w 1226820"/>
                <a:gd name="connsiteY71" fmla="*/ 0 h 231023"/>
                <a:gd name="connsiteX72" fmla="*/ 292417 w 1226820"/>
                <a:gd name="connsiteY72" fmla="*/ 0 h 231023"/>
                <a:gd name="connsiteX73" fmla="*/ 260985 w 1226820"/>
                <a:gd name="connsiteY73" fmla="*/ 0 h 231023"/>
                <a:gd name="connsiteX74" fmla="*/ 226695 w 1226820"/>
                <a:gd name="connsiteY74" fmla="*/ 0 h 231023"/>
                <a:gd name="connsiteX75" fmla="*/ 190500 w 1226820"/>
                <a:gd name="connsiteY75" fmla="*/ 0 h 231023"/>
                <a:gd name="connsiteX76" fmla="*/ 152400 w 1226820"/>
                <a:gd name="connsiteY76" fmla="*/ 0 h 231023"/>
                <a:gd name="connsiteX77" fmla="*/ 112395 w 1226820"/>
                <a:gd name="connsiteY77" fmla="*/ 0 h 231023"/>
                <a:gd name="connsiteX78" fmla="*/ 73342 w 1226820"/>
                <a:gd name="connsiteY78" fmla="*/ 0 h 231023"/>
                <a:gd name="connsiteX79" fmla="*/ 40958 w 1226820"/>
                <a:gd name="connsiteY79" fmla="*/ 0 h 231023"/>
                <a:gd name="connsiteX80" fmla="*/ 17145 w 1226820"/>
                <a:gd name="connsiteY80" fmla="*/ 0 h 231023"/>
                <a:gd name="connsiteX81" fmla="*/ 3810 w 1226820"/>
                <a:gd name="connsiteY81" fmla="*/ 0 h 231023"/>
                <a:gd name="connsiteX82" fmla="*/ 0 w 1226820"/>
                <a:gd name="connsiteY82" fmla="*/ 0 h 231023"/>
                <a:gd name="connsiteX83" fmla="*/ 0 w 1226820"/>
                <a:gd name="connsiteY83" fmla="*/ 0 h 231023"/>
                <a:gd name="connsiteX84" fmla="*/ 0 w 1226820"/>
                <a:gd name="connsiteY84" fmla="*/ 231023 h 23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1023">
                  <a:moveTo>
                    <a:pt x="0" y="231023"/>
                  </a:moveTo>
                  <a:lnTo>
                    <a:pt x="953" y="231023"/>
                  </a:lnTo>
                  <a:lnTo>
                    <a:pt x="8573" y="231023"/>
                  </a:lnTo>
                  <a:lnTo>
                    <a:pt x="26670" y="231023"/>
                  </a:lnTo>
                  <a:lnTo>
                    <a:pt x="56198" y="231023"/>
                  </a:lnTo>
                  <a:lnTo>
                    <a:pt x="92392" y="231023"/>
                  </a:lnTo>
                  <a:lnTo>
                    <a:pt x="132398" y="231023"/>
                  </a:lnTo>
                  <a:lnTo>
                    <a:pt x="171450" y="231023"/>
                  </a:lnTo>
                  <a:lnTo>
                    <a:pt x="208598" y="231023"/>
                  </a:lnTo>
                  <a:lnTo>
                    <a:pt x="243840" y="231023"/>
                  </a:lnTo>
                  <a:lnTo>
                    <a:pt x="276225" y="231023"/>
                  </a:lnTo>
                  <a:lnTo>
                    <a:pt x="308610" y="231023"/>
                  </a:lnTo>
                  <a:lnTo>
                    <a:pt x="340995" y="231023"/>
                  </a:lnTo>
                  <a:lnTo>
                    <a:pt x="357188" y="231023"/>
                  </a:lnTo>
                  <a:lnTo>
                    <a:pt x="386715" y="231023"/>
                  </a:lnTo>
                  <a:lnTo>
                    <a:pt x="417195" y="231023"/>
                  </a:lnTo>
                  <a:lnTo>
                    <a:pt x="449580" y="231023"/>
                  </a:lnTo>
                  <a:lnTo>
                    <a:pt x="483870" y="231023"/>
                  </a:lnTo>
                  <a:lnTo>
                    <a:pt x="519113" y="231023"/>
                  </a:lnTo>
                  <a:lnTo>
                    <a:pt x="556260" y="231023"/>
                  </a:lnTo>
                  <a:lnTo>
                    <a:pt x="594360" y="231023"/>
                  </a:lnTo>
                  <a:lnTo>
                    <a:pt x="633413" y="231023"/>
                  </a:lnTo>
                  <a:lnTo>
                    <a:pt x="671513" y="231023"/>
                  </a:lnTo>
                  <a:lnTo>
                    <a:pt x="708660" y="231023"/>
                  </a:lnTo>
                  <a:lnTo>
                    <a:pt x="743902" y="231023"/>
                  </a:lnTo>
                  <a:lnTo>
                    <a:pt x="778193" y="231023"/>
                  </a:lnTo>
                  <a:lnTo>
                    <a:pt x="810577" y="231023"/>
                  </a:lnTo>
                  <a:lnTo>
                    <a:pt x="841058" y="231023"/>
                  </a:lnTo>
                  <a:lnTo>
                    <a:pt x="868680" y="231023"/>
                  </a:lnTo>
                  <a:lnTo>
                    <a:pt x="902018" y="231023"/>
                  </a:lnTo>
                  <a:lnTo>
                    <a:pt x="933450" y="231023"/>
                  </a:lnTo>
                  <a:lnTo>
                    <a:pt x="965835" y="231023"/>
                  </a:lnTo>
                  <a:lnTo>
                    <a:pt x="999173" y="231023"/>
                  </a:lnTo>
                  <a:lnTo>
                    <a:pt x="1035368" y="231023"/>
                  </a:lnTo>
                  <a:lnTo>
                    <a:pt x="1073468" y="231023"/>
                  </a:lnTo>
                  <a:lnTo>
                    <a:pt x="1113473" y="231023"/>
                  </a:lnTo>
                  <a:lnTo>
                    <a:pt x="1152525" y="231023"/>
                  </a:lnTo>
                  <a:lnTo>
                    <a:pt x="1185863" y="231023"/>
                  </a:lnTo>
                  <a:lnTo>
                    <a:pt x="1209675" y="231023"/>
                  </a:lnTo>
                  <a:lnTo>
                    <a:pt x="1222058" y="231023"/>
                  </a:lnTo>
                  <a:lnTo>
                    <a:pt x="1225868" y="231023"/>
                  </a:lnTo>
                  <a:lnTo>
                    <a:pt x="1226820" y="231023"/>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1023"/>
                  </a:lnTo>
                  <a:close/>
                </a:path>
              </a:pathLst>
            </a:custGeom>
            <a:noFill/>
            <a:ln w="9525" cap="flat">
              <a:solidFill>
                <a:srgbClr val="C1D42F"/>
              </a:solidFill>
              <a:prstDash val="solid"/>
              <a:miter/>
            </a:ln>
          </p:spPr>
          <p:txBody>
            <a:bodyPr rtlCol="0" anchor="ctr"/>
            <a:lstStyle/>
            <a:p>
              <a:endParaRPr lang="en-US" sz="1050"/>
            </a:p>
          </p:txBody>
        </p:sp>
        <p:sp>
          <p:nvSpPr>
            <p:cNvPr id="149" name="Freeform 137">
              <a:extLst>
                <a:ext uri="{FF2B5EF4-FFF2-40B4-BE49-F238E27FC236}">
                  <a16:creationId xmlns:a16="http://schemas.microsoft.com/office/drawing/2014/main" id="{4D288AF8-A153-0F82-1EB4-F76192E48445}"/>
                </a:ext>
              </a:extLst>
            </p:cNvPr>
            <p:cNvSpPr/>
            <p:nvPr/>
          </p:nvSpPr>
          <p:spPr>
            <a:xfrm>
              <a:off x="2147856" y="3165337"/>
              <a:ext cx="1226820" cy="236727"/>
            </a:xfrm>
            <a:custGeom>
              <a:avLst/>
              <a:gdLst>
                <a:gd name="connsiteX0" fmla="*/ 0 w 1226820"/>
                <a:gd name="connsiteY0" fmla="*/ 236728 h 236727"/>
                <a:gd name="connsiteX1" fmla="*/ 953 w 1226820"/>
                <a:gd name="connsiteY1" fmla="*/ 236728 h 236727"/>
                <a:gd name="connsiteX2" fmla="*/ 8573 w 1226820"/>
                <a:gd name="connsiteY2" fmla="*/ 236728 h 236727"/>
                <a:gd name="connsiteX3" fmla="*/ 26670 w 1226820"/>
                <a:gd name="connsiteY3" fmla="*/ 236728 h 236727"/>
                <a:gd name="connsiteX4" fmla="*/ 56198 w 1226820"/>
                <a:gd name="connsiteY4" fmla="*/ 236728 h 236727"/>
                <a:gd name="connsiteX5" fmla="*/ 92392 w 1226820"/>
                <a:gd name="connsiteY5" fmla="*/ 236728 h 236727"/>
                <a:gd name="connsiteX6" fmla="*/ 132398 w 1226820"/>
                <a:gd name="connsiteY6" fmla="*/ 236728 h 236727"/>
                <a:gd name="connsiteX7" fmla="*/ 171450 w 1226820"/>
                <a:gd name="connsiteY7" fmla="*/ 236728 h 236727"/>
                <a:gd name="connsiteX8" fmla="*/ 208598 w 1226820"/>
                <a:gd name="connsiteY8" fmla="*/ 236728 h 236727"/>
                <a:gd name="connsiteX9" fmla="*/ 243840 w 1226820"/>
                <a:gd name="connsiteY9" fmla="*/ 236728 h 236727"/>
                <a:gd name="connsiteX10" fmla="*/ 276225 w 1226820"/>
                <a:gd name="connsiteY10" fmla="*/ 236728 h 236727"/>
                <a:gd name="connsiteX11" fmla="*/ 308610 w 1226820"/>
                <a:gd name="connsiteY11" fmla="*/ 236728 h 236727"/>
                <a:gd name="connsiteX12" fmla="*/ 340995 w 1226820"/>
                <a:gd name="connsiteY12" fmla="*/ 236728 h 236727"/>
                <a:gd name="connsiteX13" fmla="*/ 357188 w 1226820"/>
                <a:gd name="connsiteY13" fmla="*/ 236728 h 236727"/>
                <a:gd name="connsiteX14" fmla="*/ 386715 w 1226820"/>
                <a:gd name="connsiteY14" fmla="*/ 236728 h 236727"/>
                <a:gd name="connsiteX15" fmla="*/ 417195 w 1226820"/>
                <a:gd name="connsiteY15" fmla="*/ 236728 h 236727"/>
                <a:gd name="connsiteX16" fmla="*/ 449580 w 1226820"/>
                <a:gd name="connsiteY16" fmla="*/ 236728 h 236727"/>
                <a:gd name="connsiteX17" fmla="*/ 483870 w 1226820"/>
                <a:gd name="connsiteY17" fmla="*/ 236728 h 236727"/>
                <a:gd name="connsiteX18" fmla="*/ 519113 w 1226820"/>
                <a:gd name="connsiteY18" fmla="*/ 236728 h 236727"/>
                <a:gd name="connsiteX19" fmla="*/ 556260 w 1226820"/>
                <a:gd name="connsiteY19" fmla="*/ 236728 h 236727"/>
                <a:gd name="connsiteX20" fmla="*/ 594360 w 1226820"/>
                <a:gd name="connsiteY20" fmla="*/ 236728 h 236727"/>
                <a:gd name="connsiteX21" fmla="*/ 633413 w 1226820"/>
                <a:gd name="connsiteY21" fmla="*/ 236728 h 236727"/>
                <a:gd name="connsiteX22" fmla="*/ 671513 w 1226820"/>
                <a:gd name="connsiteY22" fmla="*/ 236728 h 236727"/>
                <a:gd name="connsiteX23" fmla="*/ 708660 w 1226820"/>
                <a:gd name="connsiteY23" fmla="*/ 236728 h 236727"/>
                <a:gd name="connsiteX24" fmla="*/ 743902 w 1226820"/>
                <a:gd name="connsiteY24" fmla="*/ 236728 h 236727"/>
                <a:gd name="connsiteX25" fmla="*/ 778193 w 1226820"/>
                <a:gd name="connsiteY25" fmla="*/ 236728 h 236727"/>
                <a:gd name="connsiteX26" fmla="*/ 810577 w 1226820"/>
                <a:gd name="connsiteY26" fmla="*/ 236728 h 236727"/>
                <a:gd name="connsiteX27" fmla="*/ 841058 w 1226820"/>
                <a:gd name="connsiteY27" fmla="*/ 236728 h 236727"/>
                <a:gd name="connsiteX28" fmla="*/ 868680 w 1226820"/>
                <a:gd name="connsiteY28" fmla="*/ 236728 h 236727"/>
                <a:gd name="connsiteX29" fmla="*/ 902018 w 1226820"/>
                <a:gd name="connsiteY29" fmla="*/ 236728 h 236727"/>
                <a:gd name="connsiteX30" fmla="*/ 933450 w 1226820"/>
                <a:gd name="connsiteY30" fmla="*/ 236728 h 236727"/>
                <a:gd name="connsiteX31" fmla="*/ 965835 w 1226820"/>
                <a:gd name="connsiteY31" fmla="*/ 236728 h 236727"/>
                <a:gd name="connsiteX32" fmla="*/ 999173 w 1226820"/>
                <a:gd name="connsiteY32" fmla="*/ 236728 h 236727"/>
                <a:gd name="connsiteX33" fmla="*/ 1035368 w 1226820"/>
                <a:gd name="connsiteY33" fmla="*/ 236728 h 236727"/>
                <a:gd name="connsiteX34" fmla="*/ 1073468 w 1226820"/>
                <a:gd name="connsiteY34" fmla="*/ 236728 h 236727"/>
                <a:gd name="connsiteX35" fmla="*/ 1113473 w 1226820"/>
                <a:gd name="connsiteY35" fmla="*/ 236728 h 236727"/>
                <a:gd name="connsiteX36" fmla="*/ 1152525 w 1226820"/>
                <a:gd name="connsiteY36" fmla="*/ 236728 h 236727"/>
                <a:gd name="connsiteX37" fmla="*/ 1185863 w 1226820"/>
                <a:gd name="connsiteY37" fmla="*/ 236728 h 236727"/>
                <a:gd name="connsiteX38" fmla="*/ 1209675 w 1226820"/>
                <a:gd name="connsiteY38" fmla="*/ 236728 h 236727"/>
                <a:gd name="connsiteX39" fmla="*/ 1222058 w 1226820"/>
                <a:gd name="connsiteY39" fmla="*/ 236728 h 236727"/>
                <a:gd name="connsiteX40" fmla="*/ 1225868 w 1226820"/>
                <a:gd name="connsiteY40" fmla="*/ 236728 h 236727"/>
                <a:gd name="connsiteX41" fmla="*/ 1226820 w 1226820"/>
                <a:gd name="connsiteY41" fmla="*/ 236728 h 236727"/>
                <a:gd name="connsiteX42" fmla="*/ 1226820 w 1226820"/>
                <a:gd name="connsiteY42" fmla="*/ 0 h 236727"/>
                <a:gd name="connsiteX43" fmla="*/ 1224915 w 1226820"/>
                <a:gd name="connsiteY43" fmla="*/ 0 h 236727"/>
                <a:gd name="connsiteX44" fmla="*/ 1217295 w 1226820"/>
                <a:gd name="connsiteY44" fmla="*/ 0 h 236727"/>
                <a:gd name="connsiteX45" fmla="*/ 1199198 w 1226820"/>
                <a:gd name="connsiteY45" fmla="*/ 0 h 236727"/>
                <a:gd name="connsiteX46" fmla="*/ 1170623 w 1226820"/>
                <a:gd name="connsiteY46" fmla="*/ 0 h 236727"/>
                <a:gd name="connsiteX47" fmla="*/ 1133475 w 1226820"/>
                <a:gd name="connsiteY47" fmla="*/ 0 h 236727"/>
                <a:gd name="connsiteX48" fmla="*/ 1094423 w 1226820"/>
                <a:gd name="connsiteY48" fmla="*/ 0 h 236727"/>
                <a:gd name="connsiteX49" fmla="*/ 1054418 w 1226820"/>
                <a:gd name="connsiteY49" fmla="*/ 0 h 236727"/>
                <a:gd name="connsiteX50" fmla="*/ 1017270 w 1226820"/>
                <a:gd name="connsiteY50" fmla="*/ 0 h 236727"/>
                <a:gd name="connsiteX51" fmla="*/ 982980 w 1226820"/>
                <a:gd name="connsiteY51" fmla="*/ 0 h 236727"/>
                <a:gd name="connsiteX52" fmla="*/ 949643 w 1226820"/>
                <a:gd name="connsiteY52" fmla="*/ 0 h 236727"/>
                <a:gd name="connsiteX53" fmla="*/ 918210 w 1226820"/>
                <a:gd name="connsiteY53" fmla="*/ 0 h 236727"/>
                <a:gd name="connsiteX54" fmla="*/ 885825 w 1226820"/>
                <a:gd name="connsiteY54" fmla="*/ 0 h 236727"/>
                <a:gd name="connsiteX55" fmla="*/ 868680 w 1226820"/>
                <a:gd name="connsiteY55" fmla="*/ 0 h 236727"/>
                <a:gd name="connsiteX56" fmla="*/ 840105 w 1226820"/>
                <a:gd name="connsiteY56" fmla="*/ 0 h 236727"/>
                <a:gd name="connsiteX57" fmla="*/ 809625 w 1226820"/>
                <a:gd name="connsiteY57" fmla="*/ 0 h 236727"/>
                <a:gd name="connsiteX58" fmla="*/ 777240 w 1226820"/>
                <a:gd name="connsiteY58" fmla="*/ 0 h 236727"/>
                <a:gd name="connsiteX59" fmla="*/ 742950 w 1226820"/>
                <a:gd name="connsiteY59" fmla="*/ 0 h 236727"/>
                <a:gd name="connsiteX60" fmla="*/ 706755 w 1226820"/>
                <a:gd name="connsiteY60" fmla="*/ 0 h 236727"/>
                <a:gd name="connsiteX61" fmla="*/ 669608 w 1226820"/>
                <a:gd name="connsiteY61" fmla="*/ 0 h 236727"/>
                <a:gd name="connsiteX62" fmla="*/ 631508 w 1226820"/>
                <a:gd name="connsiteY62" fmla="*/ 0 h 236727"/>
                <a:gd name="connsiteX63" fmla="*/ 593408 w 1226820"/>
                <a:gd name="connsiteY63" fmla="*/ 0 h 236727"/>
                <a:gd name="connsiteX64" fmla="*/ 555308 w 1226820"/>
                <a:gd name="connsiteY64" fmla="*/ 0 h 236727"/>
                <a:gd name="connsiteX65" fmla="*/ 517208 w 1226820"/>
                <a:gd name="connsiteY65" fmla="*/ 0 h 236727"/>
                <a:gd name="connsiteX66" fmla="*/ 481965 w 1226820"/>
                <a:gd name="connsiteY66" fmla="*/ 0 h 236727"/>
                <a:gd name="connsiteX67" fmla="*/ 447675 w 1226820"/>
                <a:gd name="connsiteY67" fmla="*/ 0 h 236727"/>
                <a:gd name="connsiteX68" fmla="*/ 415290 w 1226820"/>
                <a:gd name="connsiteY68" fmla="*/ 0 h 236727"/>
                <a:gd name="connsiteX69" fmla="*/ 384810 w 1226820"/>
                <a:gd name="connsiteY69" fmla="*/ 0 h 236727"/>
                <a:gd name="connsiteX70" fmla="*/ 357188 w 1226820"/>
                <a:gd name="connsiteY70" fmla="*/ 0 h 236727"/>
                <a:gd name="connsiteX71" fmla="*/ 324803 w 1226820"/>
                <a:gd name="connsiteY71" fmla="*/ 0 h 236727"/>
                <a:gd name="connsiteX72" fmla="*/ 292417 w 1226820"/>
                <a:gd name="connsiteY72" fmla="*/ 0 h 236727"/>
                <a:gd name="connsiteX73" fmla="*/ 260985 w 1226820"/>
                <a:gd name="connsiteY73" fmla="*/ 0 h 236727"/>
                <a:gd name="connsiteX74" fmla="*/ 226695 w 1226820"/>
                <a:gd name="connsiteY74" fmla="*/ 0 h 236727"/>
                <a:gd name="connsiteX75" fmla="*/ 190500 w 1226820"/>
                <a:gd name="connsiteY75" fmla="*/ 0 h 236727"/>
                <a:gd name="connsiteX76" fmla="*/ 152400 w 1226820"/>
                <a:gd name="connsiteY76" fmla="*/ 0 h 236727"/>
                <a:gd name="connsiteX77" fmla="*/ 112395 w 1226820"/>
                <a:gd name="connsiteY77" fmla="*/ 0 h 236727"/>
                <a:gd name="connsiteX78" fmla="*/ 73342 w 1226820"/>
                <a:gd name="connsiteY78" fmla="*/ 0 h 236727"/>
                <a:gd name="connsiteX79" fmla="*/ 40958 w 1226820"/>
                <a:gd name="connsiteY79" fmla="*/ 0 h 236727"/>
                <a:gd name="connsiteX80" fmla="*/ 17145 w 1226820"/>
                <a:gd name="connsiteY80" fmla="*/ 0 h 236727"/>
                <a:gd name="connsiteX81" fmla="*/ 3810 w 1226820"/>
                <a:gd name="connsiteY81" fmla="*/ 0 h 236727"/>
                <a:gd name="connsiteX82" fmla="*/ 0 w 1226820"/>
                <a:gd name="connsiteY82" fmla="*/ 0 h 236727"/>
                <a:gd name="connsiteX83" fmla="*/ 0 w 1226820"/>
                <a:gd name="connsiteY83" fmla="*/ 0 h 236727"/>
                <a:gd name="connsiteX84" fmla="*/ 0 w 1226820"/>
                <a:gd name="connsiteY84" fmla="*/ 236728 h 2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6727">
                  <a:moveTo>
                    <a:pt x="0" y="236728"/>
                  </a:moveTo>
                  <a:lnTo>
                    <a:pt x="953" y="236728"/>
                  </a:lnTo>
                  <a:lnTo>
                    <a:pt x="8573" y="236728"/>
                  </a:lnTo>
                  <a:lnTo>
                    <a:pt x="26670" y="236728"/>
                  </a:lnTo>
                  <a:lnTo>
                    <a:pt x="56198" y="236728"/>
                  </a:lnTo>
                  <a:lnTo>
                    <a:pt x="92392" y="236728"/>
                  </a:lnTo>
                  <a:lnTo>
                    <a:pt x="132398" y="236728"/>
                  </a:lnTo>
                  <a:lnTo>
                    <a:pt x="171450" y="236728"/>
                  </a:lnTo>
                  <a:lnTo>
                    <a:pt x="208598" y="236728"/>
                  </a:lnTo>
                  <a:lnTo>
                    <a:pt x="243840" y="236728"/>
                  </a:lnTo>
                  <a:lnTo>
                    <a:pt x="276225" y="236728"/>
                  </a:lnTo>
                  <a:lnTo>
                    <a:pt x="308610" y="236728"/>
                  </a:lnTo>
                  <a:lnTo>
                    <a:pt x="340995" y="236728"/>
                  </a:lnTo>
                  <a:lnTo>
                    <a:pt x="357188" y="236728"/>
                  </a:lnTo>
                  <a:lnTo>
                    <a:pt x="386715" y="236728"/>
                  </a:lnTo>
                  <a:lnTo>
                    <a:pt x="417195" y="236728"/>
                  </a:lnTo>
                  <a:lnTo>
                    <a:pt x="449580" y="236728"/>
                  </a:lnTo>
                  <a:lnTo>
                    <a:pt x="483870" y="236728"/>
                  </a:lnTo>
                  <a:lnTo>
                    <a:pt x="519113" y="236728"/>
                  </a:lnTo>
                  <a:lnTo>
                    <a:pt x="556260" y="236728"/>
                  </a:lnTo>
                  <a:lnTo>
                    <a:pt x="594360" y="236728"/>
                  </a:lnTo>
                  <a:lnTo>
                    <a:pt x="633413" y="236728"/>
                  </a:lnTo>
                  <a:lnTo>
                    <a:pt x="671513" y="236728"/>
                  </a:lnTo>
                  <a:lnTo>
                    <a:pt x="708660" y="236728"/>
                  </a:lnTo>
                  <a:lnTo>
                    <a:pt x="743902" y="236728"/>
                  </a:lnTo>
                  <a:lnTo>
                    <a:pt x="778193" y="236728"/>
                  </a:lnTo>
                  <a:lnTo>
                    <a:pt x="810577" y="236728"/>
                  </a:lnTo>
                  <a:lnTo>
                    <a:pt x="841058" y="236728"/>
                  </a:lnTo>
                  <a:lnTo>
                    <a:pt x="868680" y="236728"/>
                  </a:lnTo>
                  <a:lnTo>
                    <a:pt x="902018" y="236728"/>
                  </a:lnTo>
                  <a:lnTo>
                    <a:pt x="933450" y="236728"/>
                  </a:lnTo>
                  <a:lnTo>
                    <a:pt x="965835" y="236728"/>
                  </a:lnTo>
                  <a:lnTo>
                    <a:pt x="999173" y="236728"/>
                  </a:lnTo>
                  <a:lnTo>
                    <a:pt x="1035368" y="236728"/>
                  </a:lnTo>
                  <a:lnTo>
                    <a:pt x="1073468" y="236728"/>
                  </a:lnTo>
                  <a:lnTo>
                    <a:pt x="1113473" y="236728"/>
                  </a:lnTo>
                  <a:lnTo>
                    <a:pt x="1152525" y="236728"/>
                  </a:lnTo>
                  <a:lnTo>
                    <a:pt x="1185863" y="236728"/>
                  </a:lnTo>
                  <a:lnTo>
                    <a:pt x="1209675" y="236728"/>
                  </a:lnTo>
                  <a:lnTo>
                    <a:pt x="1222058" y="236728"/>
                  </a:lnTo>
                  <a:lnTo>
                    <a:pt x="1225868" y="236728"/>
                  </a:lnTo>
                  <a:lnTo>
                    <a:pt x="1226820" y="236728"/>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6728"/>
                  </a:lnTo>
                  <a:close/>
                </a:path>
              </a:pathLst>
            </a:custGeom>
            <a:solidFill>
              <a:srgbClr val="BBBDBF">
                <a:alpha val="60000"/>
              </a:srgbClr>
            </a:solidFill>
            <a:ln w="9525" cap="flat">
              <a:noFill/>
              <a:prstDash val="solid"/>
              <a:miter/>
            </a:ln>
          </p:spPr>
          <p:txBody>
            <a:bodyPr rtlCol="0" anchor="ctr"/>
            <a:lstStyle/>
            <a:p>
              <a:endParaRPr lang="en-US" sz="1050"/>
            </a:p>
          </p:txBody>
        </p:sp>
        <p:sp>
          <p:nvSpPr>
            <p:cNvPr id="150" name="Freeform 138">
              <a:extLst>
                <a:ext uri="{FF2B5EF4-FFF2-40B4-BE49-F238E27FC236}">
                  <a16:creationId xmlns:a16="http://schemas.microsoft.com/office/drawing/2014/main" id="{775274BA-2281-4FA1-702A-FE565D1632E6}"/>
                </a:ext>
              </a:extLst>
            </p:cNvPr>
            <p:cNvSpPr/>
            <p:nvPr/>
          </p:nvSpPr>
          <p:spPr>
            <a:xfrm>
              <a:off x="2147856" y="3165337"/>
              <a:ext cx="1226820" cy="236727"/>
            </a:xfrm>
            <a:custGeom>
              <a:avLst/>
              <a:gdLst>
                <a:gd name="connsiteX0" fmla="*/ 0 w 1226820"/>
                <a:gd name="connsiteY0" fmla="*/ 236728 h 236727"/>
                <a:gd name="connsiteX1" fmla="*/ 953 w 1226820"/>
                <a:gd name="connsiteY1" fmla="*/ 236728 h 236727"/>
                <a:gd name="connsiteX2" fmla="*/ 8573 w 1226820"/>
                <a:gd name="connsiteY2" fmla="*/ 236728 h 236727"/>
                <a:gd name="connsiteX3" fmla="*/ 26670 w 1226820"/>
                <a:gd name="connsiteY3" fmla="*/ 236728 h 236727"/>
                <a:gd name="connsiteX4" fmla="*/ 56198 w 1226820"/>
                <a:gd name="connsiteY4" fmla="*/ 236728 h 236727"/>
                <a:gd name="connsiteX5" fmla="*/ 92392 w 1226820"/>
                <a:gd name="connsiteY5" fmla="*/ 236728 h 236727"/>
                <a:gd name="connsiteX6" fmla="*/ 132398 w 1226820"/>
                <a:gd name="connsiteY6" fmla="*/ 236728 h 236727"/>
                <a:gd name="connsiteX7" fmla="*/ 171450 w 1226820"/>
                <a:gd name="connsiteY7" fmla="*/ 236728 h 236727"/>
                <a:gd name="connsiteX8" fmla="*/ 208598 w 1226820"/>
                <a:gd name="connsiteY8" fmla="*/ 236728 h 236727"/>
                <a:gd name="connsiteX9" fmla="*/ 243840 w 1226820"/>
                <a:gd name="connsiteY9" fmla="*/ 236728 h 236727"/>
                <a:gd name="connsiteX10" fmla="*/ 276225 w 1226820"/>
                <a:gd name="connsiteY10" fmla="*/ 236728 h 236727"/>
                <a:gd name="connsiteX11" fmla="*/ 308610 w 1226820"/>
                <a:gd name="connsiteY11" fmla="*/ 236728 h 236727"/>
                <a:gd name="connsiteX12" fmla="*/ 340995 w 1226820"/>
                <a:gd name="connsiteY12" fmla="*/ 236728 h 236727"/>
                <a:gd name="connsiteX13" fmla="*/ 357188 w 1226820"/>
                <a:gd name="connsiteY13" fmla="*/ 236728 h 236727"/>
                <a:gd name="connsiteX14" fmla="*/ 386715 w 1226820"/>
                <a:gd name="connsiteY14" fmla="*/ 236728 h 236727"/>
                <a:gd name="connsiteX15" fmla="*/ 417195 w 1226820"/>
                <a:gd name="connsiteY15" fmla="*/ 236728 h 236727"/>
                <a:gd name="connsiteX16" fmla="*/ 449580 w 1226820"/>
                <a:gd name="connsiteY16" fmla="*/ 236728 h 236727"/>
                <a:gd name="connsiteX17" fmla="*/ 483870 w 1226820"/>
                <a:gd name="connsiteY17" fmla="*/ 236728 h 236727"/>
                <a:gd name="connsiteX18" fmla="*/ 519113 w 1226820"/>
                <a:gd name="connsiteY18" fmla="*/ 236728 h 236727"/>
                <a:gd name="connsiteX19" fmla="*/ 556260 w 1226820"/>
                <a:gd name="connsiteY19" fmla="*/ 236728 h 236727"/>
                <a:gd name="connsiteX20" fmla="*/ 594360 w 1226820"/>
                <a:gd name="connsiteY20" fmla="*/ 236728 h 236727"/>
                <a:gd name="connsiteX21" fmla="*/ 633413 w 1226820"/>
                <a:gd name="connsiteY21" fmla="*/ 236728 h 236727"/>
                <a:gd name="connsiteX22" fmla="*/ 671513 w 1226820"/>
                <a:gd name="connsiteY22" fmla="*/ 236728 h 236727"/>
                <a:gd name="connsiteX23" fmla="*/ 708660 w 1226820"/>
                <a:gd name="connsiteY23" fmla="*/ 236728 h 236727"/>
                <a:gd name="connsiteX24" fmla="*/ 743902 w 1226820"/>
                <a:gd name="connsiteY24" fmla="*/ 236728 h 236727"/>
                <a:gd name="connsiteX25" fmla="*/ 778193 w 1226820"/>
                <a:gd name="connsiteY25" fmla="*/ 236728 h 236727"/>
                <a:gd name="connsiteX26" fmla="*/ 810577 w 1226820"/>
                <a:gd name="connsiteY26" fmla="*/ 236728 h 236727"/>
                <a:gd name="connsiteX27" fmla="*/ 841058 w 1226820"/>
                <a:gd name="connsiteY27" fmla="*/ 236728 h 236727"/>
                <a:gd name="connsiteX28" fmla="*/ 868680 w 1226820"/>
                <a:gd name="connsiteY28" fmla="*/ 236728 h 236727"/>
                <a:gd name="connsiteX29" fmla="*/ 902018 w 1226820"/>
                <a:gd name="connsiteY29" fmla="*/ 236728 h 236727"/>
                <a:gd name="connsiteX30" fmla="*/ 933450 w 1226820"/>
                <a:gd name="connsiteY30" fmla="*/ 236728 h 236727"/>
                <a:gd name="connsiteX31" fmla="*/ 965835 w 1226820"/>
                <a:gd name="connsiteY31" fmla="*/ 236728 h 236727"/>
                <a:gd name="connsiteX32" fmla="*/ 999173 w 1226820"/>
                <a:gd name="connsiteY32" fmla="*/ 236728 h 236727"/>
                <a:gd name="connsiteX33" fmla="*/ 1035368 w 1226820"/>
                <a:gd name="connsiteY33" fmla="*/ 236728 h 236727"/>
                <a:gd name="connsiteX34" fmla="*/ 1073468 w 1226820"/>
                <a:gd name="connsiteY34" fmla="*/ 236728 h 236727"/>
                <a:gd name="connsiteX35" fmla="*/ 1113473 w 1226820"/>
                <a:gd name="connsiteY35" fmla="*/ 236728 h 236727"/>
                <a:gd name="connsiteX36" fmla="*/ 1152525 w 1226820"/>
                <a:gd name="connsiteY36" fmla="*/ 236728 h 236727"/>
                <a:gd name="connsiteX37" fmla="*/ 1185863 w 1226820"/>
                <a:gd name="connsiteY37" fmla="*/ 236728 h 236727"/>
                <a:gd name="connsiteX38" fmla="*/ 1209675 w 1226820"/>
                <a:gd name="connsiteY38" fmla="*/ 236728 h 236727"/>
                <a:gd name="connsiteX39" fmla="*/ 1222058 w 1226820"/>
                <a:gd name="connsiteY39" fmla="*/ 236728 h 236727"/>
                <a:gd name="connsiteX40" fmla="*/ 1225868 w 1226820"/>
                <a:gd name="connsiteY40" fmla="*/ 236728 h 236727"/>
                <a:gd name="connsiteX41" fmla="*/ 1226820 w 1226820"/>
                <a:gd name="connsiteY41" fmla="*/ 236728 h 236727"/>
                <a:gd name="connsiteX42" fmla="*/ 1226820 w 1226820"/>
                <a:gd name="connsiteY42" fmla="*/ 0 h 236727"/>
                <a:gd name="connsiteX43" fmla="*/ 1224915 w 1226820"/>
                <a:gd name="connsiteY43" fmla="*/ 0 h 236727"/>
                <a:gd name="connsiteX44" fmla="*/ 1217295 w 1226820"/>
                <a:gd name="connsiteY44" fmla="*/ 0 h 236727"/>
                <a:gd name="connsiteX45" fmla="*/ 1199198 w 1226820"/>
                <a:gd name="connsiteY45" fmla="*/ 0 h 236727"/>
                <a:gd name="connsiteX46" fmla="*/ 1170623 w 1226820"/>
                <a:gd name="connsiteY46" fmla="*/ 0 h 236727"/>
                <a:gd name="connsiteX47" fmla="*/ 1133475 w 1226820"/>
                <a:gd name="connsiteY47" fmla="*/ 0 h 236727"/>
                <a:gd name="connsiteX48" fmla="*/ 1094423 w 1226820"/>
                <a:gd name="connsiteY48" fmla="*/ 0 h 236727"/>
                <a:gd name="connsiteX49" fmla="*/ 1054418 w 1226820"/>
                <a:gd name="connsiteY49" fmla="*/ 0 h 236727"/>
                <a:gd name="connsiteX50" fmla="*/ 1017270 w 1226820"/>
                <a:gd name="connsiteY50" fmla="*/ 0 h 236727"/>
                <a:gd name="connsiteX51" fmla="*/ 982980 w 1226820"/>
                <a:gd name="connsiteY51" fmla="*/ 0 h 236727"/>
                <a:gd name="connsiteX52" fmla="*/ 949643 w 1226820"/>
                <a:gd name="connsiteY52" fmla="*/ 0 h 236727"/>
                <a:gd name="connsiteX53" fmla="*/ 918210 w 1226820"/>
                <a:gd name="connsiteY53" fmla="*/ 0 h 236727"/>
                <a:gd name="connsiteX54" fmla="*/ 885825 w 1226820"/>
                <a:gd name="connsiteY54" fmla="*/ 0 h 236727"/>
                <a:gd name="connsiteX55" fmla="*/ 868680 w 1226820"/>
                <a:gd name="connsiteY55" fmla="*/ 0 h 236727"/>
                <a:gd name="connsiteX56" fmla="*/ 840105 w 1226820"/>
                <a:gd name="connsiteY56" fmla="*/ 0 h 236727"/>
                <a:gd name="connsiteX57" fmla="*/ 809625 w 1226820"/>
                <a:gd name="connsiteY57" fmla="*/ 0 h 236727"/>
                <a:gd name="connsiteX58" fmla="*/ 777240 w 1226820"/>
                <a:gd name="connsiteY58" fmla="*/ 0 h 236727"/>
                <a:gd name="connsiteX59" fmla="*/ 742950 w 1226820"/>
                <a:gd name="connsiteY59" fmla="*/ 0 h 236727"/>
                <a:gd name="connsiteX60" fmla="*/ 706755 w 1226820"/>
                <a:gd name="connsiteY60" fmla="*/ 0 h 236727"/>
                <a:gd name="connsiteX61" fmla="*/ 669608 w 1226820"/>
                <a:gd name="connsiteY61" fmla="*/ 0 h 236727"/>
                <a:gd name="connsiteX62" fmla="*/ 631508 w 1226820"/>
                <a:gd name="connsiteY62" fmla="*/ 0 h 236727"/>
                <a:gd name="connsiteX63" fmla="*/ 593408 w 1226820"/>
                <a:gd name="connsiteY63" fmla="*/ 0 h 236727"/>
                <a:gd name="connsiteX64" fmla="*/ 555308 w 1226820"/>
                <a:gd name="connsiteY64" fmla="*/ 0 h 236727"/>
                <a:gd name="connsiteX65" fmla="*/ 517208 w 1226820"/>
                <a:gd name="connsiteY65" fmla="*/ 0 h 236727"/>
                <a:gd name="connsiteX66" fmla="*/ 481965 w 1226820"/>
                <a:gd name="connsiteY66" fmla="*/ 0 h 236727"/>
                <a:gd name="connsiteX67" fmla="*/ 447675 w 1226820"/>
                <a:gd name="connsiteY67" fmla="*/ 0 h 236727"/>
                <a:gd name="connsiteX68" fmla="*/ 415290 w 1226820"/>
                <a:gd name="connsiteY68" fmla="*/ 0 h 236727"/>
                <a:gd name="connsiteX69" fmla="*/ 384810 w 1226820"/>
                <a:gd name="connsiteY69" fmla="*/ 0 h 236727"/>
                <a:gd name="connsiteX70" fmla="*/ 357188 w 1226820"/>
                <a:gd name="connsiteY70" fmla="*/ 0 h 236727"/>
                <a:gd name="connsiteX71" fmla="*/ 324803 w 1226820"/>
                <a:gd name="connsiteY71" fmla="*/ 0 h 236727"/>
                <a:gd name="connsiteX72" fmla="*/ 292417 w 1226820"/>
                <a:gd name="connsiteY72" fmla="*/ 0 h 236727"/>
                <a:gd name="connsiteX73" fmla="*/ 260985 w 1226820"/>
                <a:gd name="connsiteY73" fmla="*/ 0 h 236727"/>
                <a:gd name="connsiteX74" fmla="*/ 226695 w 1226820"/>
                <a:gd name="connsiteY74" fmla="*/ 0 h 236727"/>
                <a:gd name="connsiteX75" fmla="*/ 190500 w 1226820"/>
                <a:gd name="connsiteY75" fmla="*/ 0 h 236727"/>
                <a:gd name="connsiteX76" fmla="*/ 152400 w 1226820"/>
                <a:gd name="connsiteY76" fmla="*/ 0 h 236727"/>
                <a:gd name="connsiteX77" fmla="*/ 112395 w 1226820"/>
                <a:gd name="connsiteY77" fmla="*/ 0 h 236727"/>
                <a:gd name="connsiteX78" fmla="*/ 73342 w 1226820"/>
                <a:gd name="connsiteY78" fmla="*/ 0 h 236727"/>
                <a:gd name="connsiteX79" fmla="*/ 40958 w 1226820"/>
                <a:gd name="connsiteY79" fmla="*/ 0 h 236727"/>
                <a:gd name="connsiteX80" fmla="*/ 17145 w 1226820"/>
                <a:gd name="connsiteY80" fmla="*/ 0 h 236727"/>
                <a:gd name="connsiteX81" fmla="*/ 3810 w 1226820"/>
                <a:gd name="connsiteY81" fmla="*/ 0 h 236727"/>
                <a:gd name="connsiteX82" fmla="*/ 0 w 1226820"/>
                <a:gd name="connsiteY82" fmla="*/ 0 h 236727"/>
                <a:gd name="connsiteX83" fmla="*/ 0 w 1226820"/>
                <a:gd name="connsiteY83" fmla="*/ 0 h 236727"/>
                <a:gd name="connsiteX84" fmla="*/ 0 w 1226820"/>
                <a:gd name="connsiteY84" fmla="*/ 236728 h 2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6727">
                  <a:moveTo>
                    <a:pt x="0" y="236728"/>
                  </a:moveTo>
                  <a:lnTo>
                    <a:pt x="953" y="236728"/>
                  </a:lnTo>
                  <a:lnTo>
                    <a:pt x="8573" y="236728"/>
                  </a:lnTo>
                  <a:lnTo>
                    <a:pt x="26670" y="236728"/>
                  </a:lnTo>
                  <a:lnTo>
                    <a:pt x="56198" y="236728"/>
                  </a:lnTo>
                  <a:lnTo>
                    <a:pt x="92392" y="236728"/>
                  </a:lnTo>
                  <a:lnTo>
                    <a:pt x="132398" y="236728"/>
                  </a:lnTo>
                  <a:lnTo>
                    <a:pt x="171450" y="236728"/>
                  </a:lnTo>
                  <a:lnTo>
                    <a:pt x="208598" y="236728"/>
                  </a:lnTo>
                  <a:lnTo>
                    <a:pt x="243840" y="236728"/>
                  </a:lnTo>
                  <a:lnTo>
                    <a:pt x="276225" y="236728"/>
                  </a:lnTo>
                  <a:lnTo>
                    <a:pt x="308610" y="236728"/>
                  </a:lnTo>
                  <a:lnTo>
                    <a:pt x="340995" y="236728"/>
                  </a:lnTo>
                  <a:lnTo>
                    <a:pt x="357188" y="236728"/>
                  </a:lnTo>
                  <a:lnTo>
                    <a:pt x="386715" y="236728"/>
                  </a:lnTo>
                  <a:lnTo>
                    <a:pt x="417195" y="236728"/>
                  </a:lnTo>
                  <a:lnTo>
                    <a:pt x="449580" y="236728"/>
                  </a:lnTo>
                  <a:lnTo>
                    <a:pt x="483870" y="236728"/>
                  </a:lnTo>
                  <a:lnTo>
                    <a:pt x="519113" y="236728"/>
                  </a:lnTo>
                  <a:lnTo>
                    <a:pt x="556260" y="236728"/>
                  </a:lnTo>
                  <a:lnTo>
                    <a:pt x="594360" y="236728"/>
                  </a:lnTo>
                  <a:lnTo>
                    <a:pt x="633413" y="236728"/>
                  </a:lnTo>
                  <a:lnTo>
                    <a:pt x="671513" y="236728"/>
                  </a:lnTo>
                  <a:lnTo>
                    <a:pt x="708660" y="236728"/>
                  </a:lnTo>
                  <a:lnTo>
                    <a:pt x="743902" y="236728"/>
                  </a:lnTo>
                  <a:lnTo>
                    <a:pt x="778193" y="236728"/>
                  </a:lnTo>
                  <a:lnTo>
                    <a:pt x="810577" y="236728"/>
                  </a:lnTo>
                  <a:lnTo>
                    <a:pt x="841058" y="236728"/>
                  </a:lnTo>
                  <a:lnTo>
                    <a:pt x="868680" y="236728"/>
                  </a:lnTo>
                  <a:lnTo>
                    <a:pt x="902018" y="236728"/>
                  </a:lnTo>
                  <a:lnTo>
                    <a:pt x="933450" y="236728"/>
                  </a:lnTo>
                  <a:lnTo>
                    <a:pt x="965835" y="236728"/>
                  </a:lnTo>
                  <a:lnTo>
                    <a:pt x="999173" y="236728"/>
                  </a:lnTo>
                  <a:lnTo>
                    <a:pt x="1035368" y="236728"/>
                  </a:lnTo>
                  <a:lnTo>
                    <a:pt x="1073468" y="236728"/>
                  </a:lnTo>
                  <a:lnTo>
                    <a:pt x="1113473" y="236728"/>
                  </a:lnTo>
                  <a:lnTo>
                    <a:pt x="1152525" y="236728"/>
                  </a:lnTo>
                  <a:lnTo>
                    <a:pt x="1185863" y="236728"/>
                  </a:lnTo>
                  <a:lnTo>
                    <a:pt x="1209675" y="236728"/>
                  </a:lnTo>
                  <a:lnTo>
                    <a:pt x="1222058" y="236728"/>
                  </a:lnTo>
                  <a:lnTo>
                    <a:pt x="1225868" y="236728"/>
                  </a:lnTo>
                  <a:lnTo>
                    <a:pt x="1226820" y="236728"/>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6728"/>
                  </a:lnTo>
                  <a:close/>
                </a:path>
              </a:pathLst>
            </a:custGeom>
            <a:noFill/>
            <a:ln w="9525" cap="flat">
              <a:solidFill>
                <a:srgbClr val="BBBDBF"/>
              </a:solidFill>
              <a:prstDash val="solid"/>
              <a:miter/>
            </a:ln>
          </p:spPr>
          <p:txBody>
            <a:bodyPr rtlCol="0" anchor="ctr"/>
            <a:lstStyle/>
            <a:p>
              <a:endParaRPr lang="en-US" sz="1050"/>
            </a:p>
          </p:txBody>
        </p:sp>
        <p:sp>
          <p:nvSpPr>
            <p:cNvPr id="151" name="Freeform 139">
              <a:extLst>
                <a:ext uri="{FF2B5EF4-FFF2-40B4-BE49-F238E27FC236}">
                  <a16:creationId xmlns:a16="http://schemas.microsoft.com/office/drawing/2014/main" id="{ACDFECCC-EDE4-D417-A6CB-29AC7BEB17B7}"/>
                </a:ext>
              </a:extLst>
            </p:cNvPr>
            <p:cNvSpPr/>
            <p:nvPr/>
          </p:nvSpPr>
          <p:spPr>
            <a:xfrm>
              <a:off x="2147856" y="3402064"/>
              <a:ext cx="1226820" cy="237678"/>
            </a:xfrm>
            <a:custGeom>
              <a:avLst/>
              <a:gdLst>
                <a:gd name="connsiteX0" fmla="*/ 0 w 1226820"/>
                <a:gd name="connsiteY0" fmla="*/ 237678 h 237678"/>
                <a:gd name="connsiteX1" fmla="*/ 953 w 1226820"/>
                <a:gd name="connsiteY1" fmla="*/ 237678 h 237678"/>
                <a:gd name="connsiteX2" fmla="*/ 8573 w 1226820"/>
                <a:gd name="connsiteY2" fmla="*/ 237678 h 237678"/>
                <a:gd name="connsiteX3" fmla="*/ 26670 w 1226820"/>
                <a:gd name="connsiteY3" fmla="*/ 237678 h 237678"/>
                <a:gd name="connsiteX4" fmla="*/ 56198 w 1226820"/>
                <a:gd name="connsiteY4" fmla="*/ 237678 h 237678"/>
                <a:gd name="connsiteX5" fmla="*/ 92392 w 1226820"/>
                <a:gd name="connsiteY5" fmla="*/ 237678 h 237678"/>
                <a:gd name="connsiteX6" fmla="*/ 132398 w 1226820"/>
                <a:gd name="connsiteY6" fmla="*/ 237678 h 237678"/>
                <a:gd name="connsiteX7" fmla="*/ 171450 w 1226820"/>
                <a:gd name="connsiteY7" fmla="*/ 237678 h 237678"/>
                <a:gd name="connsiteX8" fmla="*/ 208598 w 1226820"/>
                <a:gd name="connsiteY8" fmla="*/ 237678 h 237678"/>
                <a:gd name="connsiteX9" fmla="*/ 243840 w 1226820"/>
                <a:gd name="connsiteY9" fmla="*/ 237678 h 237678"/>
                <a:gd name="connsiteX10" fmla="*/ 276225 w 1226820"/>
                <a:gd name="connsiteY10" fmla="*/ 237678 h 237678"/>
                <a:gd name="connsiteX11" fmla="*/ 308610 w 1226820"/>
                <a:gd name="connsiteY11" fmla="*/ 237678 h 237678"/>
                <a:gd name="connsiteX12" fmla="*/ 340995 w 1226820"/>
                <a:gd name="connsiteY12" fmla="*/ 237678 h 237678"/>
                <a:gd name="connsiteX13" fmla="*/ 357188 w 1226820"/>
                <a:gd name="connsiteY13" fmla="*/ 237678 h 237678"/>
                <a:gd name="connsiteX14" fmla="*/ 386715 w 1226820"/>
                <a:gd name="connsiteY14" fmla="*/ 237678 h 237678"/>
                <a:gd name="connsiteX15" fmla="*/ 417195 w 1226820"/>
                <a:gd name="connsiteY15" fmla="*/ 237678 h 237678"/>
                <a:gd name="connsiteX16" fmla="*/ 449580 w 1226820"/>
                <a:gd name="connsiteY16" fmla="*/ 237678 h 237678"/>
                <a:gd name="connsiteX17" fmla="*/ 483870 w 1226820"/>
                <a:gd name="connsiteY17" fmla="*/ 237678 h 237678"/>
                <a:gd name="connsiteX18" fmla="*/ 519113 w 1226820"/>
                <a:gd name="connsiteY18" fmla="*/ 237678 h 237678"/>
                <a:gd name="connsiteX19" fmla="*/ 556260 w 1226820"/>
                <a:gd name="connsiteY19" fmla="*/ 237678 h 237678"/>
                <a:gd name="connsiteX20" fmla="*/ 594360 w 1226820"/>
                <a:gd name="connsiteY20" fmla="*/ 237678 h 237678"/>
                <a:gd name="connsiteX21" fmla="*/ 633413 w 1226820"/>
                <a:gd name="connsiteY21" fmla="*/ 237678 h 237678"/>
                <a:gd name="connsiteX22" fmla="*/ 671513 w 1226820"/>
                <a:gd name="connsiteY22" fmla="*/ 237678 h 237678"/>
                <a:gd name="connsiteX23" fmla="*/ 708660 w 1226820"/>
                <a:gd name="connsiteY23" fmla="*/ 237678 h 237678"/>
                <a:gd name="connsiteX24" fmla="*/ 743902 w 1226820"/>
                <a:gd name="connsiteY24" fmla="*/ 237678 h 237678"/>
                <a:gd name="connsiteX25" fmla="*/ 778193 w 1226820"/>
                <a:gd name="connsiteY25" fmla="*/ 237678 h 237678"/>
                <a:gd name="connsiteX26" fmla="*/ 810577 w 1226820"/>
                <a:gd name="connsiteY26" fmla="*/ 237678 h 237678"/>
                <a:gd name="connsiteX27" fmla="*/ 841058 w 1226820"/>
                <a:gd name="connsiteY27" fmla="*/ 237678 h 237678"/>
                <a:gd name="connsiteX28" fmla="*/ 868680 w 1226820"/>
                <a:gd name="connsiteY28" fmla="*/ 237678 h 237678"/>
                <a:gd name="connsiteX29" fmla="*/ 902018 w 1226820"/>
                <a:gd name="connsiteY29" fmla="*/ 237678 h 237678"/>
                <a:gd name="connsiteX30" fmla="*/ 933450 w 1226820"/>
                <a:gd name="connsiteY30" fmla="*/ 237678 h 237678"/>
                <a:gd name="connsiteX31" fmla="*/ 965835 w 1226820"/>
                <a:gd name="connsiteY31" fmla="*/ 237678 h 237678"/>
                <a:gd name="connsiteX32" fmla="*/ 999173 w 1226820"/>
                <a:gd name="connsiteY32" fmla="*/ 237678 h 237678"/>
                <a:gd name="connsiteX33" fmla="*/ 1035368 w 1226820"/>
                <a:gd name="connsiteY33" fmla="*/ 237678 h 237678"/>
                <a:gd name="connsiteX34" fmla="*/ 1073468 w 1226820"/>
                <a:gd name="connsiteY34" fmla="*/ 237678 h 237678"/>
                <a:gd name="connsiteX35" fmla="*/ 1113473 w 1226820"/>
                <a:gd name="connsiteY35" fmla="*/ 237678 h 237678"/>
                <a:gd name="connsiteX36" fmla="*/ 1152525 w 1226820"/>
                <a:gd name="connsiteY36" fmla="*/ 237678 h 237678"/>
                <a:gd name="connsiteX37" fmla="*/ 1185863 w 1226820"/>
                <a:gd name="connsiteY37" fmla="*/ 237678 h 237678"/>
                <a:gd name="connsiteX38" fmla="*/ 1209675 w 1226820"/>
                <a:gd name="connsiteY38" fmla="*/ 237678 h 237678"/>
                <a:gd name="connsiteX39" fmla="*/ 1222058 w 1226820"/>
                <a:gd name="connsiteY39" fmla="*/ 237678 h 237678"/>
                <a:gd name="connsiteX40" fmla="*/ 1225868 w 1226820"/>
                <a:gd name="connsiteY40" fmla="*/ 237678 h 237678"/>
                <a:gd name="connsiteX41" fmla="*/ 1226820 w 1226820"/>
                <a:gd name="connsiteY41" fmla="*/ 237678 h 237678"/>
                <a:gd name="connsiteX42" fmla="*/ 1226820 w 1226820"/>
                <a:gd name="connsiteY42" fmla="*/ 0 h 237678"/>
                <a:gd name="connsiteX43" fmla="*/ 1224915 w 1226820"/>
                <a:gd name="connsiteY43" fmla="*/ 0 h 237678"/>
                <a:gd name="connsiteX44" fmla="*/ 1217295 w 1226820"/>
                <a:gd name="connsiteY44" fmla="*/ 0 h 237678"/>
                <a:gd name="connsiteX45" fmla="*/ 1199198 w 1226820"/>
                <a:gd name="connsiteY45" fmla="*/ 0 h 237678"/>
                <a:gd name="connsiteX46" fmla="*/ 1170623 w 1226820"/>
                <a:gd name="connsiteY46" fmla="*/ 0 h 237678"/>
                <a:gd name="connsiteX47" fmla="*/ 1133475 w 1226820"/>
                <a:gd name="connsiteY47" fmla="*/ 0 h 237678"/>
                <a:gd name="connsiteX48" fmla="*/ 1094423 w 1226820"/>
                <a:gd name="connsiteY48" fmla="*/ 0 h 237678"/>
                <a:gd name="connsiteX49" fmla="*/ 1054418 w 1226820"/>
                <a:gd name="connsiteY49" fmla="*/ 0 h 237678"/>
                <a:gd name="connsiteX50" fmla="*/ 1017270 w 1226820"/>
                <a:gd name="connsiteY50" fmla="*/ 0 h 237678"/>
                <a:gd name="connsiteX51" fmla="*/ 982980 w 1226820"/>
                <a:gd name="connsiteY51" fmla="*/ 0 h 237678"/>
                <a:gd name="connsiteX52" fmla="*/ 949643 w 1226820"/>
                <a:gd name="connsiteY52" fmla="*/ 0 h 237678"/>
                <a:gd name="connsiteX53" fmla="*/ 918210 w 1226820"/>
                <a:gd name="connsiteY53" fmla="*/ 0 h 237678"/>
                <a:gd name="connsiteX54" fmla="*/ 885825 w 1226820"/>
                <a:gd name="connsiteY54" fmla="*/ 0 h 237678"/>
                <a:gd name="connsiteX55" fmla="*/ 868680 w 1226820"/>
                <a:gd name="connsiteY55" fmla="*/ 0 h 237678"/>
                <a:gd name="connsiteX56" fmla="*/ 840105 w 1226820"/>
                <a:gd name="connsiteY56" fmla="*/ 0 h 237678"/>
                <a:gd name="connsiteX57" fmla="*/ 809625 w 1226820"/>
                <a:gd name="connsiteY57" fmla="*/ 0 h 237678"/>
                <a:gd name="connsiteX58" fmla="*/ 777240 w 1226820"/>
                <a:gd name="connsiteY58" fmla="*/ 0 h 237678"/>
                <a:gd name="connsiteX59" fmla="*/ 742950 w 1226820"/>
                <a:gd name="connsiteY59" fmla="*/ 0 h 237678"/>
                <a:gd name="connsiteX60" fmla="*/ 706755 w 1226820"/>
                <a:gd name="connsiteY60" fmla="*/ 0 h 237678"/>
                <a:gd name="connsiteX61" fmla="*/ 669608 w 1226820"/>
                <a:gd name="connsiteY61" fmla="*/ 0 h 237678"/>
                <a:gd name="connsiteX62" fmla="*/ 631508 w 1226820"/>
                <a:gd name="connsiteY62" fmla="*/ 0 h 237678"/>
                <a:gd name="connsiteX63" fmla="*/ 593408 w 1226820"/>
                <a:gd name="connsiteY63" fmla="*/ 0 h 237678"/>
                <a:gd name="connsiteX64" fmla="*/ 555308 w 1226820"/>
                <a:gd name="connsiteY64" fmla="*/ 0 h 237678"/>
                <a:gd name="connsiteX65" fmla="*/ 517208 w 1226820"/>
                <a:gd name="connsiteY65" fmla="*/ 0 h 237678"/>
                <a:gd name="connsiteX66" fmla="*/ 481965 w 1226820"/>
                <a:gd name="connsiteY66" fmla="*/ 0 h 237678"/>
                <a:gd name="connsiteX67" fmla="*/ 447675 w 1226820"/>
                <a:gd name="connsiteY67" fmla="*/ 0 h 237678"/>
                <a:gd name="connsiteX68" fmla="*/ 415290 w 1226820"/>
                <a:gd name="connsiteY68" fmla="*/ 0 h 237678"/>
                <a:gd name="connsiteX69" fmla="*/ 384810 w 1226820"/>
                <a:gd name="connsiteY69" fmla="*/ 0 h 237678"/>
                <a:gd name="connsiteX70" fmla="*/ 357188 w 1226820"/>
                <a:gd name="connsiteY70" fmla="*/ 0 h 237678"/>
                <a:gd name="connsiteX71" fmla="*/ 324803 w 1226820"/>
                <a:gd name="connsiteY71" fmla="*/ 0 h 237678"/>
                <a:gd name="connsiteX72" fmla="*/ 292417 w 1226820"/>
                <a:gd name="connsiteY72" fmla="*/ 0 h 237678"/>
                <a:gd name="connsiteX73" fmla="*/ 260985 w 1226820"/>
                <a:gd name="connsiteY73" fmla="*/ 0 h 237678"/>
                <a:gd name="connsiteX74" fmla="*/ 226695 w 1226820"/>
                <a:gd name="connsiteY74" fmla="*/ 0 h 237678"/>
                <a:gd name="connsiteX75" fmla="*/ 190500 w 1226820"/>
                <a:gd name="connsiteY75" fmla="*/ 0 h 237678"/>
                <a:gd name="connsiteX76" fmla="*/ 152400 w 1226820"/>
                <a:gd name="connsiteY76" fmla="*/ 0 h 237678"/>
                <a:gd name="connsiteX77" fmla="*/ 112395 w 1226820"/>
                <a:gd name="connsiteY77" fmla="*/ 0 h 237678"/>
                <a:gd name="connsiteX78" fmla="*/ 73342 w 1226820"/>
                <a:gd name="connsiteY78" fmla="*/ 0 h 237678"/>
                <a:gd name="connsiteX79" fmla="*/ 40958 w 1226820"/>
                <a:gd name="connsiteY79" fmla="*/ 0 h 237678"/>
                <a:gd name="connsiteX80" fmla="*/ 17145 w 1226820"/>
                <a:gd name="connsiteY80" fmla="*/ 0 h 237678"/>
                <a:gd name="connsiteX81" fmla="*/ 3810 w 1226820"/>
                <a:gd name="connsiteY81" fmla="*/ 0 h 237678"/>
                <a:gd name="connsiteX82" fmla="*/ 0 w 1226820"/>
                <a:gd name="connsiteY82" fmla="*/ 0 h 237678"/>
                <a:gd name="connsiteX83" fmla="*/ 0 w 1226820"/>
                <a:gd name="connsiteY83" fmla="*/ 0 h 237678"/>
                <a:gd name="connsiteX84" fmla="*/ 0 w 1226820"/>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7678">
                  <a:moveTo>
                    <a:pt x="0" y="237678"/>
                  </a:moveTo>
                  <a:lnTo>
                    <a:pt x="953" y="237678"/>
                  </a:lnTo>
                  <a:lnTo>
                    <a:pt x="8573" y="237678"/>
                  </a:lnTo>
                  <a:lnTo>
                    <a:pt x="26670" y="237678"/>
                  </a:lnTo>
                  <a:lnTo>
                    <a:pt x="56198" y="237678"/>
                  </a:lnTo>
                  <a:lnTo>
                    <a:pt x="92392" y="237678"/>
                  </a:lnTo>
                  <a:lnTo>
                    <a:pt x="132398" y="237678"/>
                  </a:lnTo>
                  <a:lnTo>
                    <a:pt x="171450" y="237678"/>
                  </a:lnTo>
                  <a:lnTo>
                    <a:pt x="208598" y="237678"/>
                  </a:lnTo>
                  <a:lnTo>
                    <a:pt x="243840" y="237678"/>
                  </a:lnTo>
                  <a:lnTo>
                    <a:pt x="276225" y="237678"/>
                  </a:lnTo>
                  <a:lnTo>
                    <a:pt x="308610" y="237678"/>
                  </a:lnTo>
                  <a:lnTo>
                    <a:pt x="340995" y="237678"/>
                  </a:lnTo>
                  <a:lnTo>
                    <a:pt x="357188" y="237678"/>
                  </a:lnTo>
                  <a:lnTo>
                    <a:pt x="386715" y="237678"/>
                  </a:lnTo>
                  <a:lnTo>
                    <a:pt x="417195" y="237678"/>
                  </a:lnTo>
                  <a:lnTo>
                    <a:pt x="449580" y="237678"/>
                  </a:lnTo>
                  <a:lnTo>
                    <a:pt x="483870" y="237678"/>
                  </a:lnTo>
                  <a:lnTo>
                    <a:pt x="519113" y="237678"/>
                  </a:lnTo>
                  <a:lnTo>
                    <a:pt x="556260" y="237678"/>
                  </a:lnTo>
                  <a:lnTo>
                    <a:pt x="594360" y="237678"/>
                  </a:lnTo>
                  <a:lnTo>
                    <a:pt x="633413" y="237678"/>
                  </a:lnTo>
                  <a:lnTo>
                    <a:pt x="671513" y="237678"/>
                  </a:lnTo>
                  <a:lnTo>
                    <a:pt x="708660" y="237678"/>
                  </a:lnTo>
                  <a:lnTo>
                    <a:pt x="743902" y="237678"/>
                  </a:lnTo>
                  <a:lnTo>
                    <a:pt x="778193" y="237678"/>
                  </a:lnTo>
                  <a:lnTo>
                    <a:pt x="810577" y="237678"/>
                  </a:lnTo>
                  <a:lnTo>
                    <a:pt x="841058" y="237678"/>
                  </a:lnTo>
                  <a:lnTo>
                    <a:pt x="868680" y="237678"/>
                  </a:lnTo>
                  <a:lnTo>
                    <a:pt x="902018" y="237678"/>
                  </a:lnTo>
                  <a:lnTo>
                    <a:pt x="933450" y="237678"/>
                  </a:lnTo>
                  <a:lnTo>
                    <a:pt x="965835" y="237678"/>
                  </a:lnTo>
                  <a:lnTo>
                    <a:pt x="999173" y="237678"/>
                  </a:lnTo>
                  <a:lnTo>
                    <a:pt x="1035368" y="237678"/>
                  </a:lnTo>
                  <a:lnTo>
                    <a:pt x="1073468" y="237678"/>
                  </a:lnTo>
                  <a:lnTo>
                    <a:pt x="1113473" y="237678"/>
                  </a:lnTo>
                  <a:lnTo>
                    <a:pt x="1152525" y="237678"/>
                  </a:lnTo>
                  <a:lnTo>
                    <a:pt x="1185863" y="237678"/>
                  </a:lnTo>
                  <a:lnTo>
                    <a:pt x="1209675" y="237678"/>
                  </a:lnTo>
                  <a:lnTo>
                    <a:pt x="1222058" y="237678"/>
                  </a:lnTo>
                  <a:lnTo>
                    <a:pt x="1225868" y="237678"/>
                  </a:lnTo>
                  <a:lnTo>
                    <a:pt x="1226820" y="237678"/>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7678"/>
                  </a:lnTo>
                  <a:close/>
                </a:path>
              </a:pathLst>
            </a:custGeom>
            <a:solidFill>
              <a:srgbClr val="BBBDBF">
                <a:alpha val="60000"/>
              </a:srgbClr>
            </a:solidFill>
            <a:ln w="9525" cap="flat">
              <a:noFill/>
              <a:prstDash val="solid"/>
              <a:miter/>
            </a:ln>
          </p:spPr>
          <p:txBody>
            <a:bodyPr rtlCol="0" anchor="ctr"/>
            <a:lstStyle/>
            <a:p>
              <a:endParaRPr lang="en-US" sz="1050"/>
            </a:p>
          </p:txBody>
        </p:sp>
        <p:sp>
          <p:nvSpPr>
            <p:cNvPr id="152" name="Freeform 140">
              <a:extLst>
                <a:ext uri="{FF2B5EF4-FFF2-40B4-BE49-F238E27FC236}">
                  <a16:creationId xmlns:a16="http://schemas.microsoft.com/office/drawing/2014/main" id="{76CD3958-2B5C-8199-918B-8E546AB603FE}"/>
                </a:ext>
              </a:extLst>
            </p:cNvPr>
            <p:cNvSpPr/>
            <p:nvPr/>
          </p:nvSpPr>
          <p:spPr>
            <a:xfrm>
              <a:off x="2147856" y="3402064"/>
              <a:ext cx="1226820" cy="237678"/>
            </a:xfrm>
            <a:custGeom>
              <a:avLst/>
              <a:gdLst>
                <a:gd name="connsiteX0" fmla="*/ 0 w 1226820"/>
                <a:gd name="connsiteY0" fmla="*/ 237678 h 237678"/>
                <a:gd name="connsiteX1" fmla="*/ 953 w 1226820"/>
                <a:gd name="connsiteY1" fmla="*/ 237678 h 237678"/>
                <a:gd name="connsiteX2" fmla="*/ 8573 w 1226820"/>
                <a:gd name="connsiteY2" fmla="*/ 237678 h 237678"/>
                <a:gd name="connsiteX3" fmla="*/ 26670 w 1226820"/>
                <a:gd name="connsiteY3" fmla="*/ 237678 h 237678"/>
                <a:gd name="connsiteX4" fmla="*/ 56198 w 1226820"/>
                <a:gd name="connsiteY4" fmla="*/ 237678 h 237678"/>
                <a:gd name="connsiteX5" fmla="*/ 92392 w 1226820"/>
                <a:gd name="connsiteY5" fmla="*/ 237678 h 237678"/>
                <a:gd name="connsiteX6" fmla="*/ 132398 w 1226820"/>
                <a:gd name="connsiteY6" fmla="*/ 237678 h 237678"/>
                <a:gd name="connsiteX7" fmla="*/ 171450 w 1226820"/>
                <a:gd name="connsiteY7" fmla="*/ 237678 h 237678"/>
                <a:gd name="connsiteX8" fmla="*/ 208598 w 1226820"/>
                <a:gd name="connsiteY8" fmla="*/ 237678 h 237678"/>
                <a:gd name="connsiteX9" fmla="*/ 243840 w 1226820"/>
                <a:gd name="connsiteY9" fmla="*/ 237678 h 237678"/>
                <a:gd name="connsiteX10" fmla="*/ 276225 w 1226820"/>
                <a:gd name="connsiteY10" fmla="*/ 237678 h 237678"/>
                <a:gd name="connsiteX11" fmla="*/ 308610 w 1226820"/>
                <a:gd name="connsiteY11" fmla="*/ 237678 h 237678"/>
                <a:gd name="connsiteX12" fmla="*/ 340995 w 1226820"/>
                <a:gd name="connsiteY12" fmla="*/ 237678 h 237678"/>
                <a:gd name="connsiteX13" fmla="*/ 357188 w 1226820"/>
                <a:gd name="connsiteY13" fmla="*/ 237678 h 237678"/>
                <a:gd name="connsiteX14" fmla="*/ 386715 w 1226820"/>
                <a:gd name="connsiteY14" fmla="*/ 237678 h 237678"/>
                <a:gd name="connsiteX15" fmla="*/ 417195 w 1226820"/>
                <a:gd name="connsiteY15" fmla="*/ 237678 h 237678"/>
                <a:gd name="connsiteX16" fmla="*/ 449580 w 1226820"/>
                <a:gd name="connsiteY16" fmla="*/ 237678 h 237678"/>
                <a:gd name="connsiteX17" fmla="*/ 483870 w 1226820"/>
                <a:gd name="connsiteY17" fmla="*/ 237678 h 237678"/>
                <a:gd name="connsiteX18" fmla="*/ 519113 w 1226820"/>
                <a:gd name="connsiteY18" fmla="*/ 237678 h 237678"/>
                <a:gd name="connsiteX19" fmla="*/ 556260 w 1226820"/>
                <a:gd name="connsiteY19" fmla="*/ 237678 h 237678"/>
                <a:gd name="connsiteX20" fmla="*/ 594360 w 1226820"/>
                <a:gd name="connsiteY20" fmla="*/ 237678 h 237678"/>
                <a:gd name="connsiteX21" fmla="*/ 633413 w 1226820"/>
                <a:gd name="connsiteY21" fmla="*/ 237678 h 237678"/>
                <a:gd name="connsiteX22" fmla="*/ 671513 w 1226820"/>
                <a:gd name="connsiteY22" fmla="*/ 237678 h 237678"/>
                <a:gd name="connsiteX23" fmla="*/ 708660 w 1226820"/>
                <a:gd name="connsiteY23" fmla="*/ 237678 h 237678"/>
                <a:gd name="connsiteX24" fmla="*/ 743902 w 1226820"/>
                <a:gd name="connsiteY24" fmla="*/ 237678 h 237678"/>
                <a:gd name="connsiteX25" fmla="*/ 778193 w 1226820"/>
                <a:gd name="connsiteY25" fmla="*/ 237678 h 237678"/>
                <a:gd name="connsiteX26" fmla="*/ 810577 w 1226820"/>
                <a:gd name="connsiteY26" fmla="*/ 237678 h 237678"/>
                <a:gd name="connsiteX27" fmla="*/ 841058 w 1226820"/>
                <a:gd name="connsiteY27" fmla="*/ 237678 h 237678"/>
                <a:gd name="connsiteX28" fmla="*/ 868680 w 1226820"/>
                <a:gd name="connsiteY28" fmla="*/ 237678 h 237678"/>
                <a:gd name="connsiteX29" fmla="*/ 902018 w 1226820"/>
                <a:gd name="connsiteY29" fmla="*/ 237678 h 237678"/>
                <a:gd name="connsiteX30" fmla="*/ 933450 w 1226820"/>
                <a:gd name="connsiteY30" fmla="*/ 237678 h 237678"/>
                <a:gd name="connsiteX31" fmla="*/ 965835 w 1226820"/>
                <a:gd name="connsiteY31" fmla="*/ 237678 h 237678"/>
                <a:gd name="connsiteX32" fmla="*/ 999173 w 1226820"/>
                <a:gd name="connsiteY32" fmla="*/ 237678 h 237678"/>
                <a:gd name="connsiteX33" fmla="*/ 1035368 w 1226820"/>
                <a:gd name="connsiteY33" fmla="*/ 237678 h 237678"/>
                <a:gd name="connsiteX34" fmla="*/ 1073468 w 1226820"/>
                <a:gd name="connsiteY34" fmla="*/ 237678 h 237678"/>
                <a:gd name="connsiteX35" fmla="*/ 1113473 w 1226820"/>
                <a:gd name="connsiteY35" fmla="*/ 237678 h 237678"/>
                <a:gd name="connsiteX36" fmla="*/ 1152525 w 1226820"/>
                <a:gd name="connsiteY36" fmla="*/ 237678 h 237678"/>
                <a:gd name="connsiteX37" fmla="*/ 1185863 w 1226820"/>
                <a:gd name="connsiteY37" fmla="*/ 237678 h 237678"/>
                <a:gd name="connsiteX38" fmla="*/ 1209675 w 1226820"/>
                <a:gd name="connsiteY38" fmla="*/ 237678 h 237678"/>
                <a:gd name="connsiteX39" fmla="*/ 1222058 w 1226820"/>
                <a:gd name="connsiteY39" fmla="*/ 237678 h 237678"/>
                <a:gd name="connsiteX40" fmla="*/ 1225868 w 1226820"/>
                <a:gd name="connsiteY40" fmla="*/ 237678 h 237678"/>
                <a:gd name="connsiteX41" fmla="*/ 1226820 w 1226820"/>
                <a:gd name="connsiteY41" fmla="*/ 237678 h 237678"/>
                <a:gd name="connsiteX42" fmla="*/ 1226820 w 1226820"/>
                <a:gd name="connsiteY42" fmla="*/ 0 h 237678"/>
                <a:gd name="connsiteX43" fmla="*/ 1224915 w 1226820"/>
                <a:gd name="connsiteY43" fmla="*/ 0 h 237678"/>
                <a:gd name="connsiteX44" fmla="*/ 1217295 w 1226820"/>
                <a:gd name="connsiteY44" fmla="*/ 0 h 237678"/>
                <a:gd name="connsiteX45" fmla="*/ 1199198 w 1226820"/>
                <a:gd name="connsiteY45" fmla="*/ 0 h 237678"/>
                <a:gd name="connsiteX46" fmla="*/ 1170623 w 1226820"/>
                <a:gd name="connsiteY46" fmla="*/ 0 h 237678"/>
                <a:gd name="connsiteX47" fmla="*/ 1133475 w 1226820"/>
                <a:gd name="connsiteY47" fmla="*/ 0 h 237678"/>
                <a:gd name="connsiteX48" fmla="*/ 1094423 w 1226820"/>
                <a:gd name="connsiteY48" fmla="*/ 0 h 237678"/>
                <a:gd name="connsiteX49" fmla="*/ 1054418 w 1226820"/>
                <a:gd name="connsiteY49" fmla="*/ 0 h 237678"/>
                <a:gd name="connsiteX50" fmla="*/ 1017270 w 1226820"/>
                <a:gd name="connsiteY50" fmla="*/ 0 h 237678"/>
                <a:gd name="connsiteX51" fmla="*/ 982980 w 1226820"/>
                <a:gd name="connsiteY51" fmla="*/ 0 h 237678"/>
                <a:gd name="connsiteX52" fmla="*/ 949643 w 1226820"/>
                <a:gd name="connsiteY52" fmla="*/ 0 h 237678"/>
                <a:gd name="connsiteX53" fmla="*/ 918210 w 1226820"/>
                <a:gd name="connsiteY53" fmla="*/ 0 h 237678"/>
                <a:gd name="connsiteX54" fmla="*/ 885825 w 1226820"/>
                <a:gd name="connsiteY54" fmla="*/ 0 h 237678"/>
                <a:gd name="connsiteX55" fmla="*/ 868680 w 1226820"/>
                <a:gd name="connsiteY55" fmla="*/ 0 h 237678"/>
                <a:gd name="connsiteX56" fmla="*/ 840105 w 1226820"/>
                <a:gd name="connsiteY56" fmla="*/ 0 h 237678"/>
                <a:gd name="connsiteX57" fmla="*/ 809625 w 1226820"/>
                <a:gd name="connsiteY57" fmla="*/ 0 h 237678"/>
                <a:gd name="connsiteX58" fmla="*/ 777240 w 1226820"/>
                <a:gd name="connsiteY58" fmla="*/ 0 h 237678"/>
                <a:gd name="connsiteX59" fmla="*/ 742950 w 1226820"/>
                <a:gd name="connsiteY59" fmla="*/ 0 h 237678"/>
                <a:gd name="connsiteX60" fmla="*/ 706755 w 1226820"/>
                <a:gd name="connsiteY60" fmla="*/ 0 h 237678"/>
                <a:gd name="connsiteX61" fmla="*/ 669608 w 1226820"/>
                <a:gd name="connsiteY61" fmla="*/ 0 h 237678"/>
                <a:gd name="connsiteX62" fmla="*/ 631508 w 1226820"/>
                <a:gd name="connsiteY62" fmla="*/ 0 h 237678"/>
                <a:gd name="connsiteX63" fmla="*/ 593408 w 1226820"/>
                <a:gd name="connsiteY63" fmla="*/ 0 h 237678"/>
                <a:gd name="connsiteX64" fmla="*/ 555308 w 1226820"/>
                <a:gd name="connsiteY64" fmla="*/ 0 h 237678"/>
                <a:gd name="connsiteX65" fmla="*/ 517208 w 1226820"/>
                <a:gd name="connsiteY65" fmla="*/ 0 h 237678"/>
                <a:gd name="connsiteX66" fmla="*/ 481965 w 1226820"/>
                <a:gd name="connsiteY66" fmla="*/ 0 h 237678"/>
                <a:gd name="connsiteX67" fmla="*/ 447675 w 1226820"/>
                <a:gd name="connsiteY67" fmla="*/ 0 h 237678"/>
                <a:gd name="connsiteX68" fmla="*/ 415290 w 1226820"/>
                <a:gd name="connsiteY68" fmla="*/ 0 h 237678"/>
                <a:gd name="connsiteX69" fmla="*/ 384810 w 1226820"/>
                <a:gd name="connsiteY69" fmla="*/ 0 h 237678"/>
                <a:gd name="connsiteX70" fmla="*/ 357188 w 1226820"/>
                <a:gd name="connsiteY70" fmla="*/ 0 h 237678"/>
                <a:gd name="connsiteX71" fmla="*/ 324803 w 1226820"/>
                <a:gd name="connsiteY71" fmla="*/ 0 h 237678"/>
                <a:gd name="connsiteX72" fmla="*/ 292417 w 1226820"/>
                <a:gd name="connsiteY72" fmla="*/ 0 h 237678"/>
                <a:gd name="connsiteX73" fmla="*/ 260985 w 1226820"/>
                <a:gd name="connsiteY73" fmla="*/ 0 h 237678"/>
                <a:gd name="connsiteX74" fmla="*/ 226695 w 1226820"/>
                <a:gd name="connsiteY74" fmla="*/ 0 h 237678"/>
                <a:gd name="connsiteX75" fmla="*/ 190500 w 1226820"/>
                <a:gd name="connsiteY75" fmla="*/ 0 h 237678"/>
                <a:gd name="connsiteX76" fmla="*/ 152400 w 1226820"/>
                <a:gd name="connsiteY76" fmla="*/ 0 h 237678"/>
                <a:gd name="connsiteX77" fmla="*/ 112395 w 1226820"/>
                <a:gd name="connsiteY77" fmla="*/ 0 h 237678"/>
                <a:gd name="connsiteX78" fmla="*/ 73342 w 1226820"/>
                <a:gd name="connsiteY78" fmla="*/ 0 h 237678"/>
                <a:gd name="connsiteX79" fmla="*/ 40958 w 1226820"/>
                <a:gd name="connsiteY79" fmla="*/ 0 h 237678"/>
                <a:gd name="connsiteX80" fmla="*/ 17145 w 1226820"/>
                <a:gd name="connsiteY80" fmla="*/ 0 h 237678"/>
                <a:gd name="connsiteX81" fmla="*/ 3810 w 1226820"/>
                <a:gd name="connsiteY81" fmla="*/ 0 h 237678"/>
                <a:gd name="connsiteX82" fmla="*/ 0 w 1226820"/>
                <a:gd name="connsiteY82" fmla="*/ 0 h 237678"/>
                <a:gd name="connsiteX83" fmla="*/ 0 w 1226820"/>
                <a:gd name="connsiteY83" fmla="*/ 0 h 237678"/>
                <a:gd name="connsiteX84" fmla="*/ 0 w 1226820"/>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7678">
                  <a:moveTo>
                    <a:pt x="0" y="237678"/>
                  </a:moveTo>
                  <a:lnTo>
                    <a:pt x="953" y="237678"/>
                  </a:lnTo>
                  <a:lnTo>
                    <a:pt x="8573" y="237678"/>
                  </a:lnTo>
                  <a:lnTo>
                    <a:pt x="26670" y="237678"/>
                  </a:lnTo>
                  <a:lnTo>
                    <a:pt x="56198" y="237678"/>
                  </a:lnTo>
                  <a:lnTo>
                    <a:pt x="92392" y="237678"/>
                  </a:lnTo>
                  <a:lnTo>
                    <a:pt x="132398" y="237678"/>
                  </a:lnTo>
                  <a:lnTo>
                    <a:pt x="171450" y="237678"/>
                  </a:lnTo>
                  <a:lnTo>
                    <a:pt x="208598" y="237678"/>
                  </a:lnTo>
                  <a:lnTo>
                    <a:pt x="243840" y="237678"/>
                  </a:lnTo>
                  <a:lnTo>
                    <a:pt x="276225" y="237678"/>
                  </a:lnTo>
                  <a:lnTo>
                    <a:pt x="308610" y="237678"/>
                  </a:lnTo>
                  <a:lnTo>
                    <a:pt x="340995" y="237678"/>
                  </a:lnTo>
                  <a:lnTo>
                    <a:pt x="357188" y="237678"/>
                  </a:lnTo>
                  <a:lnTo>
                    <a:pt x="386715" y="237678"/>
                  </a:lnTo>
                  <a:lnTo>
                    <a:pt x="417195" y="237678"/>
                  </a:lnTo>
                  <a:lnTo>
                    <a:pt x="449580" y="237678"/>
                  </a:lnTo>
                  <a:lnTo>
                    <a:pt x="483870" y="237678"/>
                  </a:lnTo>
                  <a:lnTo>
                    <a:pt x="519113" y="237678"/>
                  </a:lnTo>
                  <a:lnTo>
                    <a:pt x="556260" y="237678"/>
                  </a:lnTo>
                  <a:lnTo>
                    <a:pt x="594360" y="237678"/>
                  </a:lnTo>
                  <a:lnTo>
                    <a:pt x="633413" y="237678"/>
                  </a:lnTo>
                  <a:lnTo>
                    <a:pt x="671513" y="237678"/>
                  </a:lnTo>
                  <a:lnTo>
                    <a:pt x="708660" y="237678"/>
                  </a:lnTo>
                  <a:lnTo>
                    <a:pt x="743902" y="237678"/>
                  </a:lnTo>
                  <a:lnTo>
                    <a:pt x="778193" y="237678"/>
                  </a:lnTo>
                  <a:lnTo>
                    <a:pt x="810577" y="237678"/>
                  </a:lnTo>
                  <a:lnTo>
                    <a:pt x="841058" y="237678"/>
                  </a:lnTo>
                  <a:lnTo>
                    <a:pt x="868680" y="237678"/>
                  </a:lnTo>
                  <a:lnTo>
                    <a:pt x="902018" y="237678"/>
                  </a:lnTo>
                  <a:lnTo>
                    <a:pt x="933450" y="237678"/>
                  </a:lnTo>
                  <a:lnTo>
                    <a:pt x="965835" y="237678"/>
                  </a:lnTo>
                  <a:lnTo>
                    <a:pt x="999173" y="237678"/>
                  </a:lnTo>
                  <a:lnTo>
                    <a:pt x="1035368" y="237678"/>
                  </a:lnTo>
                  <a:lnTo>
                    <a:pt x="1073468" y="237678"/>
                  </a:lnTo>
                  <a:lnTo>
                    <a:pt x="1113473" y="237678"/>
                  </a:lnTo>
                  <a:lnTo>
                    <a:pt x="1152525" y="237678"/>
                  </a:lnTo>
                  <a:lnTo>
                    <a:pt x="1185863" y="237678"/>
                  </a:lnTo>
                  <a:lnTo>
                    <a:pt x="1209675" y="237678"/>
                  </a:lnTo>
                  <a:lnTo>
                    <a:pt x="1222058" y="237678"/>
                  </a:lnTo>
                  <a:lnTo>
                    <a:pt x="1225868" y="237678"/>
                  </a:lnTo>
                  <a:lnTo>
                    <a:pt x="1226820" y="237678"/>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7678"/>
                  </a:lnTo>
                  <a:close/>
                </a:path>
              </a:pathLst>
            </a:custGeom>
            <a:noFill/>
            <a:ln w="9525" cap="flat">
              <a:solidFill>
                <a:srgbClr val="BBBDBF"/>
              </a:solidFill>
              <a:prstDash val="solid"/>
              <a:miter/>
            </a:ln>
          </p:spPr>
          <p:txBody>
            <a:bodyPr rtlCol="0" anchor="ctr"/>
            <a:lstStyle/>
            <a:p>
              <a:endParaRPr lang="en-US" sz="1050"/>
            </a:p>
          </p:txBody>
        </p:sp>
        <p:sp>
          <p:nvSpPr>
            <p:cNvPr id="153" name="Freeform 141">
              <a:extLst>
                <a:ext uri="{FF2B5EF4-FFF2-40B4-BE49-F238E27FC236}">
                  <a16:creationId xmlns:a16="http://schemas.microsoft.com/office/drawing/2014/main" id="{222AA9C0-240F-7B59-2E70-E34475F9473C}"/>
                </a:ext>
              </a:extLst>
            </p:cNvPr>
            <p:cNvSpPr/>
            <p:nvPr/>
          </p:nvSpPr>
          <p:spPr>
            <a:xfrm>
              <a:off x="2147856" y="3639743"/>
              <a:ext cx="1226820" cy="237678"/>
            </a:xfrm>
            <a:custGeom>
              <a:avLst/>
              <a:gdLst>
                <a:gd name="connsiteX0" fmla="*/ 0 w 1226820"/>
                <a:gd name="connsiteY0" fmla="*/ 237678 h 237678"/>
                <a:gd name="connsiteX1" fmla="*/ 953 w 1226820"/>
                <a:gd name="connsiteY1" fmla="*/ 237678 h 237678"/>
                <a:gd name="connsiteX2" fmla="*/ 8573 w 1226820"/>
                <a:gd name="connsiteY2" fmla="*/ 237678 h 237678"/>
                <a:gd name="connsiteX3" fmla="*/ 26670 w 1226820"/>
                <a:gd name="connsiteY3" fmla="*/ 237678 h 237678"/>
                <a:gd name="connsiteX4" fmla="*/ 56198 w 1226820"/>
                <a:gd name="connsiteY4" fmla="*/ 237678 h 237678"/>
                <a:gd name="connsiteX5" fmla="*/ 92392 w 1226820"/>
                <a:gd name="connsiteY5" fmla="*/ 237678 h 237678"/>
                <a:gd name="connsiteX6" fmla="*/ 132398 w 1226820"/>
                <a:gd name="connsiteY6" fmla="*/ 237678 h 237678"/>
                <a:gd name="connsiteX7" fmla="*/ 171450 w 1226820"/>
                <a:gd name="connsiteY7" fmla="*/ 237678 h 237678"/>
                <a:gd name="connsiteX8" fmla="*/ 208598 w 1226820"/>
                <a:gd name="connsiteY8" fmla="*/ 237678 h 237678"/>
                <a:gd name="connsiteX9" fmla="*/ 243840 w 1226820"/>
                <a:gd name="connsiteY9" fmla="*/ 237678 h 237678"/>
                <a:gd name="connsiteX10" fmla="*/ 276225 w 1226820"/>
                <a:gd name="connsiteY10" fmla="*/ 237678 h 237678"/>
                <a:gd name="connsiteX11" fmla="*/ 308610 w 1226820"/>
                <a:gd name="connsiteY11" fmla="*/ 237678 h 237678"/>
                <a:gd name="connsiteX12" fmla="*/ 340995 w 1226820"/>
                <a:gd name="connsiteY12" fmla="*/ 237678 h 237678"/>
                <a:gd name="connsiteX13" fmla="*/ 357188 w 1226820"/>
                <a:gd name="connsiteY13" fmla="*/ 237678 h 237678"/>
                <a:gd name="connsiteX14" fmla="*/ 386715 w 1226820"/>
                <a:gd name="connsiteY14" fmla="*/ 237678 h 237678"/>
                <a:gd name="connsiteX15" fmla="*/ 417195 w 1226820"/>
                <a:gd name="connsiteY15" fmla="*/ 237678 h 237678"/>
                <a:gd name="connsiteX16" fmla="*/ 449580 w 1226820"/>
                <a:gd name="connsiteY16" fmla="*/ 237678 h 237678"/>
                <a:gd name="connsiteX17" fmla="*/ 483870 w 1226820"/>
                <a:gd name="connsiteY17" fmla="*/ 237678 h 237678"/>
                <a:gd name="connsiteX18" fmla="*/ 519113 w 1226820"/>
                <a:gd name="connsiteY18" fmla="*/ 237678 h 237678"/>
                <a:gd name="connsiteX19" fmla="*/ 556260 w 1226820"/>
                <a:gd name="connsiteY19" fmla="*/ 237678 h 237678"/>
                <a:gd name="connsiteX20" fmla="*/ 594360 w 1226820"/>
                <a:gd name="connsiteY20" fmla="*/ 237678 h 237678"/>
                <a:gd name="connsiteX21" fmla="*/ 633413 w 1226820"/>
                <a:gd name="connsiteY21" fmla="*/ 237678 h 237678"/>
                <a:gd name="connsiteX22" fmla="*/ 671513 w 1226820"/>
                <a:gd name="connsiteY22" fmla="*/ 237678 h 237678"/>
                <a:gd name="connsiteX23" fmla="*/ 708660 w 1226820"/>
                <a:gd name="connsiteY23" fmla="*/ 237678 h 237678"/>
                <a:gd name="connsiteX24" fmla="*/ 743902 w 1226820"/>
                <a:gd name="connsiteY24" fmla="*/ 237678 h 237678"/>
                <a:gd name="connsiteX25" fmla="*/ 778193 w 1226820"/>
                <a:gd name="connsiteY25" fmla="*/ 237678 h 237678"/>
                <a:gd name="connsiteX26" fmla="*/ 810577 w 1226820"/>
                <a:gd name="connsiteY26" fmla="*/ 237678 h 237678"/>
                <a:gd name="connsiteX27" fmla="*/ 841058 w 1226820"/>
                <a:gd name="connsiteY27" fmla="*/ 237678 h 237678"/>
                <a:gd name="connsiteX28" fmla="*/ 868680 w 1226820"/>
                <a:gd name="connsiteY28" fmla="*/ 237678 h 237678"/>
                <a:gd name="connsiteX29" fmla="*/ 902018 w 1226820"/>
                <a:gd name="connsiteY29" fmla="*/ 237678 h 237678"/>
                <a:gd name="connsiteX30" fmla="*/ 933450 w 1226820"/>
                <a:gd name="connsiteY30" fmla="*/ 237678 h 237678"/>
                <a:gd name="connsiteX31" fmla="*/ 965835 w 1226820"/>
                <a:gd name="connsiteY31" fmla="*/ 237678 h 237678"/>
                <a:gd name="connsiteX32" fmla="*/ 999173 w 1226820"/>
                <a:gd name="connsiteY32" fmla="*/ 237678 h 237678"/>
                <a:gd name="connsiteX33" fmla="*/ 1035368 w 1226820"/>
                <a:gd name="connsiteY33" fmla="*/ 237678 h 237678"/>
                <a:gd name="connsiteX34" fmla="*/ 1073468 w 1226820"/>
                <a:gd name="connsiteY34" fmla="*/ 237678 h 237678"/>
                <a:gd name="connsiteX35" fmla="*/ 1113473 w 1226820"/>
                <a:gd name="connsiteY35" fmla="*/ 237678 h 237678"/>
                <a:gd name="connsiteX36" fmla="*/ 1152525 w 1226820"/>
                <a:gd name="connsiteY36" fmla="*/ 237678 h 237678"/>
                <a:gd name="connsiteX37" fmla="*/ 1185863 w 1226820"/>
                <a:gd name="connsiteY37" fmla="*/ 237678 h 237678"/>
                <a:gd name="connsiteX38" fmla="*/ 1209675 w 1226820"/>
                <a:gd name="connsiteY38" fmla="*/ 237678 h 237678"/>
                <a:gd name="connsiteX39" fmla="*/ 1222058 w 1226820"/>
                <a:gd name="connsiteY39" fmla="*/ 237678 h 237678"/>
                <a:gd name="connsiteX40" fmla="*/ 1225868 w 1226820"/>
                <a:gd name="connsiteY40" fmla="*/ 237678 h 237678"/>
                <a:gd name="connsiteX41" fmla="*/ 1226820 w 1226820"/>
                <a:gd name="connsiteY41" fmla="*/ 237678 h 237678"/>
                <a:gd name="connsiteX42" fmla="*/ 1226820 w 1226820"/>
                <a:gd name="connsiteY42" fmla="*/ 0 h 237678"/>
                <a:gd name="connsiteX43" fmla="*/ 1224915 w 1226820"/>
                <a:gd name="connsiteY43" fmla="*/ 0 h 237678"/>
                <a:gd name="connsiteX44" fmla="*/ 1217295 w 1226820"/>
                <a:gd name="connsiteY44" fmla="*/ 0 h 237678"/>
                <a:gd name="connsiteX45" fmla="*/ 1199198 w 1226820"/>
                <a:gd name="connsiteY45" fmla="*/ 0 h 237678"/>
                <a:gd name="connsiteX46" fmla="*/ 1170623 w 1226820"/>
                <a:gd name="connsiteY46" fmla="*/ 0 h 237678"/>
                <a:gd name="connsiteX47" fmla="*/ 1133475 w 1226820"/>
                <a:gd name="connsiteY47" fmla="*/ 0 h 237678"/>
                <a:gd name="connsiteX48" fmla="*/ 1094423 w 1226820"/>
                <a:gd name="connsiteY48" fmla="*/ 0 h 237678"/>
                <a:gd name="connsiteX49" fmla="*/ 1054418 w 1226820"/>
                <a:gd name="connsiteY49" fmla="*/ 0 h 237678"/>
                <a:gd name="connsiteX50" fmla="*/ 1017270 w 1226820"/>
                <a:gd name="connsiteY50" fmla="*/ 0 h 237678"/>
                <a:gd name="connsiteX51" fmla="*/ 982980 w 1226820"/>
                <a:gd name="connsiteY51" fmla="*/ 0 h 237678"/>
                <a:gd name="connsiteX52" fmla="*/ 949643 w 1226820"/>
                <a:gd name="connsiteY52" fmla="*/ 0 h 237678"/>
                <a:gd name="connsiteX53" fmla="*/ 918210 w 1226820"/>
                <a:gd name="connsiteY53" fmla="*/ 0 h 237678"/>
                <a:gd name="connsiteX54" fmla="*/ 885825 w 1226820"/>
                <a:gd name="connsiteY54" fmla="*/ 0 h 237678"/>
                <a:gd name="connsiteX55" fmla="*/ 868680 w 1226820"/>
                <a:gd name="connsiteY55" fmla="*/ 0 h 237678"/>
                <a:gd name="connsiteX56" fmla="*/ 840105 w 1226820"/>
                <a:gd name="connsiteY56" fmla="*/ 0 h 237678"/>
                <a:gd name="connsiteX57" fmla="*/ 809625 w 1226820"/>
                <a:gd name="connsiteY57" fmla="*/ 0 h 237678"/>
                <a:gd name="connsiteX58" fmla="*/ 777240 w 1226820"/>
                <a:gd name="connsiteY58" fmla="*/ 0 h 237678"/>
                <a:gd name="connsiteX59" fmla="*/ 742950 w 1226820"/>
                <a:gd name="connsiteY59" fmla="*/ 0 h 237678"/>
                <a:gd name="connsiteX60" fmla="*/ 706755 w 1226820"/>
                <a:gd name="connsiteY60" fmla="*/ 0 h 237678"/>
                <a:gd name="connsiteX61" fmla="*/ 669608 w 1226820"/>
                <a:gd name="connsiteY61" fmla="*/ 0 h 237678"/>
                <a:gd name="connsiteX62" fmla="*/ 631508 w 1226820"/>
                <a:gd name="connsiteY62" fmla="*/ 0 h 237678"/>
                <a:gd name="connsiteX63" fmla="*/ 593408 w 1226820"/>
                <a:gd name="connsiteY63" fmla="*/ 0 h 237678"/>
                <a:gd name="connsiteX64" fmla="*/ 555308 w 1226820"/>
                <a:gd name="connsiteY64" fmla="*/ 0 h 237678"/>
                <a:gd name="connsiteX65" fmla="*/ 517208 w 1226820"/>
                <a:gd name="connsiteY65" fmla="*/ 0 h 237678"/>
                <a:gd name="connsiteX66" fmla="*/ 481965 w 1226820"/>
                <a:gd name="connsiteY66" fmla="*/ 0 h 237678"/>
                <a:gd name="connsiteX67" fmla="*/ 447675 w 1226820"/>
                <a:gd name="connsiteY67" fmla="*/ 0 h 237678"/>
                <a:gd name="connsiteX68" fmla="*/ 415290 w 1226820"/>
                <a:gd name="connsiteY68" fmla="*/ 0 h 237678"/>
                <a:gd name="connsiteX69" fmla="*/ 384810 w 1226820"/>
                <a:gd name="connsiteY69" fmla="*/ 0 h 237678"/>
                <a:gd name="connsiteX70" fmla="*/ 357188 w 1226820"/>
                <a:gd name="connsiteY70" fmla="*/ 0 h 237678"/>
                <a:gd name="connsiteX71" fmla="*/ 324803 w 1226820"/>
                <a:gd name="connsiteY71" fmla="*/ 0 h 237678"/>
                <a:gd name="connsiteX72" fmla="*/ 292417 w 1226820"/>
                <a:gd name="connsiteY72" fmla="*/ 0 h 237678"/>
                <a:gd name="connsiteX73" fmla="*/ 260985 w 1226820"/>
                <a:gd name="connsiteY73" fmla="*/ 0 h 237678"/>
                <a:gd name="connsiteX74" fmla="*/ 226695 w 1226820"/>
                <a:gd name="connsiteY74" fmla="*/ 0 h 237678"/>
                <a:gd name="connsiteX75" fmla="*/ 190500 w 1226820"/>
                <a:gd name="connsiteY75" fmla="*/ 0 h 237678"/>
                <a:gd name="connsiteX76" fmla="*/ 152400 w 1226820"/>
                <a:gd name="connsiteY76" fmla="*/ 0 h 237678"/>
                <a:gd name="connsiteX77" fmla="*/ 112395 w 1226820"/>
                <a:gd name="connsiteY77" fmla="*/ 0 h 237678"/>
                <a:gd name="connsiteX78" fmla="*/ 73342 w 1226820"/>
                <a:gd name="connsiteY78" fmla="*/ 0 h 237678"/>
                <a:gd name="connsiteX79" fmla="*/ 40958 w 1226820"/>
                <a:gd name="connsiteY79" fmla="*/ 0 h 237678"/>
                <a:gd name="connsiteX80" fmla="*/ 17145 w 1226820"/>
                <a:gd name="connsiteY80" fmla="*/ 0 h 237678"/>
                <a:gd name="connsiteX81" fmla="*/ 3810 w 1226820"/>
                <a:gd name="connsiteY81" fmla="*/ 0 h 237678"/>
                <a:gd name="connsiteX82" fmla="*/ 0 w 1226820"/>
                <a:gd name="connsiteY82" fmla="*/ 0 h 237678"/>
                <a:gd name="connsiteX83" fmla="*/ 0 w 1226820"/>
                <a:gd name="connsiteY83" fmla="*/ 0 h 237678"/>
                <a:gd name="connsiteX84" fmla="*/ 0 w 1226820"/>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7678">
                  <a:moveTo>
                    <a:pt x="0" y="237678"/>
                  </a:moveTo>
                  <a:lnTo>
                    <a:pt x="953" y="237678"/>
                  </a:lnTo>
                  <a:lnTo>
                    <a:pt x="8573" y="237678"/>
                  </a:lnTo>
                  <a:lnTo>
                    <a:pt x="26670" y="237678"/>
                  </a:lnTo>
                  <a:lnTo>
                    <a:pt x="56198" y="237678"/>
                  </a:lnTo>
                  <a:lnTo>
                    <a:pt x="92392" y="237678"/>
                  </a:lnTo>
                  <a:lnTo>
                    <a:pt x="132398" y="237678"/>
                  </a:lnTo>
                  <a:lnTo>
                    <a:pt x="171450" y="237678"/>
                  </a:lnTo>
                  <a:lnTo>
                    <a:pt x="208598" y="237678"/>
                  </a:lnTo>
                  <a:lnTo>
                    <a:pt x="243840" y="237678"/>
                  </a:lnTo>
                  <a:lnTo>
                    <a:pt x="276225" y="237678"/>
                  </a:lnTo>
                  <a:lnTo>
                    <a:pt x="308610" y="237678"/>
                  </a:lnTo>
                  <a:lnTo>
                    <a:pt x="340995" y="237678"/>
                  </a:lnTo>
                  <a:lnTo>
                    <a:pt x="357188" y="237678"/>
                  </a:lnTo>
                  <a:lnTo>
                    <a:pt x="386715" y="237678"/>
                  </a:lnTo>
                  <a:lnTo>
                    <a:pt x="417195" y="237678"/>
                  </a:lnTo>
                  <a:lnTo>
                    <a:pt x="449580" y="237678"/>
                  </a:lnTo>
                  <a:lnTo>
                    <a:pt x="483870" y="237678"/>
                  </a:lnTo>
                  <a:lnTo>
                    <a:pt x="519113" y="237678"/>
                  </a:lnTo>
                  <a:lnTo>
                    <a:pt x="556260" y="237678"/>
                  </a:lnTo>
                  <a:lnTo>
                    <a:pt x="594360" y="237678"/>
                  </a:lnTo>
                  <a:lnTo>
                    <a:pt x="633413" y="237678"/>
                  </a:lnTo>
                  <a:lnTo>
                    <a:pt x="671513" y="237678"/>
                  </a:lnTo>
                  <a:lnTo>
                    <a:pt x="708660" y="237678"/>
                  </a:lnTo>
                  <a:lnTo>
                    <a:pt x="743902" y="237678"/>
                  </a:lnTo>
                  <a:lnTo>
                    <a:pt x="778193" y="237678"/>
                  </a:lnTo>
                  <a:lnTo>
                    <a:pt x="810577" y="237678"/>
                  </a:lnTo>
                  <a:lnTo>
                    <a:pt x="841058" y="237678"/>
                  </a:lnTo>
                  <a:lnTo>
                    <a:pt x="868680" y="237678"/>
                  </a:lnTo>
                  <a:lnTo>
                    <a:pt x="902018" y="237678"/>
                  </a:lnTo>
                  <a:lnTo>
                    <a:pt x="933450" y="237678"/>
                  </a:lnTo>
                  <a:lnTo>
                    <a:pt x="965835" y="237678"/>
                  </a:lnTo>
                  <a:lnTo>
                    <a:pt x="999173" y="237678"/>
                  </a:lnTo>
                  <a:lnTo>
                    <a:pt x="1035368" y="237678"/>
                  </a:lnTo>
                  <a:lnTo>
                    <a:pt x="1073468" y="237678"/>
                  </a:lnTo>
                  <a:lnTo>
                    <a:pt x="1113473" y="237678"/>
                  </a:lnTo>
                  <a:lnTo>
                    <a:pt x="1152525" y="237678"/>
                  </a:lnTo>
                  <a:lnTo>
                    <a:pt x="1185863" y="237678"/>
                  </a:lnTo>
                  <a:lnTo>
                    <a:pt x="1209675" y="237678"/>
                  </a:lnTo>
                  <a:lnTo>
                    <a:pt x="1222058" y="237678"/>
                  </a:lnTo>
                  <a:lnTo>
                    <a:pt x="1225868" y="237678"/>
                  </a:lnTo>
                  <a:lnTo>
                    <a:pt x="1226820" y="237678"/>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7678"/>
                  </a:lnTo>
                  <a:close/>
                </a:path>
              </a:pathLst>
            </a:custGeom>
            <a:solidFill>
              <a:srgbClr val="BBBDBF">
                <a:alpha val="60000"/>
              </a:srgbClr>
            </a:solidFill>
            <a:ln w="9525" cap="flat">
              <a:noFill/>
              <a:prstDash val="solid"/>
              <a:miter/>
            </a:ln>
          </p:spPr>
          <p:txBody>
            <a:bodyPr rtlCol="0" anchor="ctr"/>
            <a:lstStyle/>
            <a:p>
              <a:endParaRPr lang="en-US" sz="1050"/>
            </a:p>
          </p:txBody>
        </p:sp>
        <p:sp>
          <p:nvSpPr>
            <p:cNvPr id="154" name="Freeform 142">
              <a:extLst>
                <a:ext uri="{FF2B5EF4-FFF2-40B4-BE49-F238E27FC236}">
                  <a16:creationId xmlns:a16="http://schemas.microsoft.com/office/drawing/2014/main" id="{47696A80-6E5E-8141-3846-E02C6E13CECB}"/>
                </a:ext>
              </a:extLst>
            </p:cNvPr>
            <p:cNvSpPr/>
            <p:nvPr/>
          </p:nvSpPr>
          <p:spPr>
            <a:xfrm>
              <a:off x="2147856" y="3639743"/>
              <a:ext cx="1226820" cy="237678"/>
            </a:xfrm>
            <a:custGeom>
              <a:avLst/>
              <a:gdLst>
                <a:gd name="connsiteX0" fmla="*/ 0 w 1226820"/>
                <a:gd name="connsiteY0" fmla="*/ 237678 h 237678"/>
                <a:gd name="connsiteX1" fmla="*/ 953 w 1226820"/>
                <a:gd name="connsiteY1" fmla="*/ 237678 h 237678"/>
                <a:gd name="connsiteX2" fmla="*/ 8573 w 1226820"/>
                <a:gd name="connsiteY2" fmla="*/ 237678 h 237678"/>
                <a:gd name="connsiteX3" fmla="*/ 26670 w 1226820"/>
                <a:gd name="connsiteY3" fmla="*/ 237678 h 237678"/>
                <a:gd name="connsiteX4" fmla="*/ 56198 w 1226820"/>
                <a:gd name="connsiteY4" fmla="*/ 237678 h 237678"/>
                <a:gd name="connsiteX5" fmla="*/ 92392 w 1226820"/>
                <a:gd name="connsiteY5" fmla="*/ 237678 h 237678"/>
                <a:gd name="connsiteX6" fmla="*/ 132398 w 1226820"/>
                <a:gd name="connsiteY6" fmla="*/ 237678 h 237678"/>
                <a:gd name="connsiteX7" fmla="*/ 171450 w 1226820"/>
                <a:gd name="connsiteY7" fmla="*/ 237678 h 237678"/>
                <a:gd name="connsiteX8" fmla="*/ 208598 w 1226820"/>
                <a:gd name="connsiteY8" fmla="*/ 237678 h 237678"/>
                <a:gd name="connsiteX9" fmla="*/ 243840 w 1226820"/>
                <a:gd name="connsiteY9" fmla="*/ 237678 h 237678"/>
                <a:gd name="connsiteX10" fmla="*/ 276225 w 1226820"/>
                <a:gd name="connsiteY10" fmla="*/ 237678 h 237678"/>
                <a:gd name="connsiteX11" fmla="*/ 308610 w 1226820"/>
                <a:gd name="connsiteY11" fmla="*/ 237678 h 237678"/>
                <a:gd name="connsiteX12" fmla="*/ 340995 w 1226820"/>
                <a:gd name="connsiteY12" fmla="*/ 237678 h 237678"/>
                <a:gd name="connsiteX13" fmla="*/ 357188 w 1226820"/>
                <a:gd name="connsiteY13" fmla="*/ 237678 h 237678"/>
                <a:gd name="connsiteX14" fmla="*/ 386715 w 1226820"/>
                <a:gd name="connsiteY14" fmla="*/ 237678 h 237678"/>
                <a:gd name="connsiteX15" fmla="*/ 417195 w 1226820"/>
                <a:gd name="connsiteY15" fmla="*/ 237678 h 237678"/>
                <a:gd name="connsiteX16" fmla="*/ 449580 w 1226820"/>
                <a:gd name="connsiteY16" fmla="*/ 237678 h 237678"/>
                <a:gd name="connsiteX17" fmla="*/ 483870 w 1226820"/>
                <a:gd name="connsiteY17" fmla="*/ 237678 h 237678"/>
                <a:gd name="connsiteX18" fmla="*/ 519113 w 1226820"/>
                <a:gd name="connsiteY18" fmla="*/ 237678 h 237678"/>
                <a:gd name="connsiteX19" fmla="*/ 556260 w 1226820"/>
                <a:gd name="connsiteY19" fmla="*/ 237678 h 237678"/>
                <a:gd name="connsiteX20" fmla="*/ 594360 w 1226820"/>
                <a:gd name="connsiteY20" fmla="*/ 237678 h 237678"/>
                <a:gd name="connsiteX21" fmla="*/ 633413 w 1226820"/>
                <a:gd name="connsiteY21" fmla="*/ 237678 h 237678"/>
                <a:gd name="connsiteX22" fmla="*/ 671513 w 1226820"/>
                <a:gd name="connsiteY22" fmla="*/ 237678 h 237678"/>
                <a:gd name="connsiteX23" fmla="*/ 708660 w 1226820"/>
                <a:gd name="connsiteY23" fmla="*/ 237678 h 237678"/>
                <a:gd name="connsiteX24" fmla="*/ 743902 w 1226820"/>
                <a:gd name="connsiteY24" fmla="*/ 237678 h 237678"/>
                <a:gd name="connsiteX25" fmla="*/ 778193 w 1226820"/>
                <a:gd name="connsiteY25" fmla="*/ 237678 h 237678"/>
                <a:gd name="connsiteX26" fmla="*/ 810577 w 1226820"/>
                <a:gd name="connsiteY26" fmla="*/ 237678 h 237678"/>
                <a:gd name="connsiteX27" fmla="*/ 841058 w 1226820"/>
                <a:gd name="connsiteY27" fmla="*/ 237678 h 237678"/>
                <a:gd name="connsiteX28" fmla="*/ 868680 w 1226820"/>
                <a:gd name="connsiteY28" fmla="*/ 237678 h 237678"/>
                <a:gd name="connsiteX29" fmla="*/ 902018 w 1226820"/>
                <a:gd name="connsiteY29" fmla="*/ 237678 h 237678"/>
                <a:gd name="connsiteX30" fmla="*/ 933450 w 1226820"/>
                <a:gd name="connsiteY30" fmla="*/ 237678 h 237678"/>
                <a:gd name="connsiteX31" fmla="*/ 965835 w 1226820"/>
                <a:gd name="connsiteY31" fmla="*/ 237678 h 237678"/>
                <a:gd name="connsiteX32" fmla="*/ 999173 w 1226820"/>
                <a:gd name="connsiteY32" fmla="*/ 237678 h 237678"/>
                <a:gd name="connsiteX33" fmla="*/ 1035368 w 1226820"/>
                <a:gd name="connsiteY33" fmla="*/ 237678 h 237678"/>
                <a:gd name="connsiteX34" fmla="*/ 1073468 w 1226820"/>
                <a:gd name="connsiteY34" fmla="*/ 237678 h 237678"/>
                <a:gd name="connsiteX35" fmla="*/ 1113473 w 1226820"/>
                <a:gd name="connsiteY35" fmla="*/ 237678 h 237678"/>
                <a:gd name="connsiteX36" fmla="*/ 1152525 w 1226820"/>
                <a:gd name="connsiteY36" fmla="*/ 237678 h 237678"/>
                <a:gd name="connsiteX37" fmla="*/ 1185863 w 1226820"/>
                <a:gd name="connsiteY37" fmla="*/ 237678 h 237678"/>
                <a:gd name="connsiteX38" fmla="*/ 1209675 w 1226820"/>
                <a:gd name="connsiteY38" fmla="*/ 237678 h 237678"/>
                <a:gd name="connsiteX39" fmla="*/ 1222058 w 1226820"/>
                <a:gd name="connsiteY39" fmla="*/ 237678 h 237678"/>
                <a:gd name="connsiteX40" fmla="*/ 1225868 w 1226820"/>
                <a:gd name="connsiteY40" fmla="*/ 237678 h 237678"/>
                <a:gd name="connsiteX41" fmla="*/ 1226820 w 1226820"/>
                <a:gd name="connsiteY41" fmla="*/ 237678 h 237678"/>
                <a:gd name="connsiteX42" fmla="*/ 1226820 w 1226820"/>
                <a:gd name="connsiteY42" fmla="*/ 0 h 237678"/>
                <a:gd name="connsiteX43" fmla="*/ 1224915 w 1226820"/>
                <a:gd name="connsiteY43" fmla="*/ 0 h 237678"/>
                <a:gd name="connsiteX44" fmla="*/ 1217295 w 1226820"/>
                <a:gd name="connsiteY44" fmla="*/ 0 h 237678"/>
                <a:gd name="connsiteX45" fmla="*/ 1199198 w 1226820"/>
                <a:gd name="connsiteY45" fmla="*/ 0 h 237678"/>
                <a:gd name="connsiteX46" fmla="*/ 1170623 w 1226820"/>
                <a:gd name="connsiteY46" fmla="*/ 0 h 237678"/>
                <a:gd name="connsiteX47" fmla="*/ 1133475 w 1226820"/>
                <a:gd name="connsiteY47" fmla="*/ 0 h 237678"/>
                <a:gd name="connsiteX48" fmla="*/ 1094423 w 1226820"/>
                <a:gd name="connsiteY48" fmla="*/ 0 h 237678"/>
                <a:gd name="connsiteX49" fmla="*/ 1054418 w 1226820"/>
                <a:gd name="connsiteY49" fmla="*/ 0 h 237678"/>
                <a:gd name="connsiteX50" fmla="*/ 1017270 w 1226820"/>
                <a:gd name="connsiteY50" fmla="*/ 0 h 237678"/>
                <a:gd name="connsiteX51" fmla="*/ 982980 w 1226820"/>
                <a:gd name="connsiteY51" fmla="*/ 0 h 237678"/>
                <a:gd name="connsiteX52" fmla="*/ 949643 w 1226820"/>
                <a:gd name="connsiteY52" fmla="*/ 0 h 237678"/>
                <a:gd name="connsiteX53" fmla="*/ 918210 w 1226820"/>
                <a:gd name="connsiteY53" fmla="*/ 0 h 237678"/>
                <a:gd name="connsiteX54" fmla="*/ 885825 w 1226820"/>
                <a:gd name="connsiteY54" fmla="*/ 0 h 237678"/>
                <a:gd name="connsiteX55" fmla="*/ 868680 w 1226820"/>
                <a:gd name="connsiteY55" fmla="*/ 0 h 237678"/>
                <a:gd name="connsiteX56" fmla="*/ 840105 w 1226820"/>
                <a:gd name="connsiteY56" fmla="*/ 0 h 237678"/>
                <a:gd name="connsiteX57" fmla="*/ 809625 w 1226820"/>
                <a:gd name="connsiteY57" fmla="*/ 0 h 237678"/>
                <a:gd name="connsiteX58" fmla="*/ 777240 w 1226820"/>
                <a:gd name="connsiteY58" fmla="*/ 0 h 237678"/>
                <a:gd name="connsiteX59" fmla="*/ 742950 w 1226820"/>
                <a:gd name="connsiteY59" fmla="*/ 0 h 237678"/>
                <a:gd name="connsiteX60" fmla="*/ 706755 w 1226820"/>
                <a:gd name="connsiteY60" fmla="*/ 0 h 237678"/>
                <a:gd name="connsiteX61" fmla="*/ 669608 w 1226820"/>
                <a:gd name="connsiteY61" fmla="*/ 0 h 237678"/>
                <a:gd name="connsiteX62" fmla="*/ 631508 w 1226820"/>
                <a:gd name="connsiteY62" fmla="*/ 0 h 237678"/>
                <a:gd name="connsiteX63" fmla="*/ 593408 w 1226820"/>
                <a:gd name="connsiteY63" fmla="*/ 0 h 237678"/>
                <a:gd name="connsiteX64" fmla="*/ 555308 w 1226820"/>
                <a:gd name="connsiteY64" fmla="*/ 0 h 237678"/>
                <a:gd name="connsiteX65" fmla="*/ 517208 w 1226820"/>
                <a:gd name="connsiteY65" fmla="*/ 0 h 237678"/>
                <a:gd name="connsiteX66" fmla="*/ 481965 w 1226820"/>
                <a:gd name="connsiteY66" fmla="*/ 0 h 237678"/>
                <a:gd name="connsiteX67" fmla="*/ 447675 w 1226820"/>
                <a:gd name="connsiteY67" fmla="*/ 0 h 237678"/>
                <a:gd name="connsiteX68" fmla="*/ 415290 w 1226820"/>
                <a:gd name="connsiteY68" fmla="*/ 0 h 237678"/>
                <a:gd name="connsiteX69" fmla="*/ 384810 w 1226820"/>
                <a:gd name="connsiteY69" fmla="*/ 0 h 237678"/>
                <a:gd name="connsiteX70" fmla="*/ 357188 w 1226820"/>
                <a:gd name="connsiteY70" fmla="*/ 0 h 237678"/>
                <a:gd name="connsiteX71" fmla="*/ 324803 w 1226820"/>
                <a:gd name="connsiteY71" fmla="*/ 0 h 237678"/>
                <a:gd name="connsiteX72" fmla="*/ 292417 w 1226820"/>
                <a:gd name="connsiteY72" fmla="*/ 0 h 237678"/>
                <a:gd name="connsiteX73" fmla="*/ 260985 w 1226820"/>
                <a:gd name="connsiteY73" fmla="*/ 0 h 237678"/>
                <a:gd name="connsiteX74" fmla="*/ 226695 w 1226820"/>
                <a:gd name="connsiteY74" fmla="*/ 0 h 237678"/>
                <a:gd name="connsiteX75" fmla="*/ 190500 w 1226820"/>
                <a:gd name="connsiteY75" fmla="*/ 0 h 237678"/>
                <a:gd name="connsiteX76" fmla="*/ 152400 w 1226820"/>
                <a:gd name="connsiteY76" fmla="*/ 0 h 237678"/>
                <a:gd name="connsiteX77" fmla="*/ 112395 w 1226820"/>
                <a:gd name="connsiteY77" fmla="*/ 0 h 237678"/>
                <a:gd name="connsiteX78" fmla="*/ 73342 w 1226820"/>
                <a:gd name="connsiteY78" fmla="*/ 0 h 237678"/>
                <a:gd name="connsiteX79" fmla="*/ 40958 w 1226820"/>
                <a:gd name="connsiteY79" fmla="*/ 0 h 237678"/>
                <a:gd name="connsiteX80" fmla="*/ 17145 w 1226820"/>
                <a:gd name="connsiteY80" fmla="*/ 0 h 237678"/>
                <a:gd name="connsiteX81" fmla="*/ 3810 w 1226820"/>
                <a:gd name="connsiteY81" fmla="*/ 0 h 237678"/>
                <a:gd name="connsiteX82" fmla="*/ 0 w 1226820"/>
                <a:gd name="connsiteY82" fmla="*/ 0 h 237678"/>
                <a:gd name="connsiteX83" fmla="*/ 0 w 1226820"/>
                <a:gd name="connsiteY83" fmla="*/ 0 h 237678"/>
                <a:gd name="connsiteX84" fmla="*/ 0 w 1226820"/>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7678">
                  <a:moveTo>
                    <a:pt x="0" y="237678"/>
                  </a:moveTo>
                  <a:lnTo>
                    <a:pt x="953" y="237678"/>
                  </a:lnTo>
                  <a:lnTo>
                    <a:pt x="8573" y="237678"/>
                  </a:lnTo>
                  <a:lnTo>
                    <a:pt x="26670" y="237678"/>
                  </a:lnTo>
                  <a:lnTo>
                    <a:pt x="56198" y="237678"/>
                  </a:lnTo>
                  <a:lnTo>
                    <a:pt x="92392" y="237678"/>
                  </a:lnTo>
                  <a:lnTo>
                    <a:pt x="132398" y="237678"/>
                  </a:lnTo>
                  <a:lnTo>
                    <a:pt x="171450" y="237678"/>
                  </a:lnTo>
                  <a:lnTo>
                    <a:pt x="208598" y="237678"/>
                  </a:lnTo>
                  <a:lnTo>
                    <a:pt x="243840" y="237678"/>
                  </a:lnTo>
                  <a:lnTo>
                    <a:pt x="276225" y="237678"/>
                  </a:lnTo>
                  <a:lnTo>
                    <a:pt x="308610" y="237678"/>
                  </a:lnTo>
                  <a:lnTo>
                    <a:pt x="340995" y="237678"/>
                  </a:lnTo>
                  <a:lnTo>
                    <a:pt x="357188" y="237678"/>
                  </a:lnTo>
                  <a:lnTo>
                    <a:pt x="386715" y="237678"/>
                  </a:lnTo>
                  <a:lnTo>
                    <a:pt x="417195" y="237678"/>
                  </a:lnTo>
                  <a:lnTo>
                    <a:pt x="449580" y="237678"/>
                  </a:lnTo>
                  <a:lnTo>
                    <a:pt x="483870" y="237678"/>
                  </a:lnTo>
                  <a:lnTo>
                    <a:pt x="519113" y="237678"/>
                  </a:lnTo>
                  <a:lnTo>
                    <a:pt x="556260" y="237678"/>
                  </a:lnTo>
                  <a:lnTo>
                    <a:pt x="594360" y="237678"/>
                  </a:lnTo>
                  <a:lnTo>
                    <a:pt x="633413" y="237678"/>
                  </a:lnTo>
                  <a:lnTo>
                    <a:pt x="671513" y="237678"/>
                  </a:lnTo>
                  <a:lnTo>
                    <a:pt x="708660" y="237678"/>
                  </a:lnTo>
                  <a:lnTo>
                    <a:pt x="743902" y="237678"/>
                  </a:lnTo>
                  <a:lnTo>
                    <a:pt x="778193" y="237678"/>
                  </a:lnTo>
                  <a:lnTo>
                    <a:pt x="810577" y="237678"/>
                  </a:lnTo>
                  <a:lnTo>
                    <a:pt x="841058" y="237678"/>
                  </a:lnTo>
                  <a:lnTo>
                    <a:pt x="868680" y="237678"/>
                  </a:lnTo>
                  <a:lnTo>
                    <a:pt x="902018" y="237678"/>
                  </a:lnTo>
                  <a:lnTo>
                    <a:pt x="933450" y="237678"/>
                  </a:lnTo>
                  <a:lnTo>
                    <a:pt x="965835" y="237678"/>
                  </a:lnTo>
                  <a:lnTo>
                    <a:pt x="999173" y="237678"/>
                  </a:lnTo>
                  <a:lnTo>
                    <a:pt x="1035368" y="237678"/>
                  </a:lnTo>
                  <a:lnTo>
                    <a:pt x="1073468" y="237678"/>
                  </a:lnTo>
                  <a:lnTo>
                    <a:pt x="1113473" y="237678"/>
                  </a:lnTo>
                  <a:lnTo>
                    <a:pt x="1152525" y="237678"/>
                  </a:lnTo>
                  <a:lnTo>
                    <a:pt x="1185863" y="237678"/>
                  </a:lnTo>
                  <a:lnTo>
                    <a:pt x="1209675" y="237678"/>
                  </a:lnTo>
                  <a:lnTo>
                    <a:pt x="1222058" y="237678"/>
                  </a:lnTo>
                  <a:lnTo>
                    <a:pt x="1225868" y="237678"/>
                  </a:lnTo>
                  <a:lnTo>
                    <a:pt x="1226820" y="237678"/>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7678"/>
                  </a:lnTo>
                  <a:close/>
                </a:path>
              </a:pathLst>
            </a:custGeom>
            <a:noFill/>
            <a:ln w="9525" cap="flat">
              <a:solidFill>
                <a:srgbClr val="BBBDBF"/>
              </a:solidFill>
              <a:prstDash val="solid"/>
              <a:miter/>
            </a:ln>
          </p:spPr>
          <p:txBody>
            <a:bodyPr rtlCol="0" anchor="ctr"/>
            <a:lstStyle/>
            <a:p>
              <a:endParaRPr lang="en-US" sz="1050"/>
            </a:p>
          </p:txBody>
        </p:sp>
        <p:sp>
          <p:nvSpPr>
            <p:cNvPr id="155" name="Freeform 151">
              <a:extLst>
                <a:ext uri="{FF2B5EF4-FFF2-40B4-BE49-F238E27FC236}">
                  <a16:creationId xmlns:a16="http://schemas.microsoft.com/office/drawing/2014/main" id="{7E65D562-D4A7-80BE-0FFA-E41ADB9E2BD7}"/>
                </a:ext>
              </a:extLst>
            </p:cNvPr>
            <p:cNvSpPr/>
            <p:nvPr/>
          </p:nvSpPr>
          <p:spPr>
            <a:xfrm>
              <a:off x="2147856" y="3877421"/>
              <a:ext cx="1226820" cy="237678"/>
            </a:xfrm>
            <a:custGeom>
              <a:avLst/>
              <a:gdLst>
                <a:gd name="connsiteX0" fmla="*/ 0 w 1226820"/>
                <a:gd name="connsiteY0" fmla="*/ 237678 h 237678"/>
                <a:gd name="connsiteX1" fmla="*/ 953 w 1226820"/>
                <a:gd name="connsiteY1" fmla="*/ 237678 h 237678"/>
                <a:gd name="connsiteX2" fmla="*/ 8573 w 1226820"/>
                <a:gd name="connsiteY2" fmla="*/ 237678 h 237678"/>
                <a:gd name="connsiteX3" fmla="*/ 26670 w 1226820"/>
                <a:gd name="connsiteY3" fmla="*/ 237678 h 237678"/>
                <a:gd name="connsiteX4" fmla="*/ 56198 w 1226820"/>
                <a:gd name="connsiteY4" fmla="*/ 237678 h 237678"/>
                <a:gd name="connsiteX5" fmla="*/ 92392 w 1226820"/>
                <a:gd name="connsiteY5" fmla="*/ 237678 h 237678"/>
                <a:gd name="connsiteX6" fmla="*/ 132398 w 1226820"/>
                <a:gd name="connsiteY6" fmla="*/ 237678 h 237678"/>
                <a:gd name="connsiteX7" fmla="*/ 171450 w 1226820"/>
                <a:gd name="connsiteY7" fmla="*/ 237678 h 237678"/>
                <a:gd name="connsiteX8" fmla="*/ 208598 w 1226820"/>
                <a:gd name="connsiteY8" fmla="*/ 237678 h 237678"/>
                <a:gd name="connsiteX9" fmla="*/ 243840 w 1226820"/>
                <a:gd name="connsiteY9" fmla="*/ 237678 h 237678"/>
                <a:gd name="connsiteX10" fmla="*/ 276225 w 1226820"/>
                <a:gd name="connsiteY10" fmla="*/ 237678 h 237678"/>
                <a:gd name="connsiteX11" fmla="*/ 308610 w 1226820"/>
                <a:gd name="connsiteY11" fmla="*/ 237678 h 237678"/>
                <a:gd name="connsiteX12" fmla="*/ 340995 w 1226820"/>
                <a:gd name="connsiteY12" fmla="*/ 237678 h 237678"/>
                <a:gd name="connsiteX13" fmla="*/ 357188 w 1226820"/>
                <a:gd name="connsiteY13" fmla="*/ 237678 h 237678"/>
                <a:gd name="connsiteX14" fmla="*/ 386715 w 1226820"/>
                <a:gd name="connsiteY14" fmla="*/ 237678 h 237678"/>
                <a:gd name="connsiteX15" fmla="*/ 417195 w 1226820"/>
                <a:gd name="connsiteY15" fmla="*/ 237678 h 237678"/>
                <a:gd name="connsiteX16" fmla="*/ 449580 w 1226820"/>
                <a:gd name="connsiteY16" fmla="*/ 237678 h 237678"/>
                <a:gd name="connsiteX17" fmla="*/ 483870 w 1226820"/>
                <a:gd name="connsiteY17" fmla="*/ 237678 h 237678"/>
                <a:gd name="connsiteX18" fmla="*/ 519113 w 1226820"/>
                <a:gd name="connsiteY18" fmla="*/ 237678 h 237678"/>
                <a:gd name="connsiteX19" fmla="*/ 556260 w 1226820"/>
                <a:gd name="connsiteY19" fmla="*/ 237678 h 237678"/>
                <a:gd name="connsiteX20" fmla="*/ 594360 w 1226820"/>
                <a:gd name="connsiteY20" fmla="*/ 237678 h 237678"/>
                <a:gd name="connsiteX21" fmla="*/ 633413 w 1226820"/>
                <a:gd name="connsiteY21" fmla="*/ 237678 h 237678"/>
                <a:gd name="connsiteX22" fmla="*/ 671513 w 1226820"/>
                <a:gd name="connsiteY22" fmla="*/ 237678 h 237678"/>
                <a:gd name="connsiteX23" fmla="*/ 708660 w 1226820"/>
                <a:gd name="connsiteY23" fmla="*/ 237678 h 237678"/>
                <a:gd name="connsiteX24" fmla="*/ 743902 w 1226820"/>
                <a:gd name="connsiteY24" fmla="*/ 237678 h 237678"/>
                <a:gd name="connsiteX25" fmla="*/ 778193 w 1226820"/>
                <a:gd name="connsiteY25" fmla="*/ 237678 h 237678"/>
                <a:gd name="connsiteX26" fmla="*/ 810577 w 1226820"/>
                <a:gd name="connsiteY26" fmla="*/ 237678 h 237678"/>
                <a:gd name="connsiteX27" fmla="*/ 841058 w 1226820"/>
                <a:gd name="connsiteY27" fmla="*/ 237678 h 237678"/>
                <a:gd name="connsiteX28" fmla="*/ 868680 w 1226820"/>
                <a:gd name="connsiteY28" fmla="*/ 237678 h 237678"/>
                <a:gd name="connsiteX29" fmla="*/ 902018 w 1226820"/>
                <a:gd name="connsiteY29" fmla="*/ 237678 h 237678"/>
                <a:gd name="connsiteX30" fmla="*/ 933450 w 1226820"/>
                <a:gd name="connsiteY30" fmla="*/ 237678 h 237678"/>
                <a:gd name="connsiteX31" fmla="*/ 965835 w 1226820"/>
                <a:gd name="connsiteY31" fmla="*/ 237678 h 237678"/>
                <a:gd name="connsiteX32" fmla="*/ 999173 w 1226820"/>
                <a:gd name="connsiteY32" fmla="*/ 237678 h 237678"/>
                <a:gd name="connsiteX33" fmla="*/ 1035368 w 1226820"/>
                <a:gd name="connsiteY33" fmla="*/ 237678 h 237678"/>
                <a:gd name="connsiteX34" fmla="*/ 1073468 w 1226820"/>
                <a:gd name="connsiteY34" fmla="*/ 237678 h 237678"/>
                <a:gd name="connsiteX35" fmla="*/ 1113473 w 1226820"/>
                <a:gd name="connsiteY35" fmla="*/ 237678 h 237678"/>
                <a:gd name="connsiteX36" fmla="*/ 1152525 w 1226820"/>
                <a:gd name="connsiteY36" fmla="*/ 237678 h 237678"/>
                <a:gd name="connsiteX37" fmla="*/ 1185863 w 1226820"/>
                <a:gd name="connsiteY37" fmla="*/ 237678 h 237678"/>
                <a:gd name="connsiteX38" fmla="*/ 1209675 w 1226820"/>
                <a:gd name="connsiteY38" fmla="*/ 237678 h 237678"/>
                <a:gd name="connsiteX39" fmla="*/ 1222058 w 1226820"/>
                <a:gd name="connsiteY39" fmla="*/ 237678 h 237678"/>
                <a:gd name="connsiteX40" fmla="*/ 1225868 w 1226820"/>
                <a:gd name="connsiteY40" fmla="*/ 237678 h 237678"/>
                <a:gd name="connsiteX41" fmla="*/ 1226820 w 1226820"/>
                <a:gd name="connsiteY41" fmla="*/ 237678 h 237678"/>
                <a:gd name="connsiteX42" fmla="*/ 1226820 w 1226820"/>
                <a:gd name="connsiteY42" fmla="*/ 0 h 237678"/>
                <a:gd name="connsiteX43" fmla="*/ 1224915 w 1226820"/>
                <a:gd name="connsiteY43" fmla="*/ 0 h 237678"/>
                <a:gd name="connsiteX44" fmla="*/ 1217295 w 1226820"/>
                <a:gd name="connsiteY44" fmla="*/ 0 h 237678"/>
                <a:gd name="connsiteX45" fmla="*/ 1199198 w 1226820"/>
                <a:gd name="connsiteY45" fmla="*/ 0 h 237678"/>
                <a:gd name="connsiteX46" fmla="*/ 1170623 w 1226820"/>
                <a:gd name="connsiteY46" fmla="*/ 0 h 237678"/>
                <a:gd name="connsiteX47" fmla="*/ 1133475 w 1226820"/>
                <a:gd name="connsiteY47" fmla="*/ 0 h 237678"/>
                <a:gd name="connsiteX48" fmla="*/ 1094423 w 1226820"/>
                <a:gd name="connsiteY48" fmla="*/ 0 h 237678"/>
                <a:gd name="connsiteX49" fmla="*/ 1054418 w 1226820"/>
                <a:gd name="connsiteY49" fmla="*/ 0 h 237678"/>
                <a:gd name="connsiteX50" fmla="*/ 1017270 w 1226820"/>
                <a:gd name="connsiteY50" fmla="*/ 0 h 237678"/>
                <a:gd name="connsiteX51" fmla="*/ 982980 w 1226820"/>
                <a:gd name="connsiteY51" fmla="*/ 0 h 237678"/>
                <a:gd name="connsiteX52" fmla="*/ 949643 w 1226820"/>
                <a:gd name="connsiteY52" fmla="*/ 0 h 237678"/>
                <a:gd name="connsiteX53" fmla="*/ 918210 w 1226820"/>
                <a:gd name="connsiteY53" fmla="*/ 0 h 237678"/>
                <a:gd name="connsiteX54" fmla="*/ 885825 w 1226820"/>
                <a:gd name="connsiteY54" fmla="*/ 0 h 237678"/>
                <a:gd name="connsiteX55" fmla="*/ 868680 w 1226820"/>
                <a:gd name="connsiteY55" fmla="*/ 0 h 237678"/>
                <a:gd name="connsiteX56" fmla="*/ 840105 w 1226820"/>
                <a:gd name="connsiteY56" fmla="*/ 0 h 237678"/>
                <a:gd name="connsiteX57" fmla="*/ 809625 w 1226820"/>
                <a:gd name="connsiteY57" fmla="*/ 0 h 237678"/>
                <a:gd name="connsiteX58" fmla="*/ 777240 w 1226820"/>
                <a:gd name="connsiteY58" fmla="*/ 0 h 237678"/>
                <a:gd name="connsiteX59" fmla="*/ 742950 w 1226820"/>
                <a:gd name="connsiteY59" fmla="*/ 0 h 237678"/>
                <a:gd name="connsiteX60" fmla="*/ 706755 w 1226820"/>
                <a:gd name="connsiteY60" fmla="*/ 0 h 237678"/>
                <a:gd name="connsiteX61" fmla="*/ 669608 w 1226820"/>
                <a:gd name="connsiteY61" fmla="*/ 0 h 237678"/>
                <a:gd name="connsiteX62" fmla="*/ 631508 w 1226820"/>
                <a:gd name="connsiteY62" fmla="*/ 0 h 237678"/>
                <a:gd name="connsiteX63" fmla="*/ 593408 w 1226820"/>
                <a:gd name="connsiteY63" fmla="*/ 0 h 237678"/>
                <a:gd name="connsiteX64" fmla="*/ 555308 w 1226820"/>
                <a:gd name="connsiteY64" fmla="*/ 0 h 237678"/>
                <a:gd name="connsiteX65" fmla="*/ 517208 w 1226820"/>
                <a:gd name="connsiteY65" fmla="*/ 0 h 237678"/>
                <a:gd name="connsiteX66" fmla="*/ 481965 w 1226820"/>
                <a:gd name="connsiteY66" fmla="*/ 0 h 237678"/>
                <a:gd name="connsiteX67" fmla="*/ 447675 w 1226820"/>
                <a:gd name="connsiteY67" fmla="*/ 0 h 237678"/>
                <a:gd name="connsiteX68" fmla="*/ 415290 w 1226820"/>
                <a:gd name="connsiteY68" fmla="*/ 0 h 237678"/>
                <a:gd name="connsiteX69" fmla="*/ 384810 w 1226820"/>
                <a:gd name="connsiteY69" fmla="*/ 0 h 237678"/>
                <a:gd name="connsiteX70" fmla="*/ 357188 w 1226820"/>
                <a:gd name="connsiteY70" fmla="*/ 0 h 237678"/>
                <a:gd name="connsiteX71" fmla="*/ 324803 w 1226820"/>
                <a:gd name="connsiteY71" fmla="*/ 0 h 237678"/>
                <a:gd name="connsiteX72" fmla="*/ 292417 w 1226820"/>
                <a:gd name="connsiteY72" fmla="*/ 0 h 237678"/>
                <a:gd name="connsiteX73" fmla="*/ 260985 w 1226820"/>
                <a:gd name="connsiteY73" fmla="*/ 0 h 237678"/>
                <a:gd name="connsiteX74" fmla="*/ 226695 w 1226820"/>
                <a:gd name="connsiteY74" fmla="*/ 0 h 237678"/>
                <a:gd name="connsiteX75" fmla="*/ 190500 w 1226820"/>
                <a:gd name="connsiteY75" fmla="*/ 0 h 237678"/>
                <a:gd name="connsiteX76" fmla="*/ 152400 w 1226820"/>
                <a:gd name="connsiteY76" fmla="*/ 0 h 237678"/>
                <a:gd name="connsiteX77" fmla="*/ 112395 w 1226820"/>
                <a:gd name="connsiteY77" fmla="*/ 0 h 237678"/>
                <a:gd name="connsiteX78" fmla="*/ 73342 w 1226820"/>
                <a:gd name="connsiteY78" fmla="*/ 0 h 237678"/>
                <a:gd name="connsiteX79" fmla="*/ 40958 w 1226820"/>
                <a:gd name="connsiteY79" fmla="*/ 0 h 237678"/>
                <a:gd name="connsiteX80" fmla="*/ 17145 w 1226820"/>
                <a:gd name="connsiteY80" fmla="*/ 0 h 237678"/>
                <a:gd name="connsiteX81" fmla="*/ 3810 w 1226820"/>
                <a:gd name="connsiteY81" fmla="*/ 0 h 237678"/>
                <a:gd name="connsiteX82" fmla="*/ 0 w 1226820"/>
                <a:gd name="connsiteY82" fmla="*/ 0 h 237678"/>
                <a:gd name="connsiteX83" fmla="*/ 0 w 1226820"/>
                <a:gd name="connsiteY83" fmla="*/ 0 h 237678"/>
                <a:gd name="connsiteX84" fmla="*/ 0 w 1226820"/>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7678">
                  <a:moveTo>
                    <a:pt x="0" y="237678"/>
                  </a:moveTo>
                  <a:lnTo>
                    <a:pt x="953" y="237678"/>
                  </a:lnTo>
                  <a:lnTo>
                    <a:pt x="8573" y="237678"/>
                  </a:lnTo>
                  <a:lnTo>
                    <a:pt x="26670" y="237678"/>
                  </a:lnTo>
                  <a:lnTo>
                    <a:pt x="56198" y="237678"/>
                  </a:lnTo>
                  <a:lnTo>
                    <a:pt x="92392" y="237678"/>
                  </a:lnTo>
                  <a:lnTo>
                    <a:pt x="132398" y="237678"/>
                  </a:lnTo>
                  <a:lnTo>
                    <a:pt x="171450" y="237678"/>
                  </a:lnTo>
                  <a:lnTo>
                    <a:pt x="208598" y="237678"/>
                  </a:lnTo>
                  <a:lnTo>
                    <a:pt x="243840" y="237678"/>
                  </a:lnTo>
                  <a:lnTo>
                    <a:pt x="276225" y="237678"/>
                  </a:lnTo>
                  <a:lnTo>
                    <a:pt x="308610" y="237678"/>
                  </a:lnTo>
                  <a:lnTo>
                    <a:pt x="340995" y="237678"/>
                  </a:lnTo>
                  <a:lnTo>
                    <a:pt x="357188" y="237678"/>
                  </a:lnTo>
                  <a:lnTo>
                    <a:pt x="386715" y="237678"/>
                  </a:lnTo>
                  <a:lnTo>
                    <a:pt x="417195" y="237678"/>
                  </a:lnTo>
                  <a:lnTo>
                    <a:pt x="449580" y="237678"/>
                  </a:lnTo>
                  <a:lnTo>
                    <a:pt x="483870" y="237678"/>
                  </a:lnTo>
                  <a:lnTo>
                    <a:pt x="519113" y="237678"/>
                  </a:lnTo>
                  <a:lnTo>
                    <a:pt x="556260" y="237678"/>
                  </a:lnTo>
                  <a:lnTo>
                    <a:pt x="594360" y="237678"/>
                  </a:lnTo>
                  <a:lnTo>
                    <a:pt x="633413" y="237678"/>
                  </a:lnTo>
                  <a:lnTo>
                    <a:pt x="671513" y="237678"/>
                  </a:lnTo>
                  <a:lnTo>
                    <a:pt x="708660" y="237678"/>
                  </a:lnTo>
                  <a:lnTo>
                    <a:pt x="743902" y="237678"/>
                  </a:lnTo>
                  <a:lnTo>
                    <a:pt x="778193" y="237678"/>
                  </a:lnTo>
                  <a:lnTo>
                    <a:pt x="810577" y="237678"/>
                  </a:lnTo>
                  <a:lnTo>
                    <a:pt x="841058" y="237678"/>
                  </a:lnTo>
                  <a:lnTo>
                    <a:pt x="868680" y="237678"/>
                  </a:lnTo>
                  <a:lnTo>
                    <a:pt x="902018" y="237678"/>
                  </a:lnTo>
                  <a:lnTo>
                    <a:pt x="933450" y="237678"/>
                  </a:lnTo>
                  <a:lnTo>
                    <a:pt x="965835" y="237678"/>
                  </a:lnTo>
                  <a:lnTo>
                    <a:pt x="999173" y="237678"/>
                  </a:lnTo>
                  <a:lnTo>
                    <a:pt x="1035368" y="237678"/>
                  </a:lnTo>
                  <a:lnTo>
                    <a:pt x="1073468" y="237678"/>
                  </a:lnTo>
                  <a:lnTo>
                    <a:pt x="1113473" y="237678"/>
                  </a:lnTo>
                  <a:lnTo>
                    <a:pt x="1152525" y="237678"/>
                  </a:lnTo>
                  <a:lnTo>
                    <a:pt x="1185863" y="237678"/>
                  </a:lnTo>
                  <a:lnTo>
                    <a:pt x="1209675" y="237678"/>
                  </a:lnTo>
                  <a:lnTo>
                    <a:pt x="1222058" y="237678"/>
                  </a:lnTo>
                  <a:lnTo>
                    <a:pt x="1225868" y="237678"/>
                  </a:lnTo>
                  <a:lnTo>
                    <a:pt x="1226820" y="237678"/>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7678"/>
                  </a:lnTo>
                  <a:close/>
                </a:path>
              </a:pathLst>
            </a:custGeom>
            <a:solidFill>
              <a:srgbClr val="BBBDBF">
                <a:alpha val="60000"/>
              </a:srgbClr>
            </a:solidFill>
            <a:ln w="9525" cap="flat">
              <a:noFill/>
              <a:prstDash val="solid"/>
              <a:miter/>
            </a:ln>
          </p:spPr>
          <p:txBody>
            <a:bodyPr rtlCol="0" anchor="ctr"/>
            <a:lstStyle/>
            <a:p>
              <a:endParaRPr lang="en-US" sz="1050"/>
            </a:p>
          </p:txBody>
        </p:sp>
        <p:sp>
          <p:nvSpPr>
            <p:cNvPr id="156" name="Freeform 152">
              <a:extLst>
                <a:ext uri="{FF2B5EF4-FFF2-40B4-BE49-F238E27FC236}">
                  <a16:creationId xmlns:a16="http://schemas.microsoft.com/office/drawing/2014/main" id="{14DDF017-3F5E-28F4-EC68-C0E990433834}"/>
                </a:ext>
              </a:extLst>
            </p:cNvPr>
            <p:cNvSpPr/>
            <p:nvPr/>
          </p:nvSpPr>
          <p:spPr>
            <a:xfrm>
              <a:off x="2147856" y="3877421"/>
              <a:ext cx="1226820" cy="237678"/>
            </a:xfrm>
            <a:custGeom>
              <a:avLst/>
              <a:gdLst>
                <a:gd name="connsiteX0" fmla="*/ 0 w 1226820"/>
                <a:gd name="connsiteY0" fmla="*/ 237678 h 237678"/>
                <a:gd name="connsiteX1" fmla="*/ 953 w 1226820"/>
                <a:gd name="connsiteY1" fmla="*/ 237678 h 237678"/>
                <a:gd name="connsiteX2" fmla="*/ 8573 w 1226820"/>
                <a:gd name="connsiteY2" fmla="*/ 237678 h 237678"/>
                <a:gd name="connsiteX3" fmla="*/ 26670 w 1226820"/>
                <a:gd name="connsiteY3" fmla="*/ 237678 h 237678"/>
                <a:gd name="connsiteX4" fmla="*/ 56198 w 1226820"/>
                <a:gd name="connsiteY4" fmla="*/ 237678 h 237678"/>
                <a:gd name="connsiteX5" fmla="*/ 92392 w 1226820"/>
                <a:gd name="connsiteY5" fmla="*/ 237678 h 237678"/>
                <a:gd name="connsiteX6" fmla="*/ 132398 w 1226820"/>
                <a:gd name="connsiteY6" fmla="*/ 237678 h 237678"/>
                <a:gd name="connsiteX7" fmla="*/ 171450 w 1226820"/>
                <a:gd name="connsiteY7" fmla="*/ 237678 h 237678"/>
                <a:gd name="connsiteX8" fmla="*/ 208598 w 1226820"/>
                <a:gd name="connsiteY8" fmla="*/ 237678 h 237678"/>
                <a:gd name="connsiteX9" fmla="*/ 243840 w 1226820"/>
                <a:gd name="connsiteY9" fmla="*/ 237678 h 237678"/>
                <a:gd name="connsiteX10" fmla="*/ 276225 w 1226820"/>
                <a:gd name="connsiteY10" fmla="*/ 237678 h 237678"/>
                <a:gd name="connsiteX11" fmla="*/ 308610 w 1226820"/>
                <a:gd name="connsiteY11" fmla="*/ 237678 h 237678"/>
                <a:gd name="connsiteX12" fmla="*/ 340995 w 1226820"/>
                <a:gd name="connsiteY12" fmla="*/ 237678 h 237678"/>
                <a:gd name="connsiteX13" fmla="*/ 357188 w 1226820"/>
                <a:gd name="connsiteY13" fmla="*/ 237678 h 237678"/>
                <a:gd name="connsiteX14" fmla="*/ 386715 w 1226820"/>
                <a:gd name="connsiteY14" fmla="*/ 237678 h 237678"/>
                <a:gd name="connsiteX15" fmla="*/ 417195 w 1226820"/>
                <a:gd name="connsiteY15" fmla="*/ 237678 h 237678"/>
                <a:gd name="connsiteX16" fmla="*/ 449580 w 1226820"/>
                <a:gd name="connsiteY16" fmla="*/ 237678 h 237678"/>
                <a:gd name="connsiteX17" fmla="*/ 483870 w 1226820"/>
                <a:gd name="connsiteY17" fmla="*/ 237678 h 237678"/>
                <a:gd name="connsiteX18" fmla="*/ 519113 w 1226820"/>
                <a:gd name="connsiteY18" fmla="*/ 237678 h 237678"/>
                <a:gd name="connsiteX19" fmla="*/ 556260 w 1226820"/>
                <a:gd name="connsiteY19" fmla="*/ 237678 h 237678"/>
                <a:gd name="connsiteX20" fmla="*/ 594360 w 1226820"/>
                <a:gd name="connsiteY20" fmla="*/ 237678 h 237678"/>
                <a:gd name="connsiteX21" fmla="*/ 633413 w 1226820"/>
                <a:gd name="connsiteY21" fmla="*/ 237678 h 237678"/>
                <a:gd name="connsiteX22" fmla="*/ 671513 w 1226820"/>
                <a:gd name="connsiteY22" fmla="*/ 237678 h 237678"/>
                <a:gd name="connsiteX23" fmla="*/ 708660 w 1226820"/>
                <a:gd name="connsiteY23" fmla="*/ 237678 h 237678"/>
                <a:gd name="connsiteX24" fmla="*/ 743902 w 1226820"/>
                <a:gd name="connsiteY24" fmla="*/ 237678 h 237678"/>
                <a:gd name="connsiteX25" fmla="*/ 778193 w 1226820"/>
                <a:gd name="connsiteY25" fmla="*/ 237678 h 237678"/>
                <a:gd name="connsiteX26" fmla="*/ 810577 w 1226820"/>
                <a:gd name="connsiteY26" fmla="*/ 237678 h 237678"/>
                <a:gd name="connsiteX27" fmla="*/ 841058 w 1226820"/>
                <a:gd name="connsiteY27" fmla="*/ 237678 h 237678"/>
                <a:gd name="connsiteX28" fmla="*/ 868680 w 1226820"/>
                <a:gd name="connsiteY28" fmla="*/ 237678 h 237678"/>
                <a:gd name="connsiteX29" fmla="*/ 902018 w 1226820"/>
                <a:gd name="connsiteY29" fmla="*/ 237678 h 237678"/>
                <a:gd name="connsiteX30" fmla="*/ 933450 w 1226820"/>
                <a:gd name="connsiteY30" fmla="*/ 237678 h 237678"/>
                <a:gd name="connsiteX31" fmla="*/ 965835 w 1226820"/>
                <a:gd name="connsiteY31" fmla="*/ 237678 h 237678"/>
                <a:gd name="connsiteX32" fmla="*/ 999173 w 1226820"/>
                <a:gd name="connsiteY32" fmla="*/ 237678 h 237678"/>
                <a:gd name="connsiteX33" fmla="*/ 1035368 w 1226820"/>
                <a:gd name="connsiteY33" fmla="*/ 237678 h 237678"/>
                <a:gd name="connsiteX34" fmla="*/ 1073468 w 1226820"/>
                <a:gd name="connsiteY34" fmla="*/ 237678 h 237678"/>
                <a:gd name="connsiteX35" fmla="*/ 1113473 w 1226820"/>
                <a:gd name="connsiteY35" fmla="*/ 237678 h 237678"/>
                <a:gd name="connsiteX36" fmla="*/ 1152525 w 1226820"/>
                <a:gd name="connsiteY36" fmla="*/ 237678 h 237678"/>
                <a:gd name="connsiteX37" fmla="*/ 1185863 w 1226820"/>
                <a:gd name="connsiteY37" fmla="*/ 237678 h 237678"/>
                <a:gd name="connsiteX38" fmla="*/ 1209675 w 1226820"/>
                <a:gd name="connsiteY38" fmla="*/ 237678 h 237678"/>
                <a:gd name="connsiteX39" fmla="*/ 1222058 w 1226820"/>
                <a:gd name="connsiteY39" fmla="*/ 237678 h 237678"/>
                <a:gd name="connsiteX40" fmla="*/ 1225868 w 1226820"/>
                <a:gd name="connsiteY40" fmla="*/ 237678 h 237678"/>
                <a:gd name="connsiteX41" fmla="*/ 1226820 w 1226820"/>
                <a:gd name="connsiteY41" fmla="*/ 237678 h 237678"/>
                <a:gd name="connsiteX42" fmla="*/ 1226820 w 1226820"/>
                <a:gd name="connsiteY42" fmla="*/ 0 h 237678"/>
                <a:gd name="connsiteX43" fmla="*/ 1224915 w 1226820"/>
                <a:gd name="connsiteY43" fmla="*/ 0 h 237678"/>
                <a:gd name="connsiteX44" fmla="*/ 1217295 w 1226820"/>
                <a:gd name="connsiteY44" fmla="*/ 0 h 237678"/>
                <a:gd name="connsiteX45" fmla="*/ 1199198 w 1226820"/>
                <a:gd name="connsiteY45" fmla="*/ 0 h 237678"/>
                <a:gd name="connsiteX46" fmla="*/ 1170623 w 1226820"/>
                <a:gd name="connsiteY46" fmla="*/ 0 h 237678"/>
                <a:gd name="connsiteX47" fmla="*/ 1133475 w 1226820"/>
                <a:gd name="connsiteY47" fmla="*/ 0 h 237678"/>
                <a:gd name="connsiteX48" fmla="*/ 1094423 w 1226820"/>
                <a:gd name="connsiteY48" fmla="*/ 0 h 237678"/>
                <a:gd name="connsiteX49" fmla="*/ 1054418 w 1226820"/>
                <a:gd name="connsiteY49" fmla="*/ 0 h 237678"/>
                <a:gd name="connsiteX50" fmla="*/ 1017270 w 1226820"/>
                <a:gd name="connsiteY50" fmla="*/ 0 h 237678"/>
                <a:gd name="connsiteX51" fmla="*/ 982980 w 1226820"/>
                <a:gd name="connsiteY51" fmla="*/ 0 h 237678"/>
                <a:gd name="connsiteX52" fmla="*/ 949643 w 1226820"/>
                <a:gd name="connsiteY52" fmla="*/ 0 h 237678"/>
                <a:gd name="connsiteX53" fmla="*/ 918210 w 1226820"/>
                <a:gd name="connsiteY53" fmla="*/ 0 h 237678"/>
                <a:gd name="connsiteX54" fmla="*/ 885825 w 1226820"/>
                <a:gd name="connsiteY54" fmla="*/ 0 h 237678"/>
                <a:gd name="connsiteX55" fmla="*/ 868680 w 1226820"/>
                <a:gd name="connsiteY55" fmla="*/ 0 h 237678"/>
                <a:gd name="connsiteX56" fmla="*/ 840105 w 1226820"/>
                <a:gd name="connsiteY56" fmla="*/ 0 h 237678"/>
                <a:gd name="connsiteX57" fmla="*/ 809625 w 1226820"/>
                <a:gd name="connsiteY57" fmla="*/ 0 h 237678"/>
                <a:gd name="connsiteX58" fmla="*/ 777240 w 1226820"/>
                <a:gd name="connsiteY58" fmla="*/ 0 h 237678"/>
                <a:gd name="connsiteX59" fmla="*/ 742950 w 1226820"/>
                <a:gd name="connsiteY59" fmla="*/ 0 h 237678"/>
                <a:gd name="connsiteX60" fmla="*/ 706755 w 1226820"/>
                <a:gd name="connsiteY60" fmla="*/ 0 h 237678"/>
                <a:gd name="connsiteX61" fmla="*/ 669608 w 1226820"/>
                <a:gd name="connsiteY61" fmla="*/ 0 h 237678"/>
                <a:gd name="connsiteX62" fmla="*/ 631508 w 1226820"/>
                <a:gd name="connsiteY62" fmla="*/ 0 h 237678"/>
                <a:gd name="connsiteX63" fmla="*/ 593408 w 1226820"/>
                <a:gd name="connsiteY63" fmla="*/ 0 h 237678"/>
                <a:gd name="connsiteX64" fmla="*/ 555308 w 1226820"/>
                <a:gd name="connsiteY64" fmla="*/ 0 h 237678"/>
                <a:gd name="connsiteX65" fmla="*/ 517208 w 1226820"/>
                <a:gd name="connsiteY65" fmla="*/ 0 h 237678"/>
                <a:gd name="connsiteX66" fmla="*/ 481965 w 1226820"/>
                <a:gd name="connsiteY66" fmla="*/ 0 h 237678"/>
                <a:gd name="connsiteX67" fmla="*/ 447675 w 1226820"/>
                <a:gd name="connsiteY67" fmla="*/ 0 h 237678"/>
                <a:gd name="connsiteX68" fmla="*/ 415290 w 1226820"/>
                <a:gd name="connsiteY68" fmla="*/ 0 h 237678"/>
                <a:gd name="connsiteX69" fmla="*/ 384810 w 1226820"/>
                <a:gd name="connsiteY69" fmla="*/ 0 h 237678"/>
                <a:gd name="connsiteX70" fmla="*/ 357188 w 1226820"/>
                <a:gd name="connsiteY70" fmla="*/ 0 h 237678"/>
                <a:gd name="connsiteX71" fmla="*/ 324803 w 1226820"/>
                <a:gd name="connsiteY71" fmla="*/ 0 h 237678"/>
                <a:gd name="connsiteX72" fmla="*/ 292417 w 1226820"/>
                <a:gd name="connsiteY72" fmla="*/ 0 h 237678"/>
                <a:gd name="connsiteX73" fmla="*/ 260985 w 1226820"/>
                <a:gd name="connsiteY73" fmla="*/ 0 h 237678"/>
                <a:gd name="connsiteX74" fmla="*/ 226695 w 1226820"/>
                <a:gd name="connsiteY74" fmla="*/ 0 h 237678"/>
                <a:gd name="connsiteX75" fmla="*/ 190500 w 1226820"/>
                <a:gd name="connsiteY75" fmla="*/ 0 h 237678"/>
                <a:gd name="connsiteX76" fmla="*/ 152400 w 1226820"/>
                <a:gd name="connsiteY76" fmla="*/ 0 h 237678"/>
                <a:gd name="connsiteX77" fmla="*/ 112395 w 1226820"/>
                <a:gd name="connsiteY77" fmla="*/ 0 h 237678"/>
                <a:gd name="connsiteX78" fmla="*/ 73342 w 1226820"/>
                <a:gd name="connsiteY78" fmla="*/ 0 h 237678"/>
                <a:gd name="connsiteX79" fmla="*/ 40958 w 1226820"/>
                <a:gd name="connsiteY79" fmla="*/ 0 h 237678"/>
                <a:gd name="connsiteX80" fmla="*/ 17145 w 1226820"/>
                <a:gd name="connsiteY80" fmla="*/ 0 h 237678"/>
                <a:gd name="connsiteX81" fmla="*/ 3810 w 1226820"/>
                <a:gd name="connsiteY81" fmla="*/ 0 h 237678"/>
                <a:gd name="connsiteX82" fmla="*/ 0 w 1226820"/>
                <a:gd name="connsiteY82" fmla="*/ 0 h 237678"/>
                <a:gd name="connsiteX83" fmla="*/ 0 w 1226820"/>
                <a:gd name="connsiteY83" fmla="*/ 0 h 237678"/>
                <a:gd name="connsiteX84" fmla="*/ 0 w 1226820"/>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7678">
                  <a:moveTo>
                    <a:pt x="0" y="237678"/>
                  </a:moveTo>
                  <a:lnTo>
                    <a:pt x="953" y="237678"/>
                  </a:lnTo>
                  <a:lnTo>
                    <a:pt x="8573" y="237678"/>
                  </a:lnTo>
                  <a:lnTo>
                    <a:pt x="26670" y="237678"/>
                  </a:lnTo>
                  <a:lnTo>
                    <a:pt x="56198" y="237678"/>
                  </a:lnTo>
                  <a:lnTo>
                    <a:pt x="92392" y="237678"/>
                  </a:lnTo>
                  <a:lnTo>
                    <a:pt x="132398" y="237678"/>
                  </a:lnTo>
                  <a:lnTo>
                    <a:pt x="171450" y="237678"/>
                  </a:lnTo>
                  <a:lnTo>
                    <a:pt x="208598" y="237678"/>
                  </a:lnTo>
                  <a:lnTo>
                    <a:pt x="243840" y="237678"/>
                  </a:lnTo>
                  <a:lnTo>
                    <a:pt x="276225" y="237678"/>
                  </a:lnTo>
                  <a:lnTo>
                    <a:pt x="308610" y="237678"/>
                  </a:lnTo>
                  <a:lnTo>
                    <a:pt x="340995" y="237678"/>
                  </a:lnTo>
                  <a:lnTo>
                    <a:pt x="357188" y="237678"/>
                  </a:lnTo>
                  <a:lnTo>
                    <a:pt x="386715" y="237678"/>
                  </a:lnTo>
                  <a:lnTo>
                    <a:pt x="417195" y="237678"/>
                  </a:lnTo>
                  <a:lnTo>
                    <a:pt x="449580" y="237678"/>
                  </a:lnTo>
                  <a:lnTo>
                    <a:pt x="483870" y="237678"/>
                  </a:lnTo>
                  <a:lnTo>
                    <a:pt x="519113" y="237678"/>
                  </a:lnTo>
                  <a:lnTo>
                    <a:pt x="556260" y="237678"/>
                  </a:lnTo>
                  <a:lnTo>
                    <a:pt x="594360" y="237678"/>
                  </a:lnTo>
                  <a:lnTo>
                    <a:pt x="633413" y="237678"/>
                  </a:lnTo>
                  <a:lnTo>
                    <a:pt x="671513" y="237678"/>
                  </a:lnTo>
                  <a:lnTo>
                    <a:pt x="708660" y="237678"/>
                  </a:lnTo>
                  <a:lnTo>
                    <a:pt x="743902" y="237678"/>
                  </a:lnTo>
                  <a:lnTo>
                    <a:pt x="778193" y="237678"/>
                  </a:lnTo>
                  <a:lnTo>
                    <a:pt x="810577" y="237678"/>
                  </a:lnTo>
                  <a:lnTo>
                    <a:pt x="841058" y="237678"/>
                  </a:lnTo>
                  <a:lnTo>
                    <a:pt x="868680" y="237678"/>
                  </a:lnTo>
                  <a:lnTo>
                    <a:pt x="902018" y="237678"/>
                  </a:lnTo>
                  <a:lnTo>
                    <a:pt x="933450" y="237678"/>
                  </a:lnTo>
                  <a:lnTo>
                    <a:pt x="965835" y="237678"/>
                  </a:lnTo>
                  <a:lnTo>
                    <a:pt x="999173" y="237678"/>
                  </a:lnTo>
                  <a:lnTo>
                    <a:pt x="1035368" y="237678"/>
                  </a:lnTo>
                  <a:lnTo>
                    <a:pt x="1073468" y="237678"/>
                  </a:lnTo>
                  <a:lnTo>
                    <a:pt x="1113473" y="237678"/>
                  </a:lnTo>
                  <a:lnTo>
                    <a:pt x="1152525" y="237678"/>
                  </a:lnTo>
                  <a:lnTo>
                    <a:pt x="1185863" y="237678"/>
                  </a:lnTo>
                  <a:lnTo>
                    <a:pt x="1209675" y="237678"/>
                  </a:lnTo>
                  <a:lnTo>
                    <a:pt x="1222058" y="237678"/>
                  </a:lnTo>
                  <a:lnTo>
                    <a:pt x="1225868" y="237678"/>
                  </a:lnTo>
                  <a:lnTo>
                    <a:pt x="1226820" y="237678"/>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7678"/>
                  </a:lnTo>
                  <a:close/>
                </a:path>
              </a:pathLst>
            </a:custGeom>
            <a:noFill/>
            <a:ln w="9525" cap="flat">
              <a:solidFill>
                <a:srgbClr val="BBBDBF"/>
              </a:solidFill>
              <a:prstDash val="solid"/>
              <a:miter/>
            </a:ln>
          </p:spPr>
          <p:txBody>
            <a:bodyPr rtlCol="0" anchor="ctr"/>
            <a:lstStyle/>
            <a:p>
              <a:endParaRPr lang="en-US" sz="1050"/>
            </a:p>
          </p:txBody>
        </p:sp>
        <p:sp>
          <p:nvSpPr>
            <p:cNvPr id="157" name="Freeform 153">
              <a:extLst>
                <a:ext uri="{FF2B5EF4-FFF2-40B4-BE49-F238E27FC236}">
                  <a16:creationId xmlns:a16="http://schemas.microsoft.com/office/drawing/2014/main" id="{D9F9FF64-F586-33D0-530C-5557C60F2430}"/>
                </a:ext>
              </a:extLst>
            </p:cNvPr>
            <p:cNvSpPr/>
            <p:nvPr/>
          </p:nvSpPr>
          <p:spPr>
            <a:xfrm>
              <a:off x="2147856" y="4115099"/>
              <a:ext cx="1226820" cy="237678"/>
            </a:xfrm>
            <a:custGeom>
              <a:avLst/>
              <a:gdLst>
                <a:gd name="connsiteX0" fmla="*/ 0 w 1226820"/>
                <a:gd name="connsiteY0" fmla="*/ 237678 h 237678"/>
                <a:gd name="connsiteX1" fmla="*/ 953 w 1226820"/>
                <a:gd name="connsiteY1" fmla="*/ 237678 h 237678"/>
                <a:gd name="connsiteX2" fmla="*/ 8573 w 1226820"/>
                <a:gd name="connsiteY2" fmla="*/ 237678 h 237678"/>
                <a:gd name="connsiteX3" fmla="*/ 26670 w 1226820"/>
                <a:gd name="connsiteY3" fmla="*/ 237678 h 237678"/>
                <a:gd name="connsiteX4" fmla="*/ 56198 w 1226820"/>
                <a:gd name="connsiteY4" fmla="*/ 237678 h 237678"/>
                <a:gd name="connsiteX5" fmla="*/ 92392 w 1226820"/>
                <a:gd name="connsiteY5" fmla="*/ 237678 h 237678"/>
                <a:gd name="connsiteX6" fmla="*/ 132398 w 1226820"/>
                <a:gd name="connsiteY6" fmla="*/ 237678 h 237678"/>
                <a:gd name="connsiteX7" fmla="*/ 171450 w 1226820"/>
                <a:gd name="connsiteY7" fmla="*/ 237678 h 237678"/>
                <a:gd name="connsiteX8" fmla="*/ 208598 w 1226820"/>
                <a:gd name="connsiteY8" fmla="*/ 237678 h 237678"/>
                <a:gd name="connsiteX9" fmla="*/ 243840 w 1226820"/>
                <a:gd name="connsiteY9" fmla="*/ 237678 h 237678"/>
                <a:gd name="connsiteX10" fmla="*/ 276225 w 1226820"/>
                <a:gd name="connsiteY10" fmla="*/ 237678 h 237678"/>
                <a:gd name="connsiteX11" fmla="*/ 308610 w 1226820"/>
                <a:gd name="connsiteY11" fmla="*/ 237678 h 237678"/>
                <a:gd name="connsiteX12" fmla="*/ 340995 w 1226820"/>
                <a:gd name="connsiteY12" fmla="*/ 237678 h 237678"/>
                <a:gd name="connsiteX13" fmla="*/ 357188 w 1226820"/>
                <a:gd name="connsiteY13" fmla="*/ 237678 h 237678"/>
                <a:gd name="connsiteX14" fmla="*/ 386715 w 1226820"/>
                <a:gd name="connsiteY14" fmla="*/ 237678 h 237678"/>
                <a:gd name="connsiteX15" fmla="*/ 417195 w 1226820"/>
                <a:gd name="connsiteY15" fmla="*/ 237678 h 237678"/>
                <a:gd name="connsiteX16" fmla="*/ 449580 w 1226820"/>
                <a:gd name="connsiteY16" fmla="*/ 237678 h 237678"/>
                <a:gd name="connsiteX17" fmla="*/ 483870 w 1226820"/>
                <a:gd name="connsiteY17" fmla="*/ 237678 h 237678"/>
                <a:gd name="connsiteX18" fmla="*/ 519113 w 1226820"/>
                <a:gd name="connsiteY18" fmla="*/ 237678 h 237678"/>
                <a:gd name="connsiteX19" fmla="*/ 556260 w 1226820"/>
                <a:gd name="connsiteY19" fmla="*/ 237678 h 237678"/>
                <a:gd name="connsiteX20" fmla="*/ 594360 w 1226820"/>
                <a:gd name="connsiteY20" fmla="*/ 237678 h 237678"/>
                <a:gd name="connsiteX21" fmla="*/ 633413 w 1226820"/>
                <a:gd name="connsiteY21" fmla="*/ 237678 h 237678"/>
                <a:gd name="connsiteX22" fmla="*/ 671513 w 1226820"/>
                <a:gd name="connsiteY22" fmla="*/ 237678 h 237678"/>
                <a:gd name="connsiteX23" fmla="*/ 708660 w 1226820"/>
                <a:gd name="connsiteY23" fmla="*/ 237678 h 237678"/>
                <a:gd name="connsiteX24" fmla="*/ 743902 w 1226820"/>
                <a:gd name="connsiteY24" fmla="*/ 237678 h 237678"/>
                <a:gd name="connsiteX25" fmla="*/ 778193 w 1226820"/>
                <a:gd name="connsiteY25" fmla="*/ 237678 h 237678"/>
                <a:gd name="connsiteX26" fmla="*/ 810577 w 1226820"/>
                <a:gd name="connsiteY26" fmla="*/ 237678 h 237678"/>
                <a:gd name="connsiteX27" fmla="*/ 841058 w 1226820"/>
                <a:gd name="connsiteY27" fmla="*/ 237678 h 237678"/>
                <a:gd name="connsiteX28" fmla="*/ 868680 w 1226820"/>
                <a:gd name="connsiteY28" fmla="*/ 237678 h 237678"/>
                <a:gd name="connsiteX29" fmla="*/ 902018 w 1226820"/>
                <a:gd name="connsiteY29" fmla="*/ 237678 h 237678"/>
                <a:gd name="connsiteX30" fmla="*/ 933450 w 1226820"/>
                <a:gd name="connsiteY30" fmla="*/ 237678 h 237678"/>
                <a:gd name="connsiteX31" fmla="*/ 965835 w 1226820"/>
                <a:gd name="connsiteY31" fmla="*/ 237678 h 237678"/>
                <a:gd name="connsiteX32" fmla="*/ 999173 w 1226820"/>
                <a:gd name="connsiteY32" fmla="*/ 237678 h 237678"/>
                <a:gd name="connsiteX33" fmla="*/ 1035368 w 1226820"/>
                <a:gd name="connsiteY33" fmla="*/ 237678 h 237678"/>
                <a:gd name="connsiteX34" fmla="*/ 1073468 w 1226820"/>
                <a:gd name="connsiteY34" fmla="*/ 237678 h 237678"/>
                <a:gd name="connsiteX35" fmla="*/ 1113473 w 1226820"/>
                <a:gd name="connsiteY35" fmla="*/ 237678 h 237678"/>
                <a:gd name="connsiteX36" fmla="*/ 1152525 w 1226820"/>
                <a:gd name="connsiteY36" fmla="*/ 237678 h 237678"/>
                <a:gd name="connsiteX37" fmla="*/ 1185863 w 1226820"/>
                <a:gd name="connsiteY37" fmla="*/ 237678 h 237678"/>
                <a:gd name="connsiteX38" fmla="*/ 1209675 w 1226820"/>
                <a:gd name="connsiteY38" fmla="*/ 237678 h 237678"/>
                <a:gd name="connsiteX39" fmla="*/ 1222058 w 1226820"/>
                <a:gd name="connsiteY39" fmla="*/ 237678 h 237678"/>
                <a:gd name="connsiteX40" fmla="*/ 1225868 w 1226820"/>
                <a:gd name="connsiteY40" fmla="*/ 237678 h 237678"/>
                <a:gd name="connsiteX41" fmla="*/ 1226820 w 1226820"/>
                <a:gd name="connsiteY41" fmla="*/ 237678 h 237678"/>
                <a:gd name="connsiteX42" fmla="*/ 1226820 w 1226820"/>
                <a:gd name="connsiteY42" fmla="*/ 0 h 237678"/>
                <a:gd name="connsiteX43" fmla="*/ 1224915 w 1226820"/>
                <a:gd name="connsiteY43" fmla="*/ 0 h 237678"/>
                <a:gd name="connsiteX44" fmla="*/ 1217295 w 1226820"/>
                <a:gd name="connsiteY44" fmla="*/ 0 h 237678"/>
                <a:gd name="connsiteX45" fmla="*/ 1199198 w 1226820"/>
                <a:gd name="connsiteY45" fmla="*/ 0 h 237678"/>
                <a:gd name="connsiteX46" fmla="*/ 1170623 w 1226820"/>
                <a:gd name="connsiteY46" fmla="*/ 0 h 237678"/>
                <a:gd name="connsiteX47" fmla="*/ 1133475 w 1226820"/>
                <a:gd name="connsiteY47" fmla="*/ 0 h 237678"/>
                <a:gd name="connsiteX48" fmla="*/ 1094423 w 1226820"/>
                <a:gd name="connsiteY48" fmla="*/ 0 h 237678"/>
                <a:gd name="connsiteX49" fmla="*/ 1054418 w 1226820"/>
                <a:gd name="connsiteY49" fmla="*/ 0 h 237678"/>
                <a:gd name="connsiteX50" fmla="*/ 1017270 w 1226820"/>
                <a:gd name="connsiteY50" fmla="*/ 0 h 237678"/>
                <a:gd name="connsiteX51" fmla="*/ 982980 w 1226820"/>
                <a:gd name="connsiteY51" fmla="*/ 0 h 237678"/>
                <a:gd name="connsiteX52" fmla="*/ 949643 w 1226820"/>
                <a:gd name="connsiteY52" fmla="*/ 0 h 237678"/>
                <a:gd name="connsiteX53" fmla="*/ 918210 w 1226820"/>
                <a:gd name="connsiteY53" fmla="*/ 0 h 237678"/>
                <a:gd name="connsiteX54" fmla="*/ 885825 w 1226820"/>
                <a:gd name="connsiteY54" fmla="*/ 0 h 237678"/>
                <a:gd name="connsiteX55" fmla="*/ 868680 w 1226820"/>
                <a:gd name="connsiteY55" fmla="*/ 0 h 237678"/>
                <a:gd name="connsiteX56" fmla="*/ 840105 w 1226820"/>
                <a:gd name="connsiteY56" fmla="*/ 0 h 237678"/>
                <a:gd name="connsiteX57" fmla="*/ 809625 w 1226820"/>
                <a:gd name="connsiteY57" fmla="*/ 0 h 237678"/>
                <a:gd name="connsiteX58" fmla="*/ 777240 w 1226820"/>
                <a:gd name="connsiteY58" fmla="*/ 0 h 237678"/>
                <a:gd name="connsiteX59" fmla="*/ 742950 w 1226820"/>
                <a:gd name="connsiteY59" fmla="*/ 0 h 237678"/>
                <a:gd name="connsiteX60" fmla="*/ 706755 w 1226820"/>
                <a:gd name="connsiteY60" fmla="*/ 0 h 237678"/>
                <a:gd name="connsiteX61" fmla="*/ 669608 w 1226820"/>
                <a:gd name="connsiteY61" fmla="*/ 0 h 237678"/>
                <a:gd name="connsiteX62" fmla="*/ 631508 w 1226820"/>
                <a:gd name="connsiteY62" fmla="*/ 0 h 237678"/>
                <a:gd name="connsiteX63" fmla="*/ 593408 w 1226820"/>
                <a:gd name="connsiteY63" fmla="*/ 0 h 237678"/>
                <a:gd name="connsiteX64" fmla="*/ 555308 w 1226820"/>
                <a:gd name="connsiteY64" fmla="*/ 0 h 237678"/>
                <a:gd name="connsiteX65" fmla="*/ 517208 w 1226820"/>
                <a:gd name="connsiteY65" fmla="*/ 0 h 237678"/>
                <a:gd name="connsiteX66" fmla="*/ 481965 w 1226820"/>
                <a:gd name="connsiteY66" fmla="*/ 0 h 237678"/>
                <a:gd name="connsiteX67" fmla="*/ 447675 w 1226820"/>
                <a:gd name="connsiteY67" fmla="*/ 0 h 237678"/>
                <a:gd name="connsiteX68" fmla="*/ 415290 w 1226820"/>
                <a:gd name="connsiteY68" fmla="*/ 0 h 237678"/>
                <a:gd name="connsiteX69" fmla="*/ 384810 w 1226820"/>
                <a:gd name="connsiteY69" fmla="*/ 0 h 237678"/>
                <a:gd name="connsiteX70" fmla="*/ 357188 w 1226820"/>
                <a:gd name="connsiteY70" fmla="*/ 0 h 237678"/>
                <a:gd name="connsiteX71" fmla="*/ 324803 w 1226820"/>
                <a:gd name="connsiteY71" fmla="*/ 0 h 237678"/>
                <a:gd name="connsiteX72" fmla="*/ 292417 w 1226820"/>
                <a:gd name="connsiteY72" fmla="*/ 0 h 237678"/>
                <a:gd name="connsiteX73" fmla="*/ 260985 w 1226820"/>
                <a:gd name="connsiteY73" fmla="*/ 0 h 237678"/>
                <a:gd name="connsiteX74" fmla="*/ 226695 w 1226820"/>
                <a:gd name="connsiteY74" fmla="*/ 0 h 237678"/>
                <a:gd name="connsiteX75" fmla="*/ 190500 w 1226820"/>
                <a:gd name="connsiteY75" fmla="*/ 0 h 237678"/>
                <a:gd name="connsiteX76" fmla="*/ 152400 w 1226820"/>
                <a:gd name="connsiteY76" fmla="*/ 0 h 237678"/>
                <a:gd name="connsiteX77" fmla="*/ 112395 w 1226820"/>
                <a:gd name="connsiteY77" fmla="*/ 0 h 237678"/>
                <a:gd name="connsiteX78" fmla="*/ 73342 w 1226820"/>
                <a:gd name="connsiteY78" fmla="*/ 0 h 237678"/>
                <a:gd name="connsiteX79" fmla="*/ 40958 w 1226820"/>
                <a:gd name="connsiteY79" fmla="*/ 0 h 237678"/>
                <a:gd name="connsiteX80" fmla="*/ 17145 w 1226820"/>
                <a:gd name="connsiteY80" fmla="*/ 0 h 237678"/>
                <a:gd name="connsiteX81" fmla="*/ 3810 w 1226820"/>
                <a:gd name="connsiteY81" fmla="*/ 0 h 237678"/>
                <a:gd name="connsiteX82" fmla="*/ 0 w 1226820"/>
                <a:gd name="connsiteY82" fmla="*/ 0 h 237678"/>
                <a:gd name="connsiteX83" fmla="*/ 0 w 1226820"/>
                <a:gd name="connsiteY83" fmla="*/ 0 h 237678"/>
                <a:gd name="connsiteX84" fmla="*/ 0 w 1226820"/>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7678">
                  <a:moveTo>
                    <a:pt x="0" y="237678"/>
                  </a:moveTo>
                  <a:lnTo>
                    <a:pt x="953" y="237678"/>
                  </a:lnTo>
                  <a:lnTo>
                    <a:pt x="8573" y="237678"/>
                  </a:lnTo>
                  <a:lnTo>
                    <a:pt x="26670" y="237678"/>
                  </a:lnTo>
                  <a:lnTo>
                    <a:pt x="56198" y="237678"/>
                  </a:lnTo>
                  <a:lnTo>
                    <a:pt x="92392" y="237678"/>
                  </a:lnTo>
                  <a:lnTo>
                    <a:pt x="132398" y="237678"/>
                  </a:lnTo>
                  <a:lnTo>
                    <a:pt x="171450" y="237678"/>
                  </a:lnTo>
                  <a:lnTo>
                    <a:pt x="208598" y="237678"/>
                  </a:lnTo>
                  <a:lnTo>
                    <a:pt x="243840" y="237678"/>
                  </a:lnTo>
                  <a:lnTo>
                    <a:pt x="276225" y="237678"/>
                  </a:lnTo>
                  <a:lnTo>
                    <a:pt x="308610" y="237678"/>
                  </a:lnTo>
                  <a:lnTo>
                    <a:pt x="340995" y="237678"/>
                  </a:lnTo>
                  <a:lnTo>
                    <a:pt x="357188" y="237678"/>
                  </a:lnTo>
                  <a:lnTo>
                    <a:pt x="386715" y="237678"/>
                  </a:lnTo>
                  <a:lnTo>
                    <a:pt x="417195" y="237678"/>
                  </a:lnTo>
                  <a:lnTo>
                    <a:pt x="449580" y="237678"/>
                  </a:lnTo>
                  <a:lnTo>
                    <a:pt x="483870" y="237678"/>
                  </a:lnTo>
                  <a:lnTo>
                    <a:pt x="519113" y="237678"/>
                  </a:lnTo>
                  <a:lnTo>
                    <a:pt x="556260" y="237678"/>
                  </a:lnTo>
                  <a:lnTo>
                    <a:pt x="594360" y="237678"/>
                  </a:lnTo>
                  <a:lnTo>
                    <a:pt x="633413" y="237678"/>
                  </a:lnTo>
                  <a:lnTo>
                    <a:pt x="671513" y="237678"/>
                  </a:lnTo>
                  <a:lnTo>
                    <a:pt x="708660" y="237678"/>
                  </a:lnTo>
                  <a:lnTo>
                    <a:pt x="743902" y="237678"/>
                  </a:lnTo>
                  <a:lnTo>
                    <a:pt x="778193" y="237678"/>
                  </a:lnTo>
                  <a:lnTo>
                    <a:pt x="810577" y="237678"/>
                  </a:lnTo>
                  <a:lnTo>
                    <a:pt x="841058" y="237678"/>
                  </a:lnTo>
                  <a:lnTo>
                    <a:pt x="868680" y="237678"/>
                  </a:lnTo>
                  <a:lnTo>
                    <a:pt x="902018" y="237678"/>
                  </a:lnTo>
                  <a:lnTo>
                    <a:pt x="933450" y="237678"/>
                  </a:lnTo>
                  <a:lnTo>
                    <a:pt x="965835" y="237678"/>
                  </a:lnTo>
                  <a:lnTo>
                    <a:pt x="999173" y="237678"/>
                  </a:lnTo>
                  <a:lnTo>
                    <a:pt x="1035368" y="237678"/>
                  </a:lnTo>
                  <a:lnTo>
                    <a:pt x="1073468" y="237678"/>
                  </a:lnTo>
                  <a:lnTo>
                    <a:pt x="1113473" y="237678"/>
                  </a:lnTo>
                  <a:lnTo>
                    <a:pt x="1152525" y="237678"/>
                  </a:lnTo>
                  <a:lnTo>
                    <a:pt x="1185863" y="237678"/>
                  </a:lnTo>
                  <a:lnTo>
                    <a:pt x="1209675" y="237678"/>
                  </a:lnTo>
                  <a:lnTo>
                    <a:pt x="1222058" y="237678"/>
                  </a:lnTo>
                  <a:lnTo>
                    <a:pt x="1225868" y="237678"/>
                  </a:lnTo>
                  <a:lnTo>
                    <a:pt x="1226820" y="237678"/>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7678"/>
                  </a:lnTo>
                  <a:close/>
                </a:path>
              </a:pathLst>
            </a:custGeom>
            <a:solidFill>
              <a:srgbClr val="BBBDBF">
                <a:alpha val="60000"/>
              </a:srgbClr>
            </a:solidFill>
            <a:ln w="9525" cap="flat">
              <a:noFill/>
              <a:prstDash val="solid"/>
              <a:miter/>
            </a:ln>
          </p:spPr>
          <p:txBody>
            <a:bodyPr rtlCol="0" anchor="ctr"/>
            <a:lstStyle/>
            <a:p>
              <a:endParaRPr lang="en-US" sz="1050"/>
            </a:p>
          </p:txBody>
        </p:sp>
        <p:sp>
          <p:nvSpPr>
            <p:cNvPr id="158" name="Freeform 154">
              <a:extLst>
                <a:ext uri="{FF2B5EF4-FFF2-40B4-BE49-F238E27FC236}">
                  <a16:creationId xmlns:a16="http://schemas.microsoft.com/office/drawing/2014/main" id="{35CA740B-9915-6521-94CC-344E5BFA6767}"/>
                </a:ext>
              </a:extLst>
            </p:cNvPr>
            <p:cNvSpPr/>
            <p:nvPr/>
          </p:nvSpPr>
          <p:spPr>
            <a:xfrm>
              <a:off x="2147856" y="4115099"/>
              <a:ext cx="1226820" cy="237678"/>
            </a:xfrm>
            <a:custGeom>
              <a:avLst/>
              <a:gdLst>
                <a:gd name="connsiteX0" fmla="*/ 0 w 1226820"/>
                <a:gd name="connsiteY0" fmla="*/ 237678 h 237678"/>
                <a:gd name="connsiteX1" fmla="*/ 953 w 1226820"/>
                <a:gd name="connsiteY1" fmla="*/ 237678 h 237678"/>
                <a:gd name="connsiteX2" fmla="*/ 8573 w 1226820"/>
                <a:gd name="connsiteY2" fmla="*/ 237678 h 237678"/>
                <a:gd name="connsiteX3" fmla="*/ 26670 w 1226820"/>
                <a:gd name="connsiteY3" fmla="*/ 237678 h 237678"/>
                <a:gd name="connsiteX4" fmla="*/ 56198 w 1226820"/>
                <a:gd name="connsiteY4" fmla="*/ 237678 h 237678"/>
                <a:gd name="connsiteX5" fmla="*/ 92392 w 1226820"/>
                <a:gd name="connsiteY5" fmla="*/ 237678 h 237678"/>
                <a:gd name="connsiteX6" fmla="*/ 132398 w 1226820"/>
                <a:gd name="connsiteY6" fmla="*/ 237678 h 237678"/>
                <a:gd name="connsiteX7" fmla="*/ 171450 w 1226820"/>
                <a:gd name="connsiteY7" fmla="*/ 237678 h 237678"/>
                <a:gd name="connsiteX8" fmla="*/ 208598 w 1226820"/>
                <a:gd name="connsiteY8" fmla="*/ 237678 h 237678"/>
                <a:gd name="connsiteX9" fmla="*/ 243840 w 1226820"/>
                <a:gd name="connsiteY9" fmla="*/ 237678 h 237678"/>
                <a:gd name="connsiteX10" fmla="*/ 276225 w 1226820"/>
                <a:gd name="connsiteY10" fmla="*/ 237678 h 237678"/>
                <a:gd name="connsiteX11" fmla="*/ 308610 w 1226820"/>
                <a:gd name="connsiteY11" fmla="*/ 237678 h 237678"/>
                <a:gd name="connsiteX12" fmla="*/ 340995 w 1226820"/>
                <a:gd name="connsiteY12" fmla="*/ 237678 h 237678"/>
                <a:gd name="connsiteX13" fmla="*/ 357188 w 1226820"/>
                <a:gd name="connsiteY13" fmla="*/ 237678 h 237678"/>
                <a:gd name="connsiteX14" fmla="*/ 386715 w 1226820"/>
                <a:gd name="connsiteY14" fmla="*/ 237678 h 237678"/>
                <a:gd name="connsiteX15" fmla="*/ 417195 w 1226820"/>
                <a:gd name="connsiteY15" fmla="*/ 237678 h 237678"/>
                <a:gd name="connsiteX16" fmla="*/ 449580 w 1226820"/>
                <a:gd name="connsiteY16" fmla="*/ 237678 h 237678"/>
                <a:gd name="connsiteX17" fmla="*/ 483870 w 1226820"/>
                <a:gd name="connsiteY17" fmla="*/ 237678 h 237678"/>
                <a:gd name="connsiteX18" fmla="*/ 519113 w 1226820"/>
                <a:gd name="connsiteY18" fmla="*/ 237678 h 237678"/>
                <a:gd name="connsiteX19" fmla="*/ 556260 w 1226820"/>
                <a:gd name="connsiteY19" fmla="*/ 237678 h 237678"/>
                <a:gd name="connsiteX20" fmla="*/ 594360 w 1226820"/>
                <a:gd name="connsiteY20" fmla="*/ 237678 h 237678"/>
                <a:gd name="connsiteX21" fmla="*/ 633413 w 1226820"/>
                <a:gd name="connsiteY21" fmla="*/ 237678 h 237678"/>
                <a:gd name="connsiteX22" fmla="*/ 671513 w 1226820"/>
                <a:gd name="connsiteY22" fmla="*/ 237678 h 237678"/>
                <a:gd name="connsiteX23" fmla="*/ 708660 w 1226820"/>
                <a:gd name="connsiteY23" fmla="*/ 237678 h 237678"/>
                <a:gd name="connsiteX24" fmla="*/ 743902 w 1226820"/>
                <a:gd name="connsiteY24" fmla="*/ 237678 h 237678"/>
                <a:gd name="connsiteX25" fmla="*/ 778193 w 1226820"/>
                <a:gd name="connsiteY25" fmla="*/ 237678 h 237678"/>
                <a:gd name="connsiteX26" fmla="*/ 810577 w 1226820"/>
                <a:gd name="connsiteY26" fmla="*/ 237678 h 237678"/>
                <a:gd name="connsiteX27" fmla="*/ 841058 w 1226820"/>
                <a:gd name="connsiteY27" fmla="*/ 237678 h 237678"/>
                <a:gd name="connsiteX28" fmla="*/ 868680 w 1226820"/>
                <a:gd name="connsiteY28" fmla="*/ 237678 h 237678"/>
                <a:gd name="connsiteX29" fmla="*/ 902018 w 1226820"/>
                <a:gd name="connsiteY29" fmla="*/ 237678 h 237678"/>
                <a:gd name="connsiteX30" fmla="*/ 933450 w 1226820"/>
                <a:gd name="connsiteY30" fmla="*/ 237678 h 237678"/>
                <a:gd name="connsiteX31" fmla="*/ 965835 w 1226820"/>
                <a:gd name="connsiteY31" fmla="*/ 237678 h 237678"/>
                <a:gd name="connsiteX32" fmla="*/ 999173 w 1226820"/>
                <a:gd name="connsiteY32" fmla="*/ 237678 h 237678"/>
                <a:gd name="connsiteX33" fmla="*/ 1035368 w 1226820"/>
                <a:gd name="connsiteY33" fmla="*/ 237678 h 237678"/>
                <a:gd name="connsiteX34" fmla="*/ 1073468 w 1226820"/>
                <a:gd name="connsiteY34" fmla="*/ 237678 h 237678"/>
                <a:gd name="connsiteX35" fmla="*/ 1113473 w 1226820"/>
                <a:gd name="connsiteY35" fmla="*/ 237678 h 237678"/>
                <a:gd name="connsiteX36" fmla="*/ 1152525 w 1226820"/>
                <a:gd name="connsiteY36" fmla="*/ 237678 h 237678"/>
                <a:gd name="connsiteX37" fmla="*/ 1185863 w 1226820"/>
                <a:gd name="connsiteY37" fmla="*/ 237678 h 237678"/>
                <a:gd name="connsiteX38" fmla="*/ 1209675 w 1226820"/>
                <a:gd name="connsiteY38" fmla="*/ 237678 h 237678"/>
                <a:gd name="connsiteX39" fmla="*/ 1222058 w 1226820"/>
                <a:gd name="connsiteY39" fmla="*/ 237678 h 237678"/>
                <a:gd name="connsiteX40" fmla="*/ 1225868 w 1226820"/>
                <a:gd name="connsiteY40" fmla="*/ 237678 h 237678"/>
                <a:gd name="connsiteX41" fmla="*/ 1226820 w 1226820"/>
                <a:gd name="connsiteY41" fmla="*/ 237678 h 237678"/>
                <a:gd name="connsiteX42" fmla="*/ 1226820 w 1226820"/>
                <a:gd name="connsiteY42" fmla="*/ 0 h 237678"/>
                <a:gd name="connsiteX43" fmla="*/ 1224915 w 1226820"/>
                <a:gd name="connsiteY43" fmla="*/ 0 h 237678"/>
                <a:gd name="connsiteX44" fmla="*/ 1217295 w 1226820"/>
                <a:gd name="connsiteY44" fmla="*/ 0 h 237678"/>
                <a:gd name="connsiteX45" fmla="*/ 1199198 w 1226820"/>
                <a:gd name="connsiteY45" fmla="*/ 0 h 237678"/>
                <a:gd name="connsiteX46" fmla="*/ 1170623 w 1226820"/>
                <a:gd name="connsiteY46" fmla="*/ 0 h 237678"/>
                <a:gd name="connsiteX47" fmla="*/ 1133475 w 1226820"/>
                <a:gd name="connsiteY47" fmla="*/ 0 h 237678"/>
                <a:gd name="connsiteX48" fmla="*/ 1094423 w 1226820"/>
                <a:gd name="connsiteY48" fmla="*/ 0 h 237678"/>
                <a:gd name="connsiteX49" fmla="*/ 1054418 w 1226820"/>
                <a:gd name="connsiteY49" fmla="*/ 0 h 237678"/>
                <a:gd name="connsiteX50" fmla="*/ 1017270 w 1226820"/>
                <a:gd name="connsiteY50" fmla="*/ 0 h 237678"/>
                <a:gd name="connsiteX51" fmla="*/ 982980 w 1226820"/>
                <a:gd name="connsiteY51" fmla="*/ 0 h 237678"/>
                <a:gd name="connsiteX52" fmla="*/ 949643 w 1226820"/>
                <a:gd name="connsiteY52" fmla="*/ 0 h 237678"/>
                <a:gd name="connsiteX53" fmla="*/ 918210 w 1226820"/>
                <a:gd name="connsiteY53" fmla="*/ 0 h 237678"/>
                <a:gd name="connsiteX54" fmla="*/ 885825 w 1226820"/>
                <a:gd name="connsiteY54" fmla="*/ 0 h 237678"/>
                <a:gd name="connsiteX55" fmla="*/ 868680 w 1226820"/>
                <a:gd name="connsiteY55" fmla="*/ 0 h 237678"/>
                <a:gd name="connsiteX56" fmla="*/ 840105 w 1226820"/>
                <a:gd name="connsiteY56" fmla="*/ 0 h 237678"/>
                <a:gd name="connsiteX57" fmla="*/ 809625 w 1226820"/>
                <a:gd name="connsiteY57" fmla="*/ 0 h 237678"/>
                <a:gd name="connsiteX58" fmla="*/ 777240 w 1226820"/>
                <a:gd name="connsiteY58" fmla="*/ 0 h 237678"/>
                <a:gd name="connsiteX59" fmla="*/ 742950 w 1226820"/>
                <a:gd name="connsiteY59" fmla="*/ 0 h 237678"/>
                <a:gd name="connsiteX60" fmla="*/ 706755 w 1226820"/>
                <a:gd name="connsiteY60" fmla="*/ 0 h 237678"/>
                <a:gd name="connsiteX61" fmla="*/ 669608 w 1226820"/>
                <a:gd name="connsiteY61" fmla="*/ 0 h 237678"/>
                <a:gd name="connsiteX62" fmla="*/ 631508 w 1226820"/>
                <a:gd name="connsiteY62" fmla="*/ 0 h 237678"/>
                <a:gd name="connsiteX63" fmla="*/ 593408 w 1226820"/>
                <a:gd name="connsiteY63" fmla="*/ 0 h 237678"/>
                <a:gd name="connsiteX64" fmla="*/ 555308 w 1226820"/>
                <a:gd name="connsiteY64" fmla="*/ 0 h 237678"/>
                <a:gd name="connsiteX65" fmla="*/ 517208 w 1226820"/>
                <a:gd name="connsiteY65" fmla="*/ 0 h 237678"/>
                <a:gd name="connsiteX66" fmla="*/ 481965 w 1226820"/>
                <a:gd name="connsiteY66" fmla="*/ 0 h 237678"/>
                <a:gd name="connsiteX67" fmla="*/ 447675 w 1226820"/>
                <a:gd name="connsiteY67" fmla="*/ 0 h 237678"/>
                <a:gd name="connsiteX68" fmla="*/ 415290 w 1226820"/>
                <a:gd name="connsiteY68" fmla="*/ 0 h 237678"/>
                <a:gd name="connsiteX69" fmla="*/ 384810 w 1226820"/>
                <a:gd name="connsiteY69" fmla="*/ 0 h 237678"/>
                <a:gd name="connsiteX70" fmla="*/ 357188 w 1226820"/>
                <a:gd name="connsiteY70" fmla="*/ 0 h 237678"/>
                <a:gd name="connsiteX71" fmla="*/ 324803 w 1226820"/>
                <a:gd name="connsiteY71" fmla="*/ 0 h 237678"/>
                <a:gd name="connsiteX72" fmla="*/ 292417 w 1226820"/>
                <a:gd name="connsiteY72" fmla="*/ 0 h 237678"/>
                <a:gd name="connsiteX73" fmla="*/ 260985 w 1226820"/>
                <a:gd name="connsiteY73" fmla="*/ 0 h 237678"/>
                <a:gd name="connsiteX74" fmla="*/ 226695 w 1226820"/>
                <a:gd name="connsiteY74" fmla="*/ 0 h 237678"/>
                <a:gd name="connsiteX75" fmla="*/ 190500 w 1226820"/>
                <a:gd name="connsiteY75" fmla="*/ 0 h 237678"/>
                <a:gd name="connsiteX76" fmla="*/ 152400 w 1226820"/>
                <a:gd name="connsiteY76" fmla="*/ 0 h 237678"/>
                <a:gd name="connsiteX77" fmla="*/ 112395 w 1226820"/>
                <a:gd name="connsiteY77" fmla="*/ 0 h 237678"/>
                <a:gd name="connsiteX78" fmla="*/ 73342 w 1226820"/>
                <a:gd name="connsiteY78" fmla="*/ 0 h 237678"/>
                <a:gd name="connsiteX79" fmla="*/ 40958 w 1226820"/>
                <a:gd name="connsiteY79" fmla="*/ 0 h 237678"/>
                <a:gd name="connsiteX80" fmla="*/ 17145 w 1226820"/>
                <a:gd name="connsiteY80" fmla="*/ 0 h 237678"/>
                <a:gd name="connsiteX81" fmla="*/ 3810 w 1226820"/>
                <a:gd name="connsiteY81" fmla="*/ 0 h 237678"/>
                <a:gd name="connsiteX82" fmla="*/ 0 w 1226820"/>
                <a:gd name="connsiteY82" fmla="*/ 0 h 237678"/>
                <a:gd name="connsiteX83" fmla="*/ 0 w 1226820"/>
                <a:gd name="connsiteY83" fmla="*/ 0 h 237678"/>
                <a:gd name="connsiteX84" fmla="*/ 0 w 1226820"/>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7678">
                  <a:moveTo>
                    <a:pt x="0" y="237678"/>
                  </a:moveTo>
                  <a:lnTo>
                    <a:pt x="953" y="237678"/>
                  </a:lnTo>
                  <a:lnTo>
                    <a:pt x="8573" y="237678"/>
                  </a:lnTo>
                  <a:lnTo>
                    <a:pt x="26670" y="237678"/>
                  </a:lnTo>
                  <a:lnTo>
                    <a:pt x="56198" y="237678"/>
                  </a:lnTo>
                  <a:lnTo>
                    <a:pt x="92392" y="237678"/>
                  </a:lnTo>
                  <a:lnTo>
                    <a:pt x="132398" y="237678"/>
                  </a:lnTo>
                  <a:lnTo>
                    <a:pt x="171450" y="237678"/>
                  </a:lnTo>
                  <a:lnTo>
                    <a:pt x="208598" y="237678"/>
                  </a:lnTo>
                  <a:lnTo>
                    <a:pt x="243840" y="237678"/>
                  </a:lnTo>
                  <a:lnTo>
                    <a:pt x="276225" y="237678"/>
                  </a:lnTo>
                  <a:lnTo>
                    <a:pt x="308610" y="237678"/>
                  </a:lnTo>
                  <a:lnTo>
                    <a:pt x="340995" y="237678"/>
                  </a:lnTo>
                  <a:lnTo>
                    <a:pt x="357188" y="237678"/>
                  </a:lnTo>
                  <a:lnTo>
                    <a:pt x="386715" y="237678"/>
                  </a:lnTo>
                  <a:lnTo>
                    <a:pt x="417195" y="237678"/>
                  </a:lnTo>
                  <a:lnTo>
                    <a:pt x="449580" y="237678"/>
                  </a:lnTo>
                  <a:lnTo>
                    <a:pt x="483870" y="237678"/>
                  </a:lnTo>
                  <a:lnTo>
                    <a:pt x="519113" y="237678"/>
                  </a:lnTo>
                  <a:lnTo>
                    <a:pt x="556260" y="237678"/>
                  </a:lnTo>
                  <a:lnTo>
                    <a:pt x="594360" y="237678"/>
                  </a:lnTo>
                  <a:lnTo>
                    <a:pt x="633413" y="237678"/>
                  </a:lnTo>
                  <a:lnTo>
                    <a:pt x="671513" y="237678"/>
                  </a:lnTo>
                  <a:lnTo>
                    <a:pt x="708660" y="237678"/>
                  </a:lnTo>
                  <a:lnTo>
                    <a:pt x="743902" y="237678"/>
                  </a:lnTo>
                  <a:lnTo>
                    <a:pt x="778193" y="237678"/>
                  </a:lnTo>
                  <a:lnTo>
                    <a:pt x="810577" y="237678"/>
                  </a:lnTo>
                  <a:lnTo>
                    <a:pt x="841058" y="237678"/>
                  </a:lnTo>
                  <a:lnTo>
                    <a:pt x="868680" y="237678"/>
                  </a:lnTo>
                  <a:lnTo>
                    <a:pt x="902018" y="237678"/>
                  </a:lnTo>
                  <a:lnTo>
                    <a:pt x="933450" y="237678"/>
                  </a:lnTo>
                  <a:lnTo>
                    <a:pt x="965835" y="237678"/>
                  </a:lnTo>
                  <a:lnTo>
                    <a:pt x="999173" y="237678"/>
                  </a:lnTo>
                  <a:lnTo>
                    <a:pt x="1035368" y="237678"/>
                  </a:lnTo>
                  <a:lnTo>
                    <a:pt x="1073468" y="237678"/>
                  </a:lnTo>
                  <a:lnTo>
                    <a:pt x="1113473" y="237678"/>
                  </a:lnTo>
                  <a:lnTo>
                    <a:pt x="1152525" y="237678"/>
                  </a:lnTo>
                  <a:lnTo>
                    <a:pt x="1185863" y="237678"/>
                  </a:lnTo>
                  <a:lnTo>
                    <a:pt x="1209675" y="237678"/>
                  </a:lnTo>
                  <a:lnTo>
                    <a:pt x="1222058" y="237678"/>
                  </a:lnTo>
                  <a:lnTo>
                    <a:pt x="1225868" y="237678"/>
                  </a:lnTo>
                  <a:lnTo>
                    <a:pt x="1226820" y="237678"/>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7678"/>
                  </a:lnTo>
                  <a:close/>
                </a:path>
              </a:pathLst>
            </a:custGeom>
            <a:noFill/>
            <a:ln w="9525" cap="flat">
              <a:solidFill>
                <a:srgbClr val="BBBDBF"/>
              </a:solidFill>
              <a:prstDash val="solid"/>
              <a:miter/>
            </a:ln>
          </p:spPr>
          <p:txBody>
            <a:bodyPr rtlCol="0" anchor="ctr"/>
            <a:lstStyle/>
            <a:p>
              <a:endParaRPr lang="en-US" sz="1050"/>
            </a:p>
          </p:txBody>
        </p:sp>
        <p:sp>
          <p:nvSpPr>
            <p:cNvPr id="159" name="Freeform 155">
              <a:extLst>
                <a:ext uri="{FF2B5EF4-FFF2-40B4-BE49-F238E27FC236}">
                  <a16:creationId xmlns:a16="http://schemas.microsoft.com/office/drawing/2014/main" id="{A90D6B5E-1ED3-654C-E828-9E8BA0314C58}"/>
                </a:ext>
              </a:extLst>
            </p:cNvPr>
            <p:cNvSpPr/>
            <p:nvPr/>
          </p:nvSpPr>
          <p:spPr>
            <a:xfrm>
              <a:off x="2147856" y="4352777"/>
              <a:ext cx="1226820" cy="236727"/>
            </a:xfrm>
            <a:custGeom>
              <a:avLst/>
              <a:gdLst>
                <a:gd name="connsiteX0" fmla="*/ 0 w 1226820"/>
                <a:gd name="connsiteY0" fmla="*/ 236728 h 236727"/>
                <a:gd name="connsiteX1" fmla="*/ 953 w 1226820"/>
                <a:gd name="connsiteY1" fmla="*/ 236728 h 236727"/>
                <a:gd name="connsiteX2" fmla="*/ 8573 w 1226820"/>
                <a:gd name="connsiteY2" fmla="*/ 236728 h 236727"/>
                <a:gd name="connsiteX3" fmla="*/ 26670 w 1226820"/>
                <a:gd name="connsiteY3" fmla="*/ 236728 h 236727"/>
                <a:gd name="connsiteX4" fmla="*/ 56198 w 1226820"/>
                <a:gd name="connsiteY4" fmla="*/ 236728 h 236727"/>
                <a:gd name="connsiteX5" fmla="*/ 92392 w 1226820"/>
                <a:gd name="connsiteY5" fmla="*/ 236728 h 236727"/>
                <a:gd name="connsiteX6" fmla="*/ 132398 w 1226820"/>
                <a:gd name="connsiteY6" fmla="*/ 236728 h 236727"/>
                <a:gd name="connsiteX7" fmla="*/ 171450 w 1226820"/>
                <a:gd name="connsiteY7" fmla="*/ 236728 h 236727"/>
                <a:gd name="connsiteX8" fmla="*/ 208598 w 1226820"/>
                <a:gd name="connsiteY8" fmla="*/ 236728 h 236727"/>
                <a:gd name="connsiteX9" fmla="*/ 243840 w 1226820"/>
                <a:gd name="connsiteY9" fmla="*/ 236728 h 236727"/>
                <a:gd name="connsiteX10" fmla="*/ 276225 w 1226820"/>
                <a:gd name="connsiteY10" fmla="*/ 236728 h 236727"/>
                <a:gd name="connsiteX11" fmla="*/ 308610 w 1226820"/>
                <a:gd name="connsiteY11" fmla="*/ 236728 h 236727"/>
                <a:gd name="connsiteX12" fmla="*/ 340995 w 1226820"/>
                <a:gd name="connsiteY12" fmla="*/ 236728 h 236727"/>
                <a:gd name="connsiteX13" fmla="*/ 357188 w 1226820"/>
                <a:gd name="connsiteY13" fmla="*/ 236728 h 236727"/>
                <a:gd name="connsiteX14" fmla="*/ 386715 w 1226820"/>
                <a:gd name="connsiteY14" fmla="*/ 236728 h 236727"/>
                <a:gd name="connsiteX15" fmla="*/ 417195 w 1226820"/>
                <a:gd name="connsiteY15" fmla="*/ 236728 h 236727"/>
                <a:gd name="connsiteX16" fmla="*/ 449580 w 1226820"/>
                <a:gd name="connsiteY16" fmla="*/ 236728 h 236727"/>
                <a:gd name="connsiteX17" fmla="*/ 483870 w 1226820"/>
                <a:gd name="connsiteY17" fmla="*/ 236728 h 236727"/>
                <a:gd name="connsiteX18" fmla="*/ 519113 w 1226820"/>
                <a:gd name="connsiteY18" fmla="*/ 236728 h 236727"/>
                <a:gd name="connsiteX19" fmla="*/ 556260 w 1226820"/>
                <a:gd name="connsiteY19" fmla="*/ 236728 h 236727"/>
                <a:gd name="connsiteX20" fmla="*/ 594360 w 1226820"/>
                <a:gd name="connsiteY20" fmla="*/ 236728 h 236727"/>
                <a:gd name="connsiteX21" fmla="*/ 633413 w 1226820"/>
                <a:gd name="connsiteY21" fmla="*/ 236728 h 236727"/>
                <a:gd name="connsiteX22" fmla="*/ 671513 w 1226820"/>
                <a:gd name="connsiteY22" fmla="*/ 236728 h 236727"/>
                <a:gd name="connsiteX23" fmla="*/ 708660 w 1226820"/>
                <a:gd name="connsiteY23" fmla="*/ 236728 h 236727"/>
                <a:gd name="connsiteX24" fmla="*/ 743902 w 1226820"/>
                <a:gd name="connsiteY24" fmla="*/ 236728 h 236727"/>
                <a:gd name="connsiteX25" fmla="*/ 778193 w 1226820"/>
                <a:gd name="connsiteY25" fmla="*/ 236728 h 236727"/>
                <a:gd name="connsiteX26" fmla="*/ 810577 w 1226820"/>
                <a:gd name="connsiteY26" fmla="*/ 236728 h 236727"/>
                <a:gd name="connsiteX27" fmla="*/ 841058 w 1226820"/>
                <a:gd name="connsiteY27" fmla="*/ 236728 h 236727"/>
                <a:gd name="connsiteX28" fmla="*/ 868680 w 1226820"/>
                <a:gd name="connsiteY28" fmla="*/ 236728 h 236727"/>
                <a:gd name="connsiteX29" fmla="*/ 902018 w 1226820"/>
                <a:gd name="connsiteY29" fmla="*/ 236728 h 236727"/>
                <a:gd name="connsiteX30" fmla="*/ 933450 w 1226820"/>
                <a:gd name="connsiteY30" fmla="*/ 236728 h 236727"/>
                <a:gd name="connsiteX31" fmla="*/ 965835 w 1226820"/>
                <a:gd name="connsiteY31" fmla="*/ 236728 h 236727"/>
                <a:gd name="connsiteX32" fmla="*/ 999173 w 1226820"/>
                <a:gd name="connsiteY32" fmla="*/ 236728 h 236727"/>
                <a:gd name="connsiteX33" fmla="*/ 1035368 w 1226820"/>
                <a:gd name="connsiteY33" fmla="*/ 236728 h 236727"/>
                <a:gd name="connsiteX34" fmla="*/ 1073468 w 1226820"/>
                <a:gd name="connsiteY34" fmla="*/ 236728 h 236727"/>
                <a:gd name="connsiteX35" fmla="*/ 1113473 w 1226820"/>
                <a:gd name="connsiteY35" fmla="*/ 236728 h 236727"/>
                <a:gd name="connsiteX36" fmla="*/ 1152525 w 1226820"/>
                <a:gd name="connsiteY36" fmla="*/ 236728 h 236727"/>
                <a:gd name="connsiteX37" fmla="*/ 1185863 w 1226820"/>
                <a:gd name="connsiteY37" fmla="*/ 236728 h 236727"/>
                <a:gd name="connsiteX38" fmla="*/ 1209675 w 1226820"/>
                <a:gd name="connsiteY38" fmla="*/ 236728 h 236727"/>
                <a:gd name="connsiteX39" fmla="*/ 1222058 w 1226820"/>
                <a:gd name="connsiteY39" fmla="*/ 236728 h 236727"/>
                <a:gd name="connsiteX40" fmla="*/ 1225868 w 1226820"/>
                <a:gd name="connsiteY40" fmla="*/ 236728 h 236727"/>
                <a:gd name="connsiteX41" fmla="*/ 1226820 w 1226820"/>
                <a:gd name="connsiteY41" fmla="*/ 236728 h 236727"/>
                <a:gd name="connsiteX42" fmla="*/ 1226820 w 1226820"/>
                <a:gd name="connsiteY42" fmla="*/ 0 h 236727"/>
                <a:gd name="connsiteX43" fmla="*/ 1224915 w 1226820"/>
                <a:gd name="connsiteY43" fmla="*/ 0 h 236727"/>
                <a:gd name="connsiteX44" fmla="*/ 1217295 w 1226820"/>
                <a:gd name="connsiteY44" fmla="*/ 0 h 236727"/>
                <a:gd name="connsiteX45" fmla="*/ 1199198 w 1226820"/>
                <a:gd name="connsiteY45" fmla="*/ 0 h 236727"/>
                <a:gd name="connsiteX46" fmla="*/ 1170623 w 1226820"/>
                <a:gd name="connsiteY46" fmla="*/ 0 h 236727"/>
                <a:gd name="connsiteX47" fmla="*/ 1133475 w 1226820"/>
                <a:gd name="connsiteY47" fmla="*/ 0 h 236727"/>
                <a:gd name="connsiteX48" fmla="*/ 1094423 w 1226820"/>
                <a:gd name="connsiteY48" fmla="*/ 0 h 236727"/>
                <a:gd name="connsiteX49" fmla="*/ 1054418 w 1226820"/>
                <a:gd name="connsiteY49" fmla="*/ 0 h 236727"/>
                <a:gd name="connsiteX50" fmla="*/ 1017270 w 1226820"/>
                <a:gd name="connsiteY50" fmla="*/ 0 h 236727"/>
                <a:gd name="connsiteX51" fmla="*/ 982980 w 1226820"/>
                <a:gd name="connsiteY51" fmla="*/ 0 h 236727"/>
                <a:gd name="connsiteX52" fmla="*/ 949643 w 1226820"/>
                <a:gd name="connsiteY52" fmla="*/ 0 h 236727"/>
                <a:gd name="connsiteX53" fmla="*/ 918210 w 1226820"/>
                <a:gd name="connsiteY53" fmla="*/ 0 h 236727"/>
                <a:gd name="connsiteX54" fmla="*/ 885825 w 1226820"/>
                <a:gd name="connsiteY54" fmla="*/ 0 h 236727"/>
                <a:gd name="connsiteX55" fmla="*/ 868680 w 1226820"/>
                <a:gd name="connsiteY55" fmla="*/ 0 h 236727"/>
                <a:gd name="connsiteX56" fmla="*/ 840105 w 1226820"/>
                <a:gd name="connsiteY56" fmla="*/ 0 h 236727"/>
                <a:gd name="connsiteX57" fmla="*/ 809625 w 1226820"/>
                <a:gd name="connsiteY57" fmla="*/ 0 h 236727"/>
                <a:gd name="connsiteX58" fmla="*/ 777240 w 1226820"/>
                <a:gd name="connsiteY58" fmla="*/ 0 h 236727"/>
                <a:gd name="connsiteX59" fmla="*/ 742950 w 1226820"/>
                <a:gd name="connsiteY59" fmla="*/ 0 h 236727"/>
                <a:gd name="connsiteX60" fmla="*/ 706755 w 1226820"/>
                <a:gd name="connsiteY60" fmla="*/ 0 h 236727"/>
                <a:gd name="connsiteX61" fmla="*/ 669608 w 1226820"/>
                <a:gd name="connsiteY61" fmla="*/ 0 h 236727"/>
                <a:gd name="connsiteX62" fmla="*/ 631508 w 1226820"/>
                <a:gd name="connsiteY62" fmla="*/ 0 h 236727"/>
                <a:gd name="connsiteX63" fmla="*/ 593408 w 1226820"/>
                <a:gd name="connsiteY63" fmla="*/ 0 h 236727"/>
                <a:gd name="connsiteX64" fmla="*/ 555308 w 1226820"/>
                <a:gd name="connsiteY64" fmla="*/ 0 h 236727"/>
                <a:gd name="connsiteX65" fmla="*/ 517208 w 1226820"/>
                <a:gd name="connsiteY65" fmla="*/ 0 h 236727"/>
                <a:gd name="connsiteX66" fmla="*/ 481965 w 1226820"/>
                <a:gd name="connsiteY66" fmla="*/ 0 h 236727"/>
                <a:gd name="connsiteX67" fmla="*/ 447675 w 1226820"/>
                <a:gd name="connsiteY67" fmla="*/ 0 h 236727"/>
                <a:gd name="connsiteX68" fmla="*/ 415290 w 1226820"/>
                <a:gd name="connsiteY68" fmla="*/ 0 h 236727"/>
                <a:gd name="connsiteX69" fmla="*/ 384810 w 1226820"/>
                <a:gd name="connsiteY69" fmla="*/ 0 h 236727"/>
                <a:gd name="connsiteX70" fmla="*/ 357188 w 1226820"/>
                <a:gd name="connsiteY70" fmla="*/ 0 h 236727"/>
                <a:gd name="connsiteX71" fmla="*/ 324803 w 1226820"/>
                <a:gd name="connsiteY71" fmla="*/ 0 h 236727"/>
                <a:gd name="connsiteX72" fmla="*/ 292417 w 1226820"/>
                <a:gd name="connsiteY72" fmla="*/ 0 h 236727"/>
                <a:gd name="connsiteX73" fmla="*/ 260985 w 1226820"/>
                <a:gd name="connsiteY73" fmla="*/ 0 h 236727"/>
                <a:gd name="connsiteX74" fmla="*/ 226695 w 1226820"/>
                <a:gd name="connsiteY74" fmla="*/ 0 h 236727"/>
                <a:gd name="connsiteX75" fmla="*/ 190500 w 1226820"/>
                <a:gd name="connsiteY75" fmla="*/ 0 h 236727"/>
                <a:gd name="connsiteX76" fmla="*/ 152400 w 1226820"/>
                <a:gd name="connsiteY76" fmla="*/ 0 h 236727"/>
                <a:gd name="connsiteX77" fmla="*/ 112395 w 1226820"/>
                <a:gd name="connsiteY77" fmla="*/ 0 h 236727"/>
                <a:gd name="connsiteX78" fmla="*/ 73342 w 1226820"/>
                <a:gd name="connsiteY78" fmla="*/ 0 h 236727"/>
                <a:gd name="connsiteX79" fmla="*/ 40958 w 1226820"/>
                <a:gd name="connsiteY79" fmla="*/ 0 h 236727"/>
                <a:gd name="connsiteX80" fmla="*/ 17145 w 1226820"/>
                <a:gd name="connsiteY80" fmla="*/ 0 h 236727"/>
                <a:gd name="connsiteX81" fmla="*/ 3810 w 1226820"/>
                <a:gd name="connsiteY81" fmla="*/ 0 h 236727"/>
                <a:gd name="connsiteX82" fmla="*/ 0 w 1226820"/>
                <a:gd name="connsiteY82" fmla="*/ 0 h 236727"/>
                <a:gd name="connsiteX83" fmla="*/ 0 w 1226820"/>
                <a:gd name="connsiteY83" fmla="*/ 0 h 236727"/>
                <a:gd name="connsiteX84" fmla="*/ 0 w 1226820"/>
                <a:gd name="connsiteY84" fmla="*/ 236728 h 2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6727">
                  <a:moveTo>
                    <a:pt x="0" y="236728"/>
                  </a:moveTo>
                  <a:lnTo>
                    <a:pt x="953" y="236728"/>
                  </a:lnTo>
                  <a:lnTo>
                    <a:pt x="8573" y="236728"/>
                  </a:lnTo>
                  <a:lnTo>
                    <a:pt x="26670" y="236728"/>
                  </a:lnTo>
                  <a:lnTo>
                    <a:pt x="56198" y="236728"/>
                  </a:lnTo>
                  <a:lnTo>
                    <a:pt x="92392" y="236728"/>
                  </a:lnTo>
                  <a:lnTo>
                    <a:pt x="132398" y="236728"/>
                  </a:lnTo>
                  <a:lnTo>
                    <a:pt x="171450" y="236728"/>
                  </a:lnTo>
                  <a:lnTo>
                    <a:pt x="208598" y="236728"/>
                  </a:lnTo>
                  <a:lnTo>
                    <a:pt x="243840" y="236728"/>
                  </a:lnTo>
                  <a:lnTo>
                    <a:pt x="276225" y="236728"/>
                  </a:lnTo>
                  <a:lnTo>
                    <a:pt x="308610" y="236728"/>
                  </a:lnTo>
                  <a:lnTo>
                    <a:pt x="340995" y="236728"/>
                  </a:lnTo>
                  <a:lnTo>
                    <a:pt x="357188" y="236728"/>
                  </a:lnTo>
                  <a:lnTo>
                    <a:pt x="386715" y="236728"/>
                  </a:lnTo>
                  <a:lnTo>
                    <a:pt x="417195" y="236728"/>
                  </a:lnTo>
                  <a:lnTo>
                    <a:pt x="449580" y="236728"/>
                  </a:lnTo>
                  <a:lnTo>
                    <a:pt x="483870" y="236728"/>
                  </a:lnTo>
                  <a:lnTo>
                    <a:pt x="519113" y="236728"/>
                  </a:lnTo>
                  <a:lnTo>
                    <a:pt x="556260" y="236728"/>
                  </a:lnTo>
                  <a:lnTo>
                    <a:pt x="594360" y="236728"/>
                  </a:lnTo>
                  <a:lnTo>
                    <a:pt x="633413" y="236728"/>
                  </a:lnTo>
                  <a:lnTo>
                    <a:pt x="671513" y="236728"/>
                  </a:lnTo>
                  <a:lnTo>
                    <a:pt x="708660" y="236728"/>
                  </a:lnTo>
                  <a:lnTo>
                    <a:pt x="743902" y="236728"/>
                  </a:lnTo>
                  <a:lnTo>
                    <a:pt x="778193" y="236728"/>
                  </a:lnTo>
                  <a:lnTo>
                    <a:pt x="810577" y="236728"/>
                  </a:lnTo>
                  <a:lnTo>
                    <a:pt x="841058" y="236728"/>
                  </a:lnTo>
                  <a:lnTo>
                    <a:pt x="868680" y="236728"/>
                  </a:lnTo>
                  <a:lnTo>
                    <a:pt x="902018" y="236728"/>
                  </a:lnTo>
                  <a:lnTo>
                    <a:pt x="933450" y="236728"/>
                  </a:lnTo>
                  <a:lnTo>
                    <a:pt x="965835" y="236728"/>
                  </a:lnTo>
                  <a:lnTo>
                    <a:pt x="999173" y="236728"/>
                  </a:lnTo>
                  <a:lnTo>
                    <a:pt x="1035368" y="236728"/>
                  </a:lnTo>
                  <a:lnTo>
                    <a:pt x="1073468" y="236728"/>
                  </a:lnTo>
                  <a:lnTo>
                    <a:pt x="1113473" y="236728"/>
                  </a:lnTo>
                  <a:lnTo>
                    <a:pt x="1152525" y="236728"/>
                  </a:lnTo>
                  <a:lnTo>
                    <a:pt x="1185863" y="236728"/>
                  </a:lnTo>
                  <a:lnTo>
                    <a:pt x="1209675" y="236728"/>
                  </a:lnTo>
                  <a:lnTo>
                    <a:pt x="1222058" y="236728"/>
                  </a:lnTo>
                  <a:lnTo>
                    <a:pt x="1225868" y="236728"/>
                  </a:lnTo>
                  <a:lnTo>
                    <a:pt x="1226820" y="236728"/>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6728"/>
                  </a:lnTo>
                  <a:close/>
                </a:path>
              </a:pathLst>
            </a:custGeom>
            <a:solidFill>
              <a:srgbClr val="BBBDBF">
                <a:alpha val="60000"/>
              </a:srgbClr>
            </a:solidFill>
            <a:ln w="9525" cap="flat">
              <a:noFill/>
              <a:prstDash val="solid"/>
              <a:miter/>
            </a:ln>
          </p:spPr>
          <p:txBody>
            <a:bodyPr rtlCol="0" anchor="ctr"/>
            <a:lstStyle/>
            <a:p>
              <a:endParaRPr lang="en-US" sz="1050"/>
            </a:p>
          </p:txBody>
        </p:sp>
        <p:sp>
          <p:nvSpPr>
            <p:cNvPr id="160" name="Freeform 156">
              <a:extLst>
                <a:ext uri="{FF2B5EF4-FFF2-40B4-BE49-F238E27FC236}">
                  <a16:creationId xmlns:a16="http://schemas.microsoft.com/office/drawing/2014/main" id="{42345633-EC16-9EC0-62E4-52789E8A1669}"/>
                </a:ext>
              </a:extLst>
            </p:cNvPr>
            <p:cNvSpPr/>
            <p:nvPr/>
          </p:nvSpPr>
          <p:spPr>
            <a:xfrm>
              <a:off x="2147856" y="4352777"/>
              <a:ext cx="1226820" cy="236727"/>
            </a:xfrm>
            <a:custGeom>
              <a:avLst/>
              <a:gdLst>
                <a:gd name="connsiteX0" fmla="*/ 0 w 1226820"/>
                <a:gd name="connsiteY0" fmla="*/ 236728 h 236727"/>
                <a:gd name="connsiteX1" fmla="*/ 953 w 1226820"/>
                <a:gd name="connsiteY1" fmla="*/ 236728 h 236727"/>
                <a:gd name="connsiteX2" fmla="*/ 8573 w 1226820"/>
                <a:gd name="connsiteY2" fmla="*/ 236728 h 236727"/>
                <a:gd name="connsiteX3" fmla="*/ 26670 w 1226820"/>
                <a:gd name="connsiteY3" fmla="*/ 236728 h 236727"/>
                <a:gd name="connsiteX4" fmla="*/ 56198 w 1226820"/>
                <a:gd name="connsiteY4" fmla="*/ 236728 h 236727"/>
                <a:gd name="connsiteX5" fmla="*/ 92392 w 1226820"/>
                <a:gd name="connsiteY5" fmla="*/ 236728 h 236727"/>
                <a:gd name="connsiteX6" fmla="*/ 132398 w 1226820"/>
                <a:gd name="connsiteY6" fmla="*/ 236728 h 236727"/>
                <a:gd name="connsiteX7" fmla="*/ 171450 w 1226820"/>
                <a:gd name="connsiteY7" fmla="*/ 236728 h 236727"/>
                <a:gd name="connsiteX8" fmla="*/ 208598 w 1226820"/>
                <a:gd name="connsiteY8" fmla="*/ 236728 h 236727"/>
                <a:gd name="connsiteX9" fmla="*/ 243840 w 1226820"/>
                <a:gd name="connsiteY9" fmla="*/ 236728 h 236727"/>
                <a:gd name="connsiteX10" fmla="*/ 276225 w 1226820"/>
                <a:gd name="connsiteY10" fmla="*/ 236728 h 236727"/>
                <a:gd name="connsiteX11" fmla="*/ 308610 w 1226820"/>
                <a:gd name="connsiteY11" fmla="*/ 236728 h 236727"/>
                <a:gd name="connsiteX12" fmla="*/ 340995 w 1226820"/>
                <a:gd name="connsiteY12" fmla="*/ 236728 h 236727"/>
                <a:gd name="connsiteX13" fmla="*/ 357188 w 1226820"/>
                <a:gd name="connsiteY13" fmla="*/ 236728 h 236727"/>
                <a:gd name="connsiteX14" fmla="*/ 386715 w 1226820"/>
                <a:gd name="connsiteY14" fmla="*/ 236728 h 236727"/>
                <a:gd name="connsiteX15" fmla="*/ 417195 w 1226820"/>
                <a:gd name="connsiteY15" fmla="*/ 236728 h 236727"/>
                <a:gd name="connsiteX16" fmla="*/ 449580 w 1226820"/>
                <a:gd name="connsiteY16" fmla="*/ 236728 h 236727"/>
                <a:gd name="connsiteX17" fmla="*/ 483870 w 1226820"/>
                <a:gd name="connsiteY17" fmla="*/ 236728 h 236727"/>
                <a:gd name="connsiteX18" fmla="*/ 519113 w 1226820"/>
                <a:gd name="connsiteY18" fmla="*/ 236728 h 236727"/>
                <a:gd name="connsiteX19" fmla="*/ 556260 w 1226820"/>
                <a:gd name="connsiteY19" fmla="*/ 236728 h 236727"/>
                <a:gd name="connsiteX20" fmla="*/ 594360 w 1226820"/>
                <a:gd name="connsiteY20" fmla="*/ 236728 h 236727"/>
                <a:gd name="connsiteX21" fmla="*/ 633413 w 1226820"/>
                <a:gd name="connsiteY21" fmla="*/ 236728 h 236727"/>
                <a:gd name="connsiteX22" fmla="*/ 671513 w 1226820"/>
                <a:gd name="connsiteY22" fmla="*/ 236728 h 236727"/>
                <a:gd name="connsiteX23" fmla="*/ 708660 w 1226820"/>
                <a:gd name="connsiteY23" fmla="*/ 236728 h 236727"/>
                <a:gd name="connsiteX24" fmla="*/ 743902 w 1226820"/>
                <a:gd name="connsiteY24" fmla="*/ 236728 h 236727"/>
                <a:gd name="connsiteX25" fmla="*/ 778193 w 1226820"/>
                <a:gd name="connsiteY25" fmla="*/ 236728 h 236727"/>
                <a:gd name="connsiteX26" fmla="*/ 810577 w 1226820"/>
                <a:gd name="connsiteY26" fmla="*/ 236728 h 236727"/>
                <a:gd name="connsiteX27" fmla="*/ 841058 w 1226820"/>
                <a:gd name="connsiteY27" fmla="*/ 236728 h 236727"/>
                <a:gd name="connsiteX28" fmla="*/ 868680 w 1226820"/>
                <a:gd name="connsiteY28" fmla="*/ 236728 h 236727"/>
                <a:gd name="connsiteX29" fmla="*/ 902018 w 1226820"/>
                <a:gd name="connsiteY29" fmla="*/ 236728 h 236727"/>
                <a:gd name="connsiteX30" fmla="*/ 933450 w 1226820"/>
                <a:gd name="connsiteY30" fmla="*/ 236728 h 236727"/>
                <a:gd name="connsiteX31" fmla="*/ 965835 w 1226820"/>
                <a:gd name="connsiteY31" fmla="*/ 236728 h 236727"/>
                <a:gd name="connsiteX32" fmla="*/ 999173 w 1226820"/>
                <a:gd name="connsiteY32" fmla="*/ 236728 h 236727"/>
                <a:gd name="connsiteX33" fmla="*/ 1035368 w 1226820"/>
                <a:gd name="connsiteY33" fmla="*/ 236728 h 236727"/>
                <a:gd name="connsiteX34" fmla="*/ 1073468 w 1226820"/>
                <a:gd name="connsiteY34" fmla="*/ 236728 h 236727"/>
                <a:gd name="connsiteX35" fmla="*/ 1113473 w 1226820"/>
                <a:gd name="connsiteY35" fmla="*/ 236728 h 236727"/>
                <a:gd name="connsiteX36" fmla="*/ 1152525 w 1226820"/>
                <a:gd name="connsiteY36" fmla="*/ 236728 h 236727"/>
                <a:gd name="connsiteX37" fmla="*/ 1185863 w 1226820"/>
                <a:gd name="connsiteY37" fmla="*/ 236728 h 236727"/>
                <a:gd name="connsiteX38" fmla="*/ 1209675 w 1226820"/>
                <a:gd name="connsiteY38" fmla="*/ 236728 h 236727"/>
                <a:gd name="connsiteX39" fmla="*/ 1222058 w 1226820"/>
                <a:gd name="connsiteY39" fmla="*/ 236728 h 236727"/>
                <a:gd name="connsiteX40" fmla="*/ 1225868 w 1226820"/>
                <a:gd name="connsiteY40" fmla="*/ 236728 h 236727"/>
                <a:gd name="connsiteX41" fmla="*/ 1226820 w 1226820"/>
                <a:gd name="connsiteY41" fmla="*/ 236728 h 236727"/>
                <a:gd name="connsiteX42" fmla="*/ 1226820 w 1226820"/>
                <a:gd name="connsiteY42" fmla="*/ 0 h 236727"/>
                <a:gd name="connsiteX43" fmla="*/ 1224915 w 1226820"/>
                <a:gd name="connsiteY43" fmla="*/ 0 h 236727"/>
                <a:gd name="connsiteX44" fmla="*/ 1217295 w 1226820"/>
                <a:gd name="connsiteY44" fmla="*/ 0 h 236727"/>
                <a:gd name="connsiteX45" fmla="*/ 1199198 w 1226820"/>
                <a:gd name="connsiteY45" fmla="*/ 0 h 236727"/>
                <a:gd name="connsiteX46" fmla="*/ 1170623 w 1226820"/>
                <a:gd name="connsiteY46" fmla="*/ 0 h 236727"/>
                <a:gd name="connsiteX47" fmla="*/ 1133475 w 1226820"/>
                <a:gd name="connsiteY47" fmla="*/ 0 h 236727"/>
                <a:gd name="connsiteX48" fmla="*/ 1094423 w 1226820"/>
                <a:gd name="connsiteY48" fmla="*/ 0 h 236727"/>
                <a:gd name="connsiteX49" fmla="*/ 1054418 w 1226820"/>
                <a:gd name="connsiteY49" fmla="*/ 0 h 236727"/>
                <a:gd name="connsiteX50" fmla="*/ 1017270 w 1226820"/>
                <a:gd name="connsiteY50" fmla="*/ 0 h 236727"/>
                <a:gd name="connsiteX51" fmla="*/ 982980 w 1226820"/>
                <a:gd name="connsiteY51" fmla="*/ 0 h 236727"/>
                <a:gd name="connsiteX52" fmla="*/ 949643 w 1226820"/>
                <a:gd name="connsiteY52" fmla="*/ 0 h 236727"/>
                <a:gd name="connsiteX53" fmla="*/ 918210 w 1226820"/>
                <a:gd name="connsiteY53" fmla="*/ 0 h 236727"/>
                <a:gd name="connsiteX54" fmla="*/ 885825 w 1226820"/>
                <a:gd name="connsiteY54" fmla="*/ 0 h 236727"/>
                <a:gd name="connsiteX55" fmla="*/ 868680 w 1226820"/>
                <a:gd name="connsiteY55" fmla="*/ 0 h 236727"/>
                <a:gd name="connsiteX56" fmla="*/ 840105 w 1226820"/>
                <a:gd name="connsiteY56" fmla="*/ 0 h 236727"/>
                <a:gd name="connsiteX57" fmla="*/ 809625 w 1226820"/>
                <a:gd name="connsiteY57" fmla="*/ 0 h 236727"/>
                <a:gd name="connsiteX58" fmla="*/ 777240 w 1226820"/>
                <a:gd name="connsiteY58" fmla="*/ 0 h 236727"/>
                <a:gd name="connsiteX59" fmla="*/ 742950 w 1226820"/>
                <a:gd name="connsiteY59" fmla="*/ 0 h 236727"/>
                <a:gd name="connsiteX60" fmla="*/ 706755 w 1226820"/>
                <a:gd name="connsiteY60" fmla="*/ 0 h 236727"/>
                <a:gd name="connsiteX61" fmla="*/ 669608 w 1226820"/>
                <a:gd name="connsiteY61" fmla="*/ 0 h 236727"/>
                <a:gd name="connsiteX62" fmla="*/ 631508 w 1226820"/>
                <a:gd name="connsiteY62" fmla="*/ 0 h 236727"/>
                <a:gd name="connsiteX63" fmla="*/ 593408 w 1226820"/>
                <a:gd name="connsiteY63" fmla="*/ 0 h 236727"/>
                <a:gd name="connsiteX64" fmla="*/ 555308 w 1226820"/>
                <a:gd name="connsiteY64" fmla="*/ 0 h 236727"/>
                <a:gd name="connsiteX65" fmla="*/ 517208 w 1226820"/>
                <a:gd name="connsiteY65" fmla="*/ 0 h 236727"/>
                <a:gd name="connsiteX66" fmla="*/ 481965 w 1226820"/>
                <a:gd name="connsiteY66" fmla="*/ 0 h 236727"/>
                <a:gd name="connsiteX67" fmla="*/ 447675 w 1226820"/>
                <a:gd name="connsiteY67" fmla="*/ 0 h 236727"/>
                <a:gd name="connsiteX68" fmla="*/ 415290 w 1226820"/>
                <a:gd name="connsiteY68" fmla="*/ 0 h 236727"/>
                <a:gd name="connsiteX69" fmla="*/ 384810 w 1226820"/>
                <a:gd name="connsiteY69" fmla="*/ 0 h 236727"/>
                <a:gd name="connsiteX70" fmla="*/ 357188 w 1226820"/>
                <a:gd name="connsiteY70" fmla="*/ 0 h 236727"/>
                <a:gd name="connsiteX71" fmla="*/ 324803 w 1226820"/>
                <a:gd name="connsiteY71" fmla="*/ 0 h 236727"/>
                <a:gd name="connsiteX72" fmla="*/ 292417 w 1226820"/>
                <a:gd name="connsiteY72" fmla="*/ 0 h 236727"/>
                <a:gd name="connsiteX73" fmla="*/ 260985 w 1226820"/>
                <a:gd name="connsiteY73" fmla="*/ 0 h 236727"/>
                <a:gd name="connsiteX74" fmla="*/ 226695 w 1226820"/>
                <a:gd name="connsiteY74" fmla="*/ 0 h 236727"/>
                <a:gd name="connsiteX75" fmla="*/ 190500 w 1226820"/>
                <a:gd name="connsiteY75" fmla="*/ 0 h 236727"/>
                <a:gd name="connsiteX76" fmla="*/ 152400 w 1226820"/>
                <a:gd name="connsiteY76" fmla="*/ 0 h 236727"/>
                <a:gd name="connsiteX77" fmla="*/ 112395 w 1226820"/>
                <a:gd name="connsiteY77" fmla="*/ 0 h 236727"/>
                <a:gd name="connsiteX78" fmla="*/ 73342 w 1226820"/>
                <a:gd name="connsiteY78" fmla="*/ 0 h 236727"/>
                <a:gd name="connsiteX79" fmla="*/ 40958 w 1226820"/>
                <a:gd name="connsiteY79" fmla="*/ 0 h 236727"/>
                <a:gd name="connsiteX80" fmla="*/ 17145 w 1226820"/>
                <a:gd name="connsiteY80" fmla="*/ 0 h 236727"/>
                <a:gd name="connsiteX81" fmla="*/ 3810 w 1226820"/>
                <a:gd name="connsiteY81" fmla="*/ 0 h 236727"/>
                <a:gd name="connsiteX82" fmla="*/ 0 w 1226820"/>
                <a:gd name="connsiteY82" fmla="*/ 0 h 236727"/>
                <a:gd name="connsiteX83" fmla="*/ 0 w 1226820"/>
                <a:gd name="connsiteY83" fmla="*/ 0 h 236727"/>
                <a:gd name="connsiteX84" fmla="*/ 0 w 1226820"/>
                <a:gd name="connsiteY84" fmla="*/ 236728 h 2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6727">
                  <a:moveTo>
                    <a:pt x="0" y="236728"/>
                  </a:moveTo>
                  <a:lnTo>
                    <a:pt x="953" y="236728"/>
                  </a:lnTo>
                  <a:lnTo>
                    <a:pt x="8573" y="236728"/>
                  </a:lnTo>
                  <a:lnTo>
                    <a:pt x="26670" y="236728"/>
                  </a:lnTo>
                  <a:lnTo>
                    <a:pt x="56198" y="236728"/>
                  </a:lnTo>
                  <a:lnTo>
                    <a:pt x="92392" y="236728"/>
                  </a:lnTo>
                  <a:lnTo>
                    <a:pt x="132398" y="236728"/>
                  </a:lnTo>
                  <a:lnTo>
                    <a:pt x="171450" y="236728"/>
                  </a:lnTo>
                  <a:lnTo>
                    <a:pt x="208598" y="236728"/>
                  </a:lnTo>
                  <a:lnTo>
                    <a:pt x="243840" y="236728"/>
                  </a:lnTo>
                  <a:lnTo>
                    <a:pt x="276225" y="236728"/>
                  </a:lnTo>
                  <a:lnTo>
                    <a:pt x="308610" y="236728"/>
                  </a:lnTo>
                  <a:lnTo>
                    <a:pt x="340995" y="236728"/>
                  </a:lnTo>
                  <a:lnTo>
                    <a:pt x="357188" y="236728"/>
                  </a:lnTo>
                  <a:lnTo>
                    <a:pt x="386715" y="236728"/>
                  </a:lnTo>
                  <a:lnTo>
                    <a:pt x="417195" y="236728"/>
                  </a:lnTo>
                  <a:lnTo>
                    <a:pt x="449580" y="236728"/>
                  </a:lnTo>
                  <a:lnTo>
                    <a:pt x="483870" y="236728"/>
                  </a:lnTo>
                  <a:lnTo>
                    <a:pt x="519113" y="236728"/>
                  </a:lnTo>
                  <a:lnTo>
                    <a:pt x="556260" y="236728"/>
                  </a:lnTo>
                  <a:lnTo>
                    <a:pt x="594360" y="236728"/>
                  </a:lnTo>
                  <a:lnTo>
                    <a:pt x="633413" y="236728"/>
                  </a:lnTo>
                  <a:lnTo>
                    <a:pt x="671513" y="236728"/>
                  </a:lnTo>
                  <a:lnTo>
                    <a:pt x="708660" y="236728"/>
                  </a:lnTo>
                  <a:lnTo>
                    <a:pt x="743902" y="236728"/>
                  </a:lnTo>
                  <a:lnTo>
                    <a:pt x="778193" y="236728"/>
                  </a:lnTo>
                  <a:lnTo>
                    <a:pt x="810577" y="236728"/>
                  </a:lnTo>
                  <a:lnTo>
                    <a:pt x="841058" y="236728"/>
                  </a:lnTo>
                  <a:lnTo>
                    <a:pt x="868680" y="236728"/>
                  </a:lnTo>
                  <a:lnTo>
                    <a:pt x="902018" y="236728"/>
                  </a:lnTo>
                  <a:lnTo>
                    <a:pt x="933450" y="236728"/>
                  </a:lnTo>
                  <a:lnTo>
                    <a:pt x="965835" y="236728"/>
                  </a:lnTo>
                  <a:lnTo>
                    <a:pt x="999173" y="236728"/>
                  </a:lnTo>
                  <a:lnTo>
                    <a:pt x="1035368" y="236728"/>
                  </a:lnTo>
                  <a:lnTo>
                    <a:pt x="1073468" y="236728"/>
                  </a:lnTo>
                  <a:lnTo>
                    <a:pt x="1113473" y="236728"/>
                  </a:lnTo>
                  <a:lnTo>
                    <a:pt x="1152525" y="236728"/>
                  </a:lnTo>
                  <a:lnTo>
                    <a:pt x="1185863" y="236728"/>
                  </a:lnTo>
                  <a:lnTo>
                    <a:pt x="1209675" y="236728"/>
                  </a:lnTo>
                  <a:lnTo>
                    <a:pt x="1222058" y="236728"/>
                  </a:lnTo>
                  <a:lnTo>
                    <a:pt x="1225868" y="236728"/>
                  </a:lnTo>
                  <a:lnTo>
                    <a:pt x="1226820" y="236728"/>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6728"/>
                  </a:lnTo>
                  <a:close/>
                </a:path>
              </a:pathLst>
            </a:custGeom>
            <a:noFill/>
            <a:ln w="9525" cap="flat">
              <a:solidFill>
                <a:srgbClr val="BBBDBF"/>
              </a:solidFill>
              <a:prstDash val="solid"/>
              <a:miter/>
            </a:ln>
          </p:spPr>
          <p:txBody>
            <a:bodyPr rtlCol="0" anchor="ctr"/>
            <a:lstStyle/>
            <a:p>
              <a:endParaRPr lang="en-US" sz="1050"/>
            </a:p>
          </p:txBody>
        </p:sp>
        <p:sp>
          <p:nvSpPr>
            <p:cNvPr id="161" name="Freeform 157">
              <a:extLst>
                <a:ext uri="{FF2B5EF4-FFF2-40B4-BE49-F238E27FC236}">
                  <a16:creationId xmlns:a16="http://schemas.microsoft.com/office/drawing/2014/main" id="{2363D828-1FE7-0855-CCA5-FA74375DDAD8}"/>
                </a:ext>
              </a:extLst>
            </p:cNvPr>
            <p:cNvSpPr/>
            <p:nvPr/>
          </p:nvSpPr>
          <p:spPr>
            <a:xfrm>
              <a:off x="2147856" y="4589505"/>
              <a:ext cx="1226820" cy="237678"/>
            </a:xfrm>
            <a:custGeom>
              <a:avLst/>
              <a:gdLst>
                <a:gd name="connsiteX0" fmla="*/ 0 w 1226820"/>
                <a:gd name="connsiteY0" fmla="*/ 237678 h 237678"/>
                <a:gd name="connsiteX1" fmla="*/ 953 w 1226820"/>
                <a:gd name="connsiteY1" fmla="*/ 237678 h 237678"/>
                <a:gd name="connsiteX2" fmla="*/ 8573 w 1226820"/>
                <a:gd name="connsiteY2" fmla="*/ 237678 h 237678"/>
                <a:gd name="connsiteX3" fmla="*/ 26670 w 1226820"/>
                <a:gd name="connsiteY3" fmla="*/ 237678 h 237678"/>
                <a:gd name="connsiteX4" fmla="*/ 56198 w 1226820"/>
                <a:gd name="connsiteY4" fmla="*/ 237678 h 237678"/>
                <a:gd name="connsiteX5" fmla="*/ 92392 w 1226820"/>
                <a:gd name="connsiteY5" fmla="*/ 237678 h 237678"/>
                <a:gd name="connsiteX6" fmla="*/ 132398 w 1226820"/>
                <a:gd name="connsiteY6" fmla="*/ 237678 h 237678"/>
                <a:gd name="connsiteX7" fmla="*/ 171450 w 1226820"/>
                <a:gd name="connsiteY7" fmla="*/ 237678 h 237678"/>
                <a:gd name="connsiteX8" fmla="*/ 208598 w 1226820"/>
                <a:gd name="connsiteY8" fmla="*/ 237678 h 237678"/>
                <a:gd name="connsiteX9" fmla="*/ 243840 w 1226820"/>
                <a:gd name="connsiteY9" fmla="*/ 237678 h 237678"/>
                <a:gd name="connsiteX10" fmla="*/ 276225 w 1226820"/>
                <a:gd name="connsiteY10" fmla="*/ 237678 h 237678"/>
                <a:gd name="connsiteX11" fmla="*/ 308610 w 1226820"/>
                <a:gd name="connsiteY11" fmla="*/ 237678 h 237678"/>
                <a:gd name="connsiteX12" fmla="*/ 340995 w 1226820"/>
                <a:gd name="connsiteY12" fmla="*/ 237678 h 237678"/>
                <a:gd name="connsiteX13" fmla="*/ 357188 w 1226820"/>
                <a:gd name="connsiteY13" fmla="*/ 237678 h 237678"/>
                <a:gd name="connsiteX14" fmla="*/ 386715 w 1226820"/>
                <a:gd name="connsiteY14" fmla="*/ 237678 h 237678"/>
                <a:gd name="connsiteX15" fmla="*/ 417195 w 1226820"/>
                <a:gd name="connsiteY15" fmla="*/ 237678 h 237678"/>
                <a:gd name="connsiteX16" fmla="*/ 449580 w 1226820"/>
                <a:gd name="connsiteY16" fmla="*/ 237678 h 237678"/>
                <a:gd name="connsiteX17" fmla="*/ 483870 w 1226820"/>
                <a:gd name="connsiteY17" fmla="*/ 237678 h 237678"/>
                <a:gd name="connsiteX18" fmla="*/ 519113 w 1226820"/>
                <a:gd name="connsiteY18" fmla="*/ 237678 h 237678"/>
                <a:gd name="connsiteX19" fmla="*/ 556260 w 1226820"/>
                <a:gd name="connsiteY19" fmla="*/ 237678 h 237678"/>
                <a:gd name="connsiteX20" fmla="*/ 594360 w 1226820"/>
                <a:gd name="connsiteY20" fmla="*/ 237678 h 237678"/>
                <a:gd name="connsiteX21" fmla="*/ 633413 w 1226820"/>
                <a:gd name="connsiteY21" fmla="*/ 237678 h 237678"/>
                <a:gd name="connsiteX22" fmla="*/ 671513 w 1226820"/>
                <a:gd name="connsiteY22" fmla="*/ 237678 h 237678"/>
                <a:gd name="connsiteX23" fmla="*/ 708660 w 1226820"/>
                <a:gd name="connsiteY23" fmla="*/ 237678 h 237678"/>
                <a:gd name="connsiteX24" fmla="*/ 743902 w 1226820"/>
                <a:gd name="connsiteY24" fmla="*/ 237678 h 237678"/>
                <a:gd name="connsiteX25" fmla="*/ 778193 w 1226820"/>
                <a:gd name="connsiteY25" fmla="*/ 237678 h 237678"/>
                <a:gd name="connsiteX26" fmla="*/ 810577 w 1226820"/>
                <a:gd name="connsiteY26" fmla="*/ 237678 h 237678"/>
                <a:gd name="connsiteX27" fmla="*/ 841058 w 1226820"/>
                <a:gd name="connsiteY27" fmla="*/ 237678 h 237678"/>
                <a:gd name="connsiteX28" fmla="*/ 868680 w 1226820"/>
                <a:gd name="connsiteY28" fmla="*/ 237678 h 237678"/>
                <a:gd name="connsiteX29" fmla="*/ 902018 w 1226820"/>
                <a:gd name="connsiteY29" fmla="*/ 237678 h 237678"/>
                <a:gd name="connsiteX30" fmla="*/ 933450 w 1226820"/>
                <a:gd name="connsiteY30" fmla="*/ 237678 h 237678"/>
                <a:gd name="connsiteX31" fmla="*/ 965835 w 1226820"/>
                <a:gd name="connsiteY31" fmla="*/ 237678 h 237678"/>
                <a:gd name="connsiteX32" fmla="*/ 999173 w 1226820"/>
                <a:gd name="connsiteY32" fmla="*/ 237678 h 237678"/>
                <a:gd name="connsiteX33" fmla="*/ 1035368 w 1226820"/>
                <a:gd name="connsiteY33" fmla="*/ 237678 h 237678"/>
                <a:gd name="connsiteX34" fmla="*/ 1073468 w 1226820"/>
                <a:gd name="connsiteY34" fmla="*/ 237678 h 237678"/>
                <a:gd name="connsiteX35" fmla="*/ 1113473 w 1226820"/>
                <a:gd name="connsiteY35" fmla="*/ 237678 h 237678"/>
                <a:gd name="connsiteX36" fmla="*/ 1152525 w 1226820"/>
                <a:gd name="connsiteY36" fmla="*/ 237678 h 237678"/>
                <a:gd name="connsiteX37" fmla="*/ 1185863 w 1226820"/>
                <a:gd name="connsiteY37" fmla="*/ 237678 h 237678"/>
                <a:gd name="connsiteX38" fmla="*/ 1209675 w 1226820"/>
                <a:gd name="connsiteY38" fmla="*/ 237678 h 237678"/>
                <a:gd name="connsiteX39" fmla="*/ 1222058 w 1226820"/>
                <a:gd name="connsiteY39" fmla="*/ 237678 h 237678"/>
                <a:gd name="connsiteX40" fmla="*/ 1225868 w 1226820"/>
                <a:gd name="connsiteY40" fmla="*/ 237678 h 237678"/>
                <a:gd name="connsiteX41" fmla="*/ 1226820 w 1226820"/>
                <a:gd name="connsiteY41" fmla="*/ 237678 h 237678"/>
                <a:gd name="connsiteX42" fmla="*/ 1226820 w 1226820"/>
                <a:gd name="connsiteY42" fmla="*/ 0 h 237678"/>
                <a:gd name="connsiteX43" fmla="*/ 1224915 w 1226820"/>
                <a:gd name="connsiteY43" fmla="*/ 0 h 237678"/>
                <a:gd name="connsiteX44" fmla="*/ 1217295 w 1226820"/>
                <a:gd name="connsiteY44" fmla="*/ 0 h 237678"/>
                <a:gd name="connsiteX45" fmla="*/ 1199198 w 1226820"/>
                <a:gd name="connsiteY45" fmla="*/ 0 h 237678"/>
                <a:gd name="connsiteX46" fmla="*/ 1170623 w 1226820"/>
                <a:gd name="connsiteY46" fmla="*/ 0 h 237678"/>
                <a:gd name="connsiteX47" fmla="*/ 1133475 w 1226820"/>
                <a:gd name="connsiteY47" fmla="*/ 0 h 237678"/>
                <a:gd name="connsiteX48" fmla="*/ 1094423 w 1226820"/>
                <a:gd name="connsiteY48" fmla="*/ 0 h 237678"/>
                <a:gd name="connsiteX49" fmla="*/ 1054418 w 1226820"/>
                <a:gd name="connsiteY49" fmla="*/ 0 h 237678"/>
                <a:gd name="connsiteX50" fmla="*/ 1017270 w 1226820"/>
                <a:gd name="connsiteY50" fmla="*/ 0 h 237678"/>
                <a:gd name="connsiteX51" fmla="*/ 982980 w 1226820"/>
                <a:gd name="connsiteY51" fmla="*/ 0 h 237678"/>
                <a:gd name="connsiteX52" fmla="*/ 949643 w 1226820"/>
                <a:gd name="connsiteY52" fmla="*/ 0 h 237678"/>
                <a:gd name="connsiteX53" fmla="*/ 918210 w 1226820"/>
                <a:gd name="connsiteY53" fmla="*/ 0 h 237678"/>
                <a:gd name="connsiteX54" fmla="*/ 885825 w 1226820"/>
                <a:gd name="connsiteY54" fmla="*/ 0 h 237678"/>
                <a:gd name="connsiteX55" fmla="*/ 868680 w 1226820"/>
                <a:gd name="connsiteY55" fmla="*/ 0 h 237678"/>
                <a:gd name="connsiteX56" fmla="*/ 840105 w 1226820"/>
                <a:gd name="connsiteY56" fmla="*/ 0 h 237678"/>
                <a:gd name="connsiteX57" fmla="*/ 809625 w 1226820"/>
                <a:gd name="connsiteY57" fmla="*/ 0 h 237678"/>
                <a:gd name="connsiteX58" fmla="*/ 777240 w 1226820"/>
                <a:gd name="connsiteY58" fmla="*/ 0 h 237678"/>
                <a:gd name="connsiteX59" fmla="*/ 742950 w 1226820"/>
                <a:gd name="connsiteY59" fmla="*/ 0 h 237678"/>
                <a:gd name="connsiteX60" fmla="*/ 706755 w 1226820"/>
                <a:gd name="connsiteY60" fmla="*/ 0 h 237678"/>
                <a:gd name="connsiteX61" fmla="*/ 669608 w 1226820"/>
                <a:gd name="connsiteY61" fmla="*/ 0 h 237678"/>
                <a:gd name="connsiteX62" fmla="*/ 631508 w 1226820"/>
                <a:gd name="connsiteY62" fmla="*/ 0 h 237678"/>
                <a:gd name="connsiteX63" fmla="*/ 593408 w 1226820"/>
                <a:gd name="connsiteY63" fmla="*/ 0 h 237678"/>
                <a:gd name="connsiteX64" fmla="*/ 555308 w 1226820"/>
                <a:gd name="connsiteY64" fmla="*/ 0 h 237678"/>
                <a:gd name="connsiteX65" fmla="*/ 517208 w 1226820"/>
                <a:gd name="connsiteY65" fmla="*/ 0 h 237678"/>
                <a:gd name="connsiteX66" fmla="*/ 481965 w 1226820"/>
                <a:gd name="connsiteY66" fmla="*/ 0 h 237678"/>
                <a:gd name="connsiteX67" fmla="*/ 447675 w 1226820"/>
                <a:gd name="connsiteY67" fmla="*/ 0 h 237678"/>
                <a:gd name="connsiteX68" fmla="*/ 415290 w 1226820"/>
                <a:gd name="connsiteY68" fmla="*/ 0 h 237678"/>
                <a:gd name="connsiteX69" fmla="*/ 384810 w 1226820"/>
                <a:gd name="connsiteY69" fmla="*/ 0 h 237678"/>
                <a:gd name="connsiteX70" fmla="*/ 357188 w 1226820"/>
                <a:gd name="connsiteY70" fmla="*/ 0 h 237678"/>
                <a:gd name="connsiteX71" fmla="*/ 324803 w 1226820"/>
                <a:gd name="connsiteY71" fmla="*/ 0 h 237678"/>
                <a:gd name="connsiteX72" fmla="*/ 292417 w 1226820"/>
                <a:gd name="connsiteY72" fmla="*/ 0 h 237678"/>
                <a:gd name="connsiteX73" fmla="*/ 260985 w 1226820"/>
                <a:gd name="connsiteY73" fmla="*/ 0 h 237678"/>
                <a:gd name="connsiteX74" fmla="*/ 226695 w 1226820"/>
                <a:gd name="connsiteY74" fmla="*/ 0 h 237678"/>
                <a:gd name="connsiteX75" fmla="*/ 190500 w 1226820"/>
                <a:gd name="connsiteY75" fmla="*/ 0 h 237678"/>
                <a:gd name="connsiteX76" fmla="*/ 152400 w 1226820"/>
                <a:gd name="connsiteY76" fmla="*/ 0 h 237678"/>
                <a:gd name="connsiteX77" fmla="*/ 112395 w 1226820"/>
                <a:gd name="connsiteY77" fmla="*/ 0 h 237678"/>
                <a:gd name="connsiteX78" fmla="*/ 73342 w 1226820"/>
                <a:gd name="connsiteY78" fmla="*/ 0 h 237678"/>
                <a:gd name="connsiteX79" fmla="*/ 40958 w 1226820"/>
                <a:gd name="connsiteY79" fmla="*/ 0 h 237678"/>
                <a:gd name="connsiteX80" fmla="*/ 17145 w 1226820"/>
                <a:gd name="connsiteY80" fmla="*/ 0 h 237678"/>
                <a:gd name="connsiteX81" fmla="*/ 3810 w 1226820"/>
                <a:gd name="connsiteY81" fmla="*/ 0 h 237678"/>
                <a:gd name="connsiteX82" fmla="*/ 0 w 1226820"/>
                <a:gd name="connsiteY82" fmla="*/ 0 h 237678"/>
                <a:gd name="connsiteX83" fmla="*/ 0 w 1226820"/>
                <a:gd name="connsiteY83" fmla="*/ 0 h 237678"/>
                <a:gd name="connsiteX84" fmla="*/ 0 w 1226820"/>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7678">
                  <a:moveTo>
                    <a:pt x="0" y="237678"/>
                  </a:moveTo>
                  <a:lnTo>
                    <a:pt x="953" y="237678"/>
                  </a:lnTo>
                  <a:lnTo>
                    <a:pt x="8573" y="237678"/>
                  </a:lnTo>
                  <a:lnTo>
                    <a:pt x="26670" y="237678"/>
                  </a:lnTo>
                  <a:lnTo>
                    <a:pt x="56198" y="237678"/>
                  </a:lnTo>
                  <a:lnTo>
                    <a:pt x="92392" y="237678"/>
                  </a:lnTo>
                  <a:lnTo>
                    <a:pt x="132398" y="237678"/>
                  </a:lnTo>
                  <a:lnTo>
                    <a:pt x="171450" y="237678"/>
                  </a:lnTo>
                  <a:lnTo>
                    <a:pt x="208598" y="237678"/>
                  </a:lnTo>
                  <a:lnTo>
                    <a:pt x="243840" y="237678"/>
                  </a:lnTo>
                  <a:lnTo>
                    <a:pt x="276225" y="237678"/>
                  </a:lnTo>
                  <a:lnTo>
                    <a:pt x="308610" y="237678"/>
                  </a:lnTo>
                  <a:lnTo>
                    <a:pt x="340995" y="237678"/>
                  </a:lnTo>
                  <a:lnTo>
                    <a:pt x="357188" y="237678"/>
                  </a:lnTo>
                  <a:lnTo>
                    <a:pt x="386715" y="237678"/>
                  </a:lnTo>
                  <a:lnTo>
                    <a:pt x="417195" y="237678"/>
                  </a:lnTo>
                  <a:lnTo>
                    <a:pt x="449580" y="237678"/>
                  </a:lnTo>
                  <a:lnTo>
                    <a:pt x="483870" y="237678"/>
                  </a:lnTo>
                  <a:lnTo>
                    <a:pt x="519113" y="237678"/>
                  </a:lnTo>
                  <a:lnTo>
                    <a:pt x="556260" y="237678"/>
                  </a:lnTo>
                  <a:lnTo>
                    <a:pt x="594360" y="237678"/>
                  </a:lnTo>
                  <a:lnTo>
                    <a:pt x="633413" y="237678"/>
                  </a:lnTo>
                  <a:lnTo>
                    <a:pt x="671513" y="237678"/>
                  </a:lnTo>
                  <a:lnTo>
                    <a:pt x="708660" y="237678"/>
                  </a:lnTo>
                  <a:lnTo>
                    <a:pt x="743902" y="237678"/>
                  </a:lnTo>
                  <a:lnTo>
                    <a:pt x="778193" y="237678"/>
                  </a:lnTo>
                  <a:lnTo>
                    <a:pt x="810577" y="237678"/>
                  </a:lnTo>
                  <a:lnTo>
                    <a:pt x="841058" y="237678"/>
                  </a:lnTo>
                  <a:lnTo>
                    <a:pt x="868680" y="237678"/>
                  </a:lnTo>
                  <a:lnTo>
                    <a:pt x="902018" y="237678"/>
                  </a:lnTo>
                  <a:lnTo>
                    <a:pt x="933450" y="237678"/>
                  </a:lnTo>
                  <a:lnTo>
                    <a:pt x="965835" y="237678"/>
                  </a:lnTo>
                  <a:lnTo>
                    <a:pt x="999173" y="237678"/>
                  </a:lnTo>
                  <a:lnTo>
                    <a:pt x="1035368" y="237678"/>
                  </a:lnTo>
                  <a:lnTo>
                    <a:pt x="1073468" y="237678"/>
                  </a:lnTo>
                  <a:lnTo>
                    <a:pt x="1113473" y="237678"/>
                  </a:lnTo>
                  <a:lnTo>
                    <a:pt x="1152525" y="237678"/>
                  </a:lnTo>
                  <a:lnTo>
                    <a:pt x="1185863" y="237678"/>
                  </a:lnTo>
                  <a:lnTo>
                    <a:pt x="1209675" y="237678"/>
                  </a:lnTo>
                  <a:lnTo>
                    <a:pt x="1222058" y="237678"/>
                  </a:lnTo>
                  <a:lnTo>
                    <a:pt x="1225868" y="237678"/>
                  </a:lnTo>
                  <a:lnTo>
                    <a:pt x="1226820" y="237678"/>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7678"/>
                  </a:lnTo>
                  <a:close/>
                </a:path>
              </a:pathLst>
            </a:custGeom>
            <a:solidFill>
              <a:srgbClr val="BBBDBF">
                <a:alpha val="60000"/>
              </a:srgbClr>
            </a:solidFill>
            <a:ln w="9525" cap="flat">
              <a:noFill/>
              <a:prstDash val="solid"/>
              <a:miter/>
            </a:ln>
          </p:spPr>
          <p:txBody>
            <a:bodyPr rtlCol="0" anchor="ctr"/>
            <a:lstStyle/>
            <a:p>
              <a:endParaRPr lang="en-US" sz="1050"/>
            </a:p>
          </p:txBody>
        </p:sp>
        <p:sp>
          <p:nvSpPr>
            <p:cNvPr id="162" name="Freeform 158">
              <a:extLst>
                <a:ext uri="{FF2B5EF4-FFF2-40B4-BE49-F238E27FC236}">
                  <a16:creationId xmlns:a16="http://schemas.microsoft.com/office/drawing/2014/main" id="{41A8DBEC-5A3E-16E4-EA9F-93CD49752F4E}"/>
                </a:ext>
              </a:extLst>
            </p:cNvPr>
            <p:cNvSpPr/>
            <p:nvPr/>
          </p:nvSpPr>
          <p:spPr>
            <a:xfrm>
              <a:off x="2147856" y="4589505"/>
              <a:ext cx="1226820" cy="237678"/>
            </a:xfrm>
            <a:custGeom>
              <a:avLst/>
              <a:gdLst>
                <a:gd name="connsiteX0" fmla="*/ 0 w 1226820"/>
                <a:gd name="connsiteY0" fmla="*/ 237678 h 237678"/>
                <a:gd name="connsiteX1" fmla="*/ 953 w 1226820"/>
                <a:gd name="connsiteY1" fmla="*/ 237678 h 237678"/>
                <a:gd name="connsiteX2" fmla="*/ 8573 w 1226820"/>
                <a:gd name="connsiteY2" fmla="*/ 237678 h 237678"/>
                <a:gd name="connsiteX3" fmla="*/ 26670 w 1226820"/>
                <a:gd name="connsiteY3" fmla="*/ 237678 h 237678"/>
                <a:gd name="connsiteX4" fmla="*/ 56198 w 1226820"/>
                <a:gd name="connsiteY4" fmla="*/ 237678 h 237678"/>
                <a:gd name="connsiteX5" fmla="*/ 92392 w 1226820"/>
                <a:gd name="connsiteY5" fmla="*/ 237678 h 237678"/>
                <a:gd name="connsiteX6" fmla="*/ 132398 w 1226820"/>
                <a:gd name="connsiteY6" fmla="*/ 237678 h 237678"/>
                <a:gd name="connsiteX7" fmla="*/ 171450 w 1226820"/>
                <a:gd name="connsiteY7" fmla="*/ 237678 h 237678"/>
                <a:gd name="connsiteX8" fmla="*/ 208598 w 1226820"/>
                <a:gd name="connsiteY8" fmla="*/ 237678 h 237678"/>
                <a:gd name="connsiteX9" fmla="*/ 243840 w 1226820"/>
                <a:gd name="connsiteY9" fmla="*/ 237678 h 237678"/>
                <a:gd name="connsiteX10" fmla="*/ 276225 w 1226820"/>
                <a:gd name="connsiteY10" fmla="*/ 237678 h 237678"/>
                <a:gd name="connsiteX11" fmla="*/ 308610 w 1226820"/>
                <a:gd name="connsiteY11" fmla="*/ 237678 h 237678"/>
                <a:gd name="connsiteX12" fmla="*/ 340995 w 1226820"/>
                <a:gd name="connsiteY12" fmla="*/ 237678 h 237678"/>
                <a:gd name="connsiteX13" fmla="*/ 357188 w 1226820"/>
                <a:gd name="connsiteY13" fmla="*/ 237678 h 237678"/>
                <a:gd name="connsiteX14" fmla="*/ 386715 w 1226820"/>
                <a:gd name="connsiteY14" fmla="*/ 237678 h 237678"/>
                <a:gd name="connsiteX15" fmla="*/ 417195 w 1226820"/>
                <a:gd name="connsiteY15" fmla="*/ 237678 h 237678"/>
                <a:gd name="connsiteX16" fmla="*/ 449580 w 1226820"/>
                <a:gd name="connsiteY16" fmla="*/ 237678 h 237678"/>
                <a:gd name="connsiteX17" fmla="*/ 483870 w 1226820"/>
                <a:gd name="connsiteY17" fmla="*/ 237678 h 237678"/>
                <a:gd name="connsiteX18" fmla="*/ 519113 w 1226820"/>
                <a:gd name="connsiteY18" fmla="*/ 237678 h 237678"/>
                <a:gd name="connsiteX19" fmla="*/ 556260 w 1226820"/>
                <a:gd name="connsiteY19" fmla="*/ 237678 h 237678"/>
                <a:gd name="connsiteX20" fmla="*/ 594360 w 1226820"/>
                <a:gd name="connsiteY20" fmla="*/ 237678 h 237678"/>
                <a:gd name="connsiteX21" fmla="*/ 633413 w 1226820"/>
                <a:gd name="connsiteY21" fmla="*/ 237678 h 237678"/>
                <a:gd name="connsiteX22" fmla="*/ 671513 w 1226820"/>
                <a:gd name="connsiteY22" fmla="*/ 237678 h 237678"/>
                <a:gd name="connsiteX23" fmla="*/ 708660 w 1226820"/>
                <a:gd name="connsiteY23" fmla="*/ 237678 h 237678"/>
                <a:gd name="connsiteX24" fmla="*/ 743902 w 1226820"/>
                <a:gd name="connsiteY24" fmla="*/ 237678 h 237678"/>
                <a:gd name="connsiteX25" fmla="*/ 778193 w 1226820"/>
                <a:gd name="connsiteY25" fmla="*/ 237678 h 237678"/>
                <a:gd name="connsiteX26" fmla="*/ 810577 w 1226820"/>
                <a:gd name="connsiteY26" fmla="*/ 237678 h 237678"/>
                <a:gd name="connsiteX27" fmla="*/ 841058 w 1226820"/>
                <a:gd name="connsiteY27" fmla="*/ 237678 h 237678"/>
                <a:gd name="connsiteX28" fmla="*/ 868680 w 1226820"/>
                <a:gd name="connsiteY28" fmla="*/ 237678 h 237678"/>
                <a:gd name="connsiteX29" fmla="*/ 902018 w 1226820"/>
                <a:gd name="connsiteY29" fmla="*/ 237678 h 237678"/>
                <a:gd name="connsiteX30" fmla="*/ 933450 w 1226820"/>
                <a:gd name="connsiteY30" fmla="*/ 237678 h 237678"/>
                <a:gd name="connsiteX31" fmla="*/ 965835 w 1226820"/>
                <a:gd name="connsiteY31" fmla="*/ 237678 h 237678"/>
                <a:gd name="connsiteX32" fmla="*/ 999173 w 1226820"/>
                <a:gd name="connsiteY32" fmla="*/ 237678 h 237678"/>
                <a:gd name="connsiteX33" fmla="*/ 1035368 w 1226820"/>
                <a:gd name="connsiteY33" fmla="*/ 237678 h 237678"/>
                <a:gd name="connsiteX34" fmla="*/ 1073468 w 1226820"/>
                <a:gd name="connsiteY34" fmla="*/ 237678 h 237678"/>
                <a:gd name="connsiteX35" fmla="*/ 1113473 w 1226820"/>
                <a:gd name="connsiteY35" fmla="*/ 237678 h 237678"/>
                <a:gd name="connsiteX36" fmla="*/ 1152525 w 1226820"/>
                <a:gd name="connsiteY36" fmla="*/ 237678 h 237678"/>
                <a:gd name="connsiteX37" fmla="*/ 1185863 w 1226820"/>
                <a:gd name="connsiteY37" fmla="*/ 237678 h 237678"/>
                <a:gd name="connsiteX38" fmla="*/ 1209675 w 1226820"/>
                <a:gd name="connsiteY38" fmla="*/ 237678 h 237678"/>
                <a:gd name="connsiteX39" fmla="*/ 1222058 w 1226820"/>
                <a:gd name="connsiteY39" fmla="*/ 237678 h 237678"/>
                <a:gd name="connsiteX40" fmla="*/ 1225868 w 1226820"/>
                <a:gd name="connsiteY40" fmla="*/ 237678 h 237678"/>
                <a:gd name="connsiteX41" fmla="*/ 1226820 w 1226820"/>
                <a:gd name="connsiteY41" fmla="*/ 237678 h 237678"/>
                <a:gd name="connsiteX42" fmla="*/ 1226820 w 1226820"/>
                <a:gd name="connsiteY42" fmla="*/ 0 h 237678"/>
                <a:gd name="connsiteX43" fmla="*/ 1224915 w 1226820"/>
                <a:gd name="connsiteY43" fmla="*/ 0 h 237678"/>
                <a:gd name="connsiteX44" fmla="*/ 1217295 w 1226820"/>
                <a:gd name="connsiteY44" fmla="*/ 0 h 237678"/>
                <a:gd name="connsiteX45" fmla="*/ 1199198 w 1226820"/>
                <a:gd name="connsiteY45" fmla="*/ 0 h 237678"/>
                <a:gd name="connsiteX46" fmla="*/ 1170623 w 1226820"/>
                <a:gd name="connsiteY46" fmla="*/ 0 h 237678"/>
                <a:gd name="connsiteX47" fmla="*/ 1133475 w 1226820"/>
                <a:gd name="connsiteY47" fmla="*/ 0 h 237678"/>
                <a:gd name="connsiteX48" fmla="*/ 1094423 w 1226820"/>
                <a:gd name="connsiteY48" fmla="*/ 0 h 237678"/>
                <a:gd name="connsiteX49" fmla="*/ 1054418 w 1226820"/>
                <a:gd name="connsiteY49" fmla="*/ 0 h 237678"/>
                <a:gd name="connsiteX50" fmla="*/ 1017270 w 1226820"/>
                <a:gd name="connsiteY50" fmla="*/ 0 h 237678"/>
                <a:gd name="connsiteX51" fmla="*/ 982980 w 1226820"/>
                <a:gd name="connsiteY51" fmla="*/ 0 h 237678"/>
                <a:gd name="connsiteX52" fmla="*/ 949643 w 1226820"/>
                <a:gd name="connsiteY52" fmla="*/ 0 h 237678"/>
                <a:gd name="connsiteX53" fmla="*/ 918210 w 1226820"/>
                <a:gd name="connsiteY53" fmla="*/ 0 h 237678"/>
                <a:gd name="connsiteX54" fmla="*/ 885825 w 1226820"/>
                <a:gd name="connsiteY54" fmla="*/ 0 h 237678"/>
                <a:gd name="connsiteX55" fmla="*/ 868680 w 1226820"/>
                <a:gd name="connsiteY55" fmla="*/ 0 h 237678"/>
                <a:gd name="connsiteX56" fmla="*/ 840105 w 1226820"/>
                <a:gd name="connsiteY56" fmla="*/ 0 h 237678"/>
                <a:gd name="connsiteX57" fmla="*/ 809625 w 1226820"/>
                <a:gd name="connsiteY57" fmla="*/ 0 h 237678"/>
                <a:gd name="connsiteX58" fmla="*/ 777240 w 1226820"/>
                <a:gd name="connsiteY58" fmla="*/ 0 h 237678"/>
                <a:gd name="connsiteX59" fmla="*/ 742950 w 1226820"/>
                <a:gd name="connsiteY59" fmla="*/ 0 h 237678"/>
                <a:gd name="connsiteX60" fmla="*/ 706755 w 1226820"/>
                <a:gd name="connsiteY60" fmla="*/ 0 h 237678"/>
                <a:gd name="connsiteX61" fmla="*/ 669608 w 1226820"/>
                <a:gd name="connsiteY61" fmla="*/ 0 h 237678"/>
                <a:gd name="connsiteX62" fmla="*/ 631508 w 1226820"/>
                <a:gd name="connsiteY62" fmla="*/ 0 h 237678"/>
                <a:gd name="connsiteX63" fmla="*/ 593408 w 1226820"/>
                <a:gd name="connsiteY63" fmla="*/ 0 h 237678"/>
                <a:gd name="connsiteX64" fmla="*/ 555308 w 1226820"/>
                <a:gd name="connsiteY64" fmla="*/ 0 h 237678"/>
                <a:gd name="connsiteX65" fmla="*/ 517208 w 1226820"/>
                <a:gd name="connsiteY65" fmla="*/ 0 h 237678"/>
                <a:gd name="connsiteX66" fmla="*/ 481965 w 1226820"/>
                <a:gd name="connsiteY66" fmla="*/ 0 h 237678"/>
                <a:gd name="connsiteX67" fmla="*/ 447675 w 1226820"/>
                <a:gd name="connsiteY67" fmla="*/ 0 h 237678"/>
                <a:gd name="connsiteX68" fmla="*/ 415290 w 1226820"/>
                <a:gd name="connsiteY68" fmla="*/ 0 h 237678"/>
                <a:gd name="connsiteX69" fmla="*/ 384810 w 1226820"/>
                <a:gd name="connsiteY69" fmla="*/ 0 h 237678"/>
                <a:gd name="connsiteX70" fmla="*/ 357188 w 1226820"/>
                <a:gd name="connsiteY70" fmla="*/ 0 h 237678"/>
                <a:gd name="connsiteX71" fmla="*/ 324803 w 1226820"/>
                <a:gd name="connsiteY71" fmla="*/ 0 h 237678"/>
                <a:gd name="connsiteX72" fmla="*/ 292417 w 1226820"/>
                <a:gd name="connsiteY72" fmla="*/ 0 h 237678"/>
                <a:gd name="connsiteX73" fmla="*/ 260985 w 1226820"/>
                <a:gd name="connsiteY73" fmla="*/ 0 h 237678"/>
                <a:gd name="connsiteX74" fmla="*/ 226695 w 1226820"/>
                <a:gd name="connsiteY74" fmla="*/ 0 h 237678"/>
                <a:gd name="connsiteX75" fmla="*/ 190500 w 1226820"/>
                <a:gd name="connsiteY75" fmla="*/ 0 h 237678"/>
                <a:gd name="connsiteX76" fmla="*/ 152400 w 1226820"/>
                <a:gd name="connsiteY76" fmla="*/ 0 h 237678"/>
                <a:gd name="connsiteX77" fmla="*/ 112395 w 1226820"/>
                <a:gd name="connsiteY77" fmla="*/ 0 h 237678"/>
                <a:gd name="connsiteX78" fmla="*/ 73342 w 1226820"/>
                <a:gd name="connsiteY78" fmla="*/ 0 h 237678"/>
                <a:gd name="connsiteX79" fmla="*/ 40958 w 1226820"/>
                <a:gd name="connsiteY79" fmla="*/ 0 h 237678"/>
                <a:gd name="connsiteX80" fmla="*/ 17145 w 1226820"/>
                <a:gd name="connsiteY80" fmla="*/ 0 h 237678"/>
                <a:gd name="connsiteX81" fmla="*/ 3810 w 1226820"/>
                <a:gd name="connsiteY81" fmla="*/ 0 h 237678"/>
                <a:gd name="connsiteX82" fmla="*/ 0 w 1226820"/>
                <a:gd name="connsiteY82" fmla="*/ 0 h 237678"/>
                <a:gd name="connsiteX83" fmla="*/ 0 w 1226820"/>
                <a:gd name="connsiteY83" fmla="*/ 0 h 237678"/>
                <a:gd name="connsiteX84" fmla="*/ 0 w 1226820"/>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7678">
                  <a:moveTo>
                    <a:pt x="0" y="237678"/>
                  </a:moveTo>
                  <a:lnTo>
                    <a:pt x="953" y="237678"/>
                  </a:lnTo>
                  <a:lnTo>
                    <a:pt x="8573" y="237678"/>
                  </a:lnTo>
                  <a:lnTo>
                    <a:pt x="26670" y="237678"/>
                  </a:lnTo>
                  <a:lnTo>
                    <a:pt x="56198" y="237678"/>
                  </a:lnTo>
                  <a:lnTo>
                    <a:pt x="92392" y="237678"/>
                  </a:lnTo>
                  <a:lnTo>
                    <a:pt x="132398" y="237678"/>
                  </a:lnTo>
                  <a:lnTo>
                    <a:pt x="171450" y="237678"/>
                  </a:lnTo>
                  <a:lnTo>
                    <a:pt x="208598" y="237678"/>
                  </a:lnTo>
                  <a:lnTo>
                    <a:pt x="243840" y="237678"/>
                  </a:lnTo>
                  <a:lnTo>
                    <a:pt x="276225" y="237678"/>
                  </a:lnTo>
                  <a:lnTo>
                    <a:pt x="308610" y="237678"/>
                  </a:lnTo>
                  <a:lnTo>
                    <a:pt x="340995" y="237678"/>
                  </a:lnTo>
                  <a:lnTo>
                    <a:pt x="357188" y="237678"/>
                  </a:lnTo>
                  <a:lnTo>
                    <a:pt x="386715" y="237678"/>
                  </a:lnTo>
                  <a:lnTo>
                    <a:pt x="417195" y="237678"/>
                  </a:lnTo>
                  <a:lnTo>
                    <a:pt x="449580" y="237678"/>
                  </a:lnTo>
                  <a:lnTo>
                    <a:pt x="483870" y="237678"/>
                  </a:lnTo>
                  <a:lnTo>
                    <a:pt x="519113" y="237678"/>
                  </a:lnTo>
                  <a:lnTo>
                    <a:pt x="556260" y="237678"/>
                  </a:lnTo>
                  <a:lnTo>
                    <a:pt x="594360" y="237678"/>
                  </a:lnTo>
                  <a:lnTo>
                    <a:pt x="633413" y="237678"/>
                  </a:lnTo>
                  <a:lnTo>
                    <a:pt x="671513" y="237678"/>
                  </a:lnTo>
                  <a:lnTo>
                    <a:pt x="708660" y="237678"/>
                  </a:lnTo>
                  <a:lnTo>
                    <a:pt x="743902" y="237678"/>
                  </a:lnTo>
                  <a:lnTo>
                    <a:pt x="778193" y="237678"/>
                  </a:lnTo>
                  <a:lnTo>
                    <a:pt x="810577" y="237678"/>
                  </a:lnTo>
                  <a:lnTo>
                    <a:pt x="841058" y="237678"/>
                  </a:lnTo>
                  <a:lnTo>
                    <a:pt x="868680" y="237678"/>
                  </a:lnTo>
                  <a:lnTo>
                    <a:pt x="902018" y="237678"/>
                  </a:lnTo>
                  <a:lnTo>
                    <a:pt x="933450" y="237678"/>
                  </a:lnTo>
                  <a:lnTo>
                    <a:pt x="965835" y="237678"/>
                  </a:lnTo>
                  <a:lnTo>
                    <a:pt x="999173" y="237678"/>
                  </a:lnTo>
                  <a:lnTo>
                    <a:pt x="1035368" y="237678"/>
                  </a:lnTo>
                  <a:lnTo>
                    <a:pt x="1073468" y="237678"/>
                  </a:lnTo>
                  <a:lnTo>
                    <a:pt x="1113473" y="237678"/>
                  </a:lnTo>
                  <a:lnTo>
                    <a:pt x="1152525" y="237678"/>
                  </a:lnTo>
                  <a:lnTo>
                    <a:pt x="1185863" y="237678"/>
                  </a:lnTo>
                  <a:lnTo>
                    <a:pt x="1209675" y="237678"/>
                  </a:lnTo>
                  <a:lnTo>
                    <a:pt x="1222058" y="237678"/>
                  </a:lnTo>
                  <a:lnTo>
                    <a:pt x="1225868" y="237678"/>
                  </a:lnTo>
                  <a:lnTo>
                    <a:pt x="1226820" y="237678"/>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7678"/>
                  </a:lnTo>
                  <a:close/>
                </a:path>
              </a:pathLst>
            </a:custGeom>
            <a:noFill/>
            <a:ln w="9525" cap="flat">
              <a:solidFill>
                <a:srgbClr val="BBBDBF"/>
              </a:solidFill>
              <a:prstDash val="solid"/>
              <a:miter/>
            </a:ln>
          </p:spPr>
          <p:txBody>
            <a:bodyPr rtlCol="0" anchor="ctr"/>
            <a:lstStyle/>
            <a:p>
              <a:endParaRPr lang="en-US" sz="1050"/>
            </a:p>
          </p:txBody>
        </p:sp>
        <p:sp>
          <p:nvSpPr>
            <p:cNvPr id="163" name="Freeform 159">
              <a:extLst>
                <a:ext uri="{FF2B5EF4-FFF2-40B4-BE49-F238E27FC236}">
                  <a16:creationId xmlns:a16="http://schemas.microsoft.com/office/drawing/2014/main" id="{8E8DE3F1-AD5F-92BF-BF79-63F158E03DBC}"/>
                </a:ext>
              </a:extLst>
            </p:cNvPr>
            <p:cNvSpPr/>
            <p:nvPr/>
          </p:nvSpPr>
          <p:spPr>
            <a:xfrm>
              <a:off x="2147856" y="4827183"/>
              <a:ext cx="1226820" cy="237678"/>
            </a:xfrm>
            <a:custGeom>
              <a:avLst/>
              <a:gdLst>
                <a:gd name="connsiteX0" fmla="*/ 0 w 1226820"/>
                <a:gd name="connsiteY0" fmla="*/ 237678 h 237678"/>
                <a:gd name="connsiteX1" fmla="*/ 953 w 1226820"/>
                <a:gd name="connsiteY1" fmla="*/ 237678 h 237678"/>
                <a:gd name="connsiteX2" fmla="*/ 8573 w 1226820"/>
                <a:gd name="connsiteY2" fmla="*/ 237678 h 237678"/>
                <a:gd name="connsiteX3" fmla="*/ 26670 w 1226820"/>
                <a:gd name="connsiteY3" fmla="*/ 237678 h 237678"/>
                <a:gd name="connsiteX4" fmla="*/ 56198 w 1226820"/>
                <a:gd name="connsiteY4" fmla="*/ 237678 h 237678"/>
                <a:gd name="connsiteX5" fmla="*/ 92392 w 1226820"/>
                <a:gd name="connsiteY5" fmla="*/ 237678 h 237678"/>
                <a:gd name="connsiteX6" fmla="*/ 132398 w 1226820"/>
                <a:gd name="connsiteY6" fmla="*/ 237678 h 237678"/>
                <a:gd name="connsiteX7" fmla="*/ 171450 w 1226820"/>
                <a:gd name="connsiteY7" fmla="*/ 237678 h 237678"/>
                <a:gd name="connsiteX8" fmla="*/ 208598 w 1226820"/>
                <a:gd name="connsiteY8" fmla="*/ 237678 h 237678"/>
                <a:gd name="connsiteX9" fmla="*/ 243840 w 1226820"/>
                <a:gd name="connsiteY9" fmla="*/ 237678 h 237678"/>
                <a:gd name="connsiteX10" fmla="*/ 276225 w 1226820"/>
                <a:gd name="connsiteY10" fmla="*/ 237678 h 237678"/>
                <a:gd name="connsiteX11" fmla="*/ 308610 w 1226820"/>
                <a:gd name="connsiteY11" fmla="*/ 237678 h 237678"/>
                <a:gd name="connsiteX12" fmla="*/ 340995 w 1226820"/>
                <a:gd name="connsiteY12" fmla="*/ 237678 h 237678"/>
                <a:gd name="connsiteX13" fmla="*/ 357188 w 1226820"/>
                <a:gd name="connsiteY13" fmla="*/ 237678 h 237678"/>
                <a:gd name="connsiteX14" fmla="*/ 386715 w 1226820"/>
                <a:gd name="connsiteY14" fmla="*/ 237678 h 237678"/>
                <a:gd name="connsiteX15" fmla="*/ 417195 w 1226820"/>
                <a:gd name="connsiteY15" fmla="*/ 237678 h 237678"/>
                <a:gd name="connsiteX16" fmla="*/ 449580 w 1226820"/>
                <a:gd name="connsiteY16" fmla="*/ 237678 h 237678"/>
                <a:gd name="connsiteX17" fmla="*/ 483870 w 1226820"/>
                <a:gd name="connsiteY17" fmla="*/ 237678 h 237678"/>
                <a:gd name="connsiteX18" fmla="*/ 519113 w 1226820"/>
                <a:gd name="connsiteY18" fmla="*/ 237678 h 237678"/>
                <a:gd name="connsiteX19" fmla="*/ 556260 w 1226820"/>
                <a:gd name="connsiteY19" fmla="*/ 237678 h 237678"/>
                <a:gd name="connsiteX20" fmla="*/ 594360 w 1226820"/>
                <a:gd name="connsiteY20" fmla="*/ 237678 h 237678"/>
                <a:gd name="connsiteX21" fmla="*/ 633413 w 1226820"/>
                <a:gd name="connsiteY21" fmla="*/ 237678 h 237678"/>
                <a:gd name="connsiteX22" fmla="*/ 671513 w 1226820"/>
                <a:gd name="connsiteY22" fmla="*/ 237678 h 237678"/>
                <a:gd name="connsiteX23" fmla="*/ 708660 w 1226820"/>
                <a:gd name="connsiteY23" fmla="*/ 237678 h 237678"/>
                <a:gd name="connsiteX24" fmla="*/ 743902 w 1226820"/>
                <a:gd name="connsiteY24" fmla="*/ 237678 h 237678"/>
                <a:gd name="connsiteX25" fmla="*/ 778193 w 1226820"/>
                <a:gd name="connsiteY25" fmla="*/ 237678 h 237678"/>
                <a:gd name="connsiteX26" fmla="*/ 810577 w 1226820"/>
                <a:gd name="connsiteY26" fmla="*/ 237678 h 237678"/>
                <a:gd name="connsiteX27" fmla="*/ 841058 w 1226820"/>
                <a:gd name="connsiteY27" fmla="*/ 237678 h 237678"/>
                <a:gd name="connsiteX28" fmla="*/ 868680 w 1226820"/>
                <a:gd name="connsiteY28" fmla="*/ 237678 h 237678"/>
                <a:gd name="connsiteX29" fmla="*/ 902018 w 1226820"/>
                <a:gd name="connsiteY29" fmla="*/ 237678 h 237678"/>
                <a:gd name="connsiteX30" fmla="*/ 933450 w 1226820"/>
                <a:gd name="connsiteY30" fmla="*/ 237678 h 237678"/>
                <a:gd name="connsiteX31" fmla="*/ 965835 w 1226820"/>
                <a:gd name="connsiteY31" fmla="*/ 237678 h 237678"/>
                <a:gd name="connsiteX32" fmla="*/ 999173 w 1226820"/>
                <a:gd name="connsiteY32" fmla="*/ 237678 h 237678"/>
                <a:gd name="connsiteX33" fmla="*/ 1035368 w 1226820"/>
                <a:gd name="connsiteY33" fmla="*/ 237678 h 237678"/>
                <a:gd name="connsiteX34" fmla="*/ 1073468 w 1226820"/>
                <a:gd name="connsiteY34" fmla="*/ 237678 h 237678"/>
                <a:gd name="connsiteX35" fmla="*/ 1113473 w 1226820"/>
                <a:gd name="connsiteY35" fmla="*/ 237678 h 237678"/>
                <a:gd name="connsiteX36" fmla="*/ 1152525 w 1226820"/>
                <a:gd name="connsiteY36" fmla="*/ 237678 h 237678"/>
                <a:gd name="connsiteX37" fmla="*/ 1185863 w 1226820"/>
                <a:gd name="connsiteY37" fmla="*/ 237678 h 237678"/>
                <a:gd name="connsiteX38" fmla="*/ 1209675 w 1226820"/>
                <a:gd name="connsiteY38" fmla="*/ 237678 h 237678"/>
                <a:gd name="connsiteX39" fmla="*/ 1222058 w 1226820"/>
                <a:gd name="connsiteY39" fmla="*/ 237678 h 237678"/>
                <a:gd name="connsiteX40" fmla="*/ 1225868 w 1226820"/>
                <a:gd name="connsiteY40" fmla="*/ 237678 h 237678"/>
                <a:gd name="connsiteX41" fmla="*/ 1226820 w 1226820"/>
                <a:gd name="connsiteY41" fmla="*/ 237678 h 237678"/>
                <a:gd name="connsiteX42" fmla="*/ 1226820 w 1226820"/>
                <a:gd name="connsiteY42" fmla="*/ 0 h 237678"/>
                <a:gd name="connsiteX43" fmla="*/ 1224915 w 1226820"/>
                <a:gd name="connsiteY43" fmla="*/ 0 h 237678"/>
                <a:gd name="connsiteX44" fmla="*/ 1217295 w 1226820"/>
                <a:gd name="connsiteY44" fmla="*/ 0 h 237678"/>
                <a:gd name="connsiteX45" fmla="*/ 1199198 w 1226820"/>
                <a:gd name="connsiteY45" fmla="*/ 0 h 237678"/>
                <a:gd name="connsiteX46" fmla="*/ 1170623 w 1226820"/>
                <a:gd name="connsiteY46" fmla="*/ 0 h 237678"/>
                <a:gd name="connsiteX47" fmla="*/ 1133475 w 1226820"/>
                <a:gd name="connsiteY47" fmla="*/ 0 h 237678"/>
                <a:gd name="connsiteX48" fmla="*/ 1094423 w 1226820"/>
                <a:gd name="connsiteY48" fmla="*/ 0 h 237678"/>
                <a:gd name="connsiteX49" fmla="*/ 1054418 w 1226820"/>
                <a:gd name="connsiteY49" fmla="*/ 0 h 237678"/>
                <a:gd name="connsiteX50" fmla="*/ 1017270 w 1226820"/>
                <a:gd name="connsiteY50" fmla="*/ 0 h 237678"/>
                <a:gd name="connsiteX51" fmla="*/ 982980 w 1226820"/>
                <a:gd name="connsiteY51" fmla="*/ 0 h 237678"/>
                <a:gd name="connsiteX52" fmla="*/ 949643 w 1226820"/>
                <a:gd name="connsiteY52" fmla="*/ 0 h 237678"/>
                <a:gd name="connsiteX53" fmla="*/ 918210 w 1226820"/>
                <a:gd name="connsiteY53" fmla="*/ 0 h 237678"/>
                <a:gd name="connsiteX54" fmla="*/ 885825 w 1226820"/>
                <a:gd name="connsiteY54" fmla="*/ 0 h 237678"/>
                <a:gd name="connsiteX55" fmla="*/ 868680 w 1226820"/>
                <a:gd name="connsiteY55" fmla="*/ 0 h 237678"/>
                <a:gd name="connsiteX56" fmla="*/ 840105 w 1226820"/>
                <a:gd name="connsiteY56" fmla="*/ 0 h 237678"/>
                <a:gd name="connsiteX57" fmla="*/ 809625 w 1226820"/>
                <a:gd name="connsiteY57" fmla="*/ 0 h 237678"/>
                <a:gd name="connsiteX58" fmla="*/ 777240 w 1226820"/>
                <a:gd name="connsiteY58" fmla="*/ 0 h 237678"/>
                <a:gd name="connsiteX59" fmla="*/ 742950 w 1226820"/>
                <a:gd name="connsiteY59" fmla="*/ 0 h 237678"/>
                <a:gd name="connsiteX60" fmla="*/ 706755 w 1226820"/>
                <a:gd name="connsiteY60" fmla="*/ 0 h 237678"/>
                <a:gd name="connsiteX61" fmla="*/ 669608 w 1226820"/>
                <a:gd name="connsiteY61" fmla="*/ 0 h 237678"/>
                <a:gd name="connsiteX62" fmla="*/ 631508 w 1226820"/>
                <a:gd name="connsiteY62" fmla="*/ 0 h 237678"/>
                <a:gd name="connsiteX63" fmla="*/ 593408 w 1226820"/>
                <a:gd name="connsiteY63" fmla="*/ 0 h 237678"/>
                <a:gd name="connsiteX64" fmla="*/ 555308 w 1226820"/>
                <a:gd name="connsiteY64" fmla="*/ 0 h 237678"/>
                <a:gd name="connsiteX65" fmla="*/ 517208 w 1226820"/>
                <a:gd name="connsiteY65" fmla="*/ 0 h 237678"/>
                <a:gd name="connsiteX66" fmla="*/ 481965 w 1226820"/>
                <a:gd name="connsiteY66" fmla="*/ 0 h 237678"/>
                <a:gd name="connsiteX67" fmla="*/ 447675 w 1226820"/>
                <a:gd name="connsiteY67" fmla="*/ 0 h 237678"/>
                <a:gd name="connsiteX68" fmla="*/ 415290 w 1226820"/>
                <a:gd name="connsiteY68" fmla="*/ 0 h 237678"/>
                <a:gd name="connsiteX69" fmla="*/ 384810 w 1226820"/>
                <a:gd name="connsiteY69" fmla="*/ 0 h 237678"/>
                <a:gd name="connsiteX70" fmla="*/ 357188 w 1226820"/>
                <a:gd name="connsiteY70" fmla="*/ 0 h 237678"/>
                <a:gd name="connsiteX71" fmla="*/ 324803 w 1226820"/>
                <a:gd name="connsiteY71" fmla="*/ 0 h 237678"/>
                <a:gd name="connsiteX72" fmla="*/ 292417 w 1226820"/>
                <a:gd name="connsiteY72" fmla="*/ 0 h 237678"/>
                <a:gd name="connsiteX73" fmla="*/ 260985 w 1226820"/>
                <a:gd name="connsiteY73" fmla="*/ 0 h 237678"/>
                <a:gd name="connsiteX74" fmla="*/ 226695 w 1226820"/>
                <a:gd name="connsiteY74" fmla="*/ 0 h 237678"/>
                <a:gd name="connsiteX75" fmla="*/ 190500 w 1226820"/>
                <a:gd name="connsiteY75" fmla="*/ 0 h 237678"/>
                <a:gd name="connsiteX76" fmla="*/ 152400 w 1226820"/>
                <a:gd name="connsiteY76" fmla="*/ 0 h 237678"/>
                <a:gd name="connsiteX77" fmla="*/ 112395 w 1226820"/>
                <a:gd name="connsiteY77" fmla="*/ 0 h 237678"/>
                <a:gd name="connsiteX78" fmla="*/ 73342 w 1226820"/>
                <a:gd name="connsiteY78" fmla="*/ 0 h 237678"/>
                <a:gd name="connsiteX79" fmla="*/ 40958 w 1226820"/>
                <a:gd name="connsiteY79" fmla="*/ 0 h 237678"/>
                <a:gd name="connsiteX80" fmla="*/ 17145 w 1226820"/>
                <a:gd name="connsiteY80" fmla="*/ 0 h 237678"/>
                <a:gd name="connsiteX81" fmla="*/ 3810 w 1226820"/>
                <a:gd name="connsiteY81" fmla="*/ 0 h 237678"/>
                <a:gd name="connsiteX82" fmla="*/ 0 w 1226820"/>
                <a:gd name="connsiteY82" fmla="*/ 0 h 237678"/>
                <a:gd name="connsiteX83" fmla="*/ 0 w 1226820"/>
                <a:gd name="connsiteY83" fmla="*/ 0 h 237678"/>
                <a:gd name="connsiteX84" fmla="*/ 0 w 1226820"/>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7678">
                  <a:moveTo>
                    <a:pt x="0" y="237678"/>
                  </a:moveTo>
                  <a:lnTo>
                    <a:pt x="953" y="237678"/>
                  </a:lnTo>
                  <a:lnTo>
                    <a:pt x="8573" y="237678"/>
                  </a:lnTo>
                  <a:lnTo>
                    <a:pt x="26670" y="237678"/>
                  </a:lnTo>
                  <a:lnTo>
                    <a:pt x="56198" y="237678"/>
                  </a:lnTo>
                  <a:lnTo>
                    <a:pt x="92392" y="237678"/>
                  </a:lnTo>
                  <a:lnTo>
                    <a:pt x="132398" y="237678"/>
                  </a:lnTo>
                  <a:lnTo>
                    <a:pt x="171450" y="237678"/>
                  </a:lnTo>
                  <a:lnTo>
                    <a:pt x="208598" y="237678"/>
                  </a:lnTo>
                  <a:lnTo>
                    <a:pt x="243840" y="237678"/>
                  </a:lnTo>
                  <a:lnTo>
                    <a:pt x="276225" y="237678"/>
                  </a:lnTo>
                  <a:lnTo>
                    <a:pt x="308610" y="237678"/>
                  </a:lnTo>
                  <a:lnTo>
                    <a:pt x="340995" y="237678"/>
                  </a:lnTo>
                  <a:lnTo>
                    <a:pt x="357188" y="237678"/>
                  </a:lnTo>
                  <a:lnTo>
                    <a:pt x="386715" y="237678"/>
                  </a:lnTo>
                  <a:lnTo>
                    <a:pt x="417195" y="237678"/>
                  </a:lnTo>
                  <a:lnTo>
                    <a:pt x="449580" y="237678"/>
                  </a:lnTo>
                  <a:lnTo>
                    <a:pt x="483870" y="237678"/>
                  </a:lnTo>
                  <a:lnTo>
                    <a:pt x="519113" y="237678"/>
                  </a:lnTo>
                  <a:lnTo>
                    <a:pt x="556260" y="237678"/>
                  </a:lnTo>
                  <a:lnTo>
                    <a:pt x="594360" y="237678"/>
                  </a:lnTo>
                  <a:lnTo>
                    <a:pt x="633413" y="237678"/>
                  </a:lnTo>
                  <a:lnTo>
                    <a:pt x="671513" y="237678"/>
                  </a:lnTo>
                  <a:lnTo>
                    <a:pt x="708660" y="237678"/>
                  </a:lnTo>
                  <a:lnTo>
                    <a:pt x="743902" y="237678"/>
                  </a:lnTo>
                  <a:lnTo>
                    <a:pt x="778193" y="237678"/>
                  </a:lnTo>
                  <a:lnTo>
                    <a:pt x="810577" y="237678"/>
                  </a:lnTo>
                  <a:lnTo>
                    <a:pt x="841058" y="237678"/>
                  </a:lnTo>
                  <a:lnTo>
                    <a:pt x="868680" y="237678"/>
                  </a:lnTo>
                  <a:lnTo>
                    <a:pt x="902018" y="237678"/>
                  </a:lnTo>
                  <a:lnTo>
                    <a:pt x="933450" y="237678"/>
                  </a:lnTo>
                  <a:lnTo>
                    <a:pt x="965835" y="237678"/>
                  </a:lnTo>
                  <a:lnTo>
                    <a:pt x="999173" y="237678"/>
                  </a:lnTo>
                  <a:lnTo>
                    <a:pt x="1035368" y="237678"/>
                  </a:lnTo>
                  <a:lnTo>
                    <a:pt x="1073468" y="237678"/>
                  </a:lnTo>
                  <a:lnTo>
                    <a:pt x="1113473" y="237678"/>
                  </a:lnTo>
                  <a:lnTo>
                    <a:pt x="1152525" y="237678"/>
                  </a:lnTo>
                  <a:lnTo>
                    <a:pt x="1185863" y="237678"/>
                  </a:lnTo>
                  <a:lnTo>
                    <a:pt x="1209675" y="237678"/>
                  </a:lnTo>
                  <a:lnTo>
                    <a:pt x="1222058" y="237678"/>
                  </a:lnTo>
                  <a:lnTo>
                    <a:pt x="1225868" y="237678"/>
                  </a:lnTo>
                  <a:lnTo>
                    <a:pt x="1226820" y="237678"/>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7678"/>
                  </a:lnTo>
                  <a:close/>
                </a:path>
              </a:pathLst>
            </a:custGeom>
            <a:solidFill>
              <a:srgbClr val="BBBDBF">
                <a:alpha val="60000"/>
              </a:srgbClr>
            </a:solidFill>
            <a:ln w="9525" cap="flat">
              <a:noFill/>
              <a:prstDash val="solid"/>
              <a:miter/>
            </a:ln>
          </p:spPr>
          <p:txBody>
            <a:bodyPr rtlCol="0" anchor="ctr"/>
            <a:lstStyle/>
            <a:p>
              <a:endParaRPr lang="en-US" sz="1050"/>
            </a:p>
          </p:txBody>
        </p:sp>
        <p:sp>
          <p:nvSpPr>
            <p:cNvPr id="164" name="Freeform 160">
              <a:extLst>
                <a:ext uri="{FF2B5EF4-FFF2-40B4-BE49-F238E27FC236}">
                  <a16:creationId xmlns:a16="http://schemas.microsoft.com/office/drawing/2014/main" id="{A8EC7FB2-9024-7C58-B447-7D7047FB1765}"/>
                </a:ext>
              </a:extLst>
            </p:cNvPr>
            <p:cNvSpPr/>
            <p:nvPr/>
          </p:nvSpPr>
          <p:spPr>
            <a:xfrm>
              <a:off x="2147856" y="4827183"/>
              <a:ext cx="1226820" cy="237678"/>
            </a:xfrm>
            <a:custGeom>
              <a:avLst/>
              <a:gdLst>
                <a:gd name="connsiteX0" fmla="*/ 0 w 1226820"/>
                <a:gd name="connsiteY0" fmla="*/ 237678 h 237678"/>
                <a:gd name="connsiteX1" fmla="*/ 953 w 1226820"/>
                <a:gd name="connsiteY1" fmla="*/ 237678 h 237678"/>
                <a:gd name="connsiteX2" fmla="*/ 8573 w 1226820"/>
                <a:gd name="connsiteY2" fmla="*/ 237678 h 237678"/>
                <a:gd name="connsiteX3" fmla="*/ 26670 w 1226820"/>
                <a:gd name="connsiteY3" fmla="*/ 237678 h 237678"/>
                <a:gd name="connsiteX4" fmla="*/ 56198 w 1226820"/>
                <a:gd name="connsiteY4" fmla="*/ 237678 h 237678"/>
                <a:gd name="connsiteX5" fmla="*/ 92392 w 1226820"/>
                <a:gd name="connsiteY5" fmla="*/ 237678 h 237678"/>
                <a:gd name="connsiteX6" fmla="*/ 132398 w 1226820"/>
                <a:gd name="connsiteY6" fmla="*/ 237678 h 237678"/>
                <a:gd name="connsiteX7" fmla="*/ 171450 w 1226820"/>
                <a:gd name="connsiteY7" fmla="*/ 237678 h 237678"/>
                <a:gd name="connsiteX8" fmla="*/ 208598 w 1226820"/>
                <a:gd name="connsiteY8" fmla="*/ 237678 h 237678"/>
                <a:gd name="connsiteX9" fmla="*/ 243840 w 1226820"/>
                <a:gd name="connsiteY9" fmla="*/ 237678 h 237678"/>
                <a:gd name="connsiteX10" fmla="*/ 276225 w 1226820"/>
                <a:gd name="connsiteY10" fmla="*/ 237678 h 237678"/>
                <a:gd name="connsiteX11" fmla="*/ 308610 w 1226820"/>
                <a:gd name="connsiteY11" fmla="*/ 237678 h 237678"/>
                <a:gd name="connsiteX12" fmla="*/ 340995 w 1226820"/>
                <a:gd name="connsiteY12" fmla="*/ 237678 h 237678"/>
                <a:gd name="connsiteX13" fmla="*/ 357188 w 1226820"/>
                <a:gd name="connsiteY13" fmla="*/ 237678 h 237678"/>
                <a:gd name="connsiteX14" fmla="*/ 386715 w 1226820"/>
                <a:gd name="connsiteY14" fmla="*/ 237678 h 237678"/>
                <a:gd name="connsiteX15" fmla="*/ 417195 w 1226820"/>
                <a:gd name="connsiteY15" fmla="*/ 237678 h 237678"/>
                <a:gd name="connsiteX16" fmla="*/ 449580 w 1226820"/>
                <a:gd name="connsiteY16" fmla="*/ 237678 h 237678"/>
                <a:gd name="connsiteX17" fmla="*/ 483870 w 1226820"/>
                <a:gd name="connsiteY17" fmla="*/ 237678 h 237678"/>
                <a:gd name="connsiteX18" fmla="*/ 519113 w 1226820"/>
                <a:gd name="connsiteY18" fmla="*/ 237678 h 237678"/>
                <a:gd name="connsiteX19" fmla="*/ 556260 w 1226820"/>
                <a:gd name="connsiteY19" fmla="*/ 237678 h 237678"/>
                <a:gd name="connsiteX20" fmla="*/ 594360 w 1226820"/>
                <a:gd name="connsiteY20" fmla="*/ 237678 h 237678"/>
                <a:gd name="connsiteX21" fmla="*/ 633413 w 1226820"/>
                <a:gd name="connsiteY21" fmla="*/ 237678 h 237678"/>
                <a:gd name="connsiteX22" fmla="*/ 671513 w 1226820"/>
                <a:gd name="connsiteY22" fmla="*/ 237678 h 237678"/>
                <a:gd name="connsiteX23" fmla="*/ 708660 w 1226820"/>
                <a:gd name="connsiteY23" fmla="*/ 237678 h 237678"/>
                <a:gd name="connsiteX24" fmla="*/ 743902 w 1226820"/>
                <a:gd name="connsiteY24" fmla="*/ 237678 h 237678"/>
                <a:gd name="connsiteX25" fmla="*/ 778193 w 1226820"/>
                <a:gd name="connsiteY25" fmla="*/ 237678 h 237678"/>
                <a:gd name="connsiteX26" fmla="*/ 810577 w 1226820"/>
                <a:gd name="connsiteY26" fmla="*/ 237678 h 237678"/>
                <a:gd name="connsiteX27" fmla="*/ 841058 w 1226820"/>
                <a:gd name="connsiteY27" fmla="*/ 237678 h 237678"/>
                <a:gd name="connsiteX28" fmla="*/ 868680 w 1226820"/>
                <a:gd name="connsiteY28" fmla="*/ 237678 h 237678"/>
                <a:gd name="connsiteX29" fmla="*/ 902018 w 1226820"/>
                <a:gd name="connsiteY29" fmla="*/ 237678 h 237678"/>
                <a:gd name="connsiteX30" fmla="*/ 933450 w 1226820"/>
                <a:gd name="connsiteY30" fmla="*/ 237678 h 237678"/>
                <a:gd name="connsiteX31" fmla="*/ 965835 w 1226820"/>
                <a:gd name="connsiteY31" fmla="*/ 237678 h 237678"/>
                <a:gd name="connsiteX32" fmla="*/ 999173 w 1226820"/>
                <a:gd name="connsiteY32" fmla="*/ 237678 h 237678"/>
                <a:gd name="connsiteX33" fmla="*/ 1035368 w 1226820"/>
                <a:gd name="connsiteY33" fmla="*/ 237678 h 237678"/>
                <a:gd name="connsiteX34" fmla="*/ 1073468 w 1226820"/>
                <a:gd name="connsiteY34" fmla="*/ 237678 h 237678"/>
                <a:gd name="connsiteX35" fmla="*/ 1113473 w 1226820"/>
                <a:gd name="connsiteY35" fmla="*/ 237678 h 237678"/>
                <a:gd name="connsiteX36" fmla="*/ 1152525 w 1226820"/>
                <a:gd name="connsiteY36" fmla="*/ 237678 h 237678"/>
                <a:gd name="connsiteX37" fmla="*/ 1185863 w 1226820"/>
                <a:gd name="connsiteY37" fmla="*/ 237678 h 237678"/>
                <a:gd name="connsiteX38" fmla="*/ 1209675 w 1226820"/>
                <a:gd name="connsiteY38" fmla="*/ 237678 h 237678"/>
                <a:gd name="connsiteX39" fmla="*/ 1222058 w 1226820"/>
                <a:gd name="connsiteY39" fmla="*/ 237678 h 237678"/>
                <a:gd name="connsiteX40" fmla="*/ 1225868 w 1226820"/>
                <a:gd name="connsiteY40" fmla="*/ 237678 h 237678"/>
                <a:gd name="connsiteX41" fmla="*/ 1226820 w 1226820"/>
                <a:gd name="connsiteY41" fmla="*/ 237678 h 237678"/>
                <a:gd name="connsiteX42" fmla="*/ 1226820 w 1226820"/>
                <a:gd name="connsiteY42" fmla="*/ 0 h 237678"/>
                <a:gd name="connsiteX43" fmla="*/ 1224915 w 1226820"/>
                <a:gd name="connsiteY43" fmla="*/ 0 h 237678"/>
                <a:gd name="connsiteX44" fmla="*/ 1217295 w 1226820"/>
                <a:gd name="connsiteY44" fmla="*/ 0 h 237678"/>
                <a:gd name="connsiteX45" fmla="*/ 1199198 w 1226820"/>
                <a:gd name="connsiteY45" fmla="*/ 0 h 237678"/>
                <a:gd name="connsiteX46" fmla="*/ 1170623 w 1226820"/>
                <a:gd name="connsiteY46" fmla="*/ 0 h 237678"/>
                <a:gd name="connsiteX47" fmla="*/ 1133475 w 1226820"/>
                <a:gd name="connsiteY47" fmla="*/ 0 h 237678"/>
                <a:gd name="connsiteX48" fmla="*/ 1094423 w 1226820"/>
                <a:gd name="connsiteY48" fmla="*/ 0 h 237678"/>
                <a:gd name="connsiteX49" fmla="*/ 1054418 w 1226820"/>
                <a:gd name="connsiteY49" fmla="*/ 0 h 237678"/>
                <a:gd name="connsiteX50" fmla="*/ 1017270 w 1226820"/>
                <a:gd name="connsiteY50" fmla="*/ 0 h 237678"/>
                <a:gd name="connsiteX51" fmla="*/ 982980 w 1226820"/>
                <a:gd name="connsiteY51" fmla="*/ 0 h 237678"/>
                <a:gd name="connsiteX52" fmla="*/ 949643 w 1226820"/>
                <a:gd name="connsiteY52" fmla="*/ 0 h 237678"/>
                <a:gd name="connsiteX53" fmla="*/ 918210 w 1226820"/>
                <a:gd name="connsiteY53" fmla="*/ 0 h 237678"/>
                <a:gd name="connsiteX54" fmla="*/ 885825 w 1226820"/>
                <a:gd name="connsiteY54" fmla="*/ 0 h 237678"/>
                <a:gd name="connsiteX55" fmla="*/ 868680 w 1226820"/>
                <a:gd name="connsiteY55" fmla="*/ 0 h 237678"/>
                <a:gd name="connsiteX56" fmla="*/ 840105 w 1226820"/>
                <a:gd name="connsiteY56" fmla="*/ 0 h 237678"/>
                <a:gd name="connsiteX57" fmla="*/ 809625 w 1226820"/>
                <a:gd name="connsiteY57" fmla="*/ 0 h 237678"/>
                <a:gd name="connsiteX58" fmla="*/ 777240 w 1226820"/>
                <a:gd name="connsiteY58" fmla="*/ 0 h 237678"/>
                <a:gd name="connsiteX59" fmla="*/ 742950 w 1226820"/>
                <a:gd name="connsiteY59" fmla="*/ 0 h 237678"/>
                <a:gd name="connsiteX60" fmla="*/ 706755 w 1226820"/>
                <a:gd name="connsiteY60" fmla="*/ 0 h 237678"/>
                <a:gd name="connsiteX61" fmla="*/ 669608 w 1226820"/>
                <a:gd name="connsiteY61" fmla="*/ 0 h 237678"/>
                <a:gd name="connsiteX62" fmla="*/ 631508 w 1226820"/>
                <a:gd name="connsiteY62" fmla="*/ 0 h 237678"/>
                <a:gd name="connsiteX63" fmla="*/ 593408 w 1226820"/>
                <a:gd name="connsiteY63" fmla="*/ 0 h 237678"/>
                <a:gd name="connsiteX64" fmla="*/ 555308 w 1226820"/>
                <a:gd name="connsiteY64" fmla="*/ 0 h 237678"/>
                <a:gd name="connsiteX65" fmla="*/ 517208 w 1226820"/>
                <a:gd name="connsiteY65" fmla="*/ 0 h 237678"/>
                <a:gd name="connsiteX66" fmla="*/ 481965 w 1226820"/>
                <a:gd name="connsiteY66" fmla="*/ 0 h 237678"/>
                <a:gd name="connsiteX67" fmla="*/ 447675 w 1226820"/>
                <a:gd name="connsiteY67" fmla="*/ 0 h 237678"/>
                <a:gd name="connsiteX68" fmla="*/ 415290 w 1226820"/>
                <a:gd name="connsiteY68" fmla="*/ 0 h 237678"/>
                <a:gd name="connsiteX69" fmla="*/ 384810 w 1226820"/>
                <a:gd name="connsiteY69" fmla="*/ 0 h 237678"/>
                <a:gd name="connsiteX70" fmla="*/ 357188 w 1226820"/>
                <a:gd name="connsiteY70" fmla="*/ 0 h 237678"/>
                <a:gd name="connsiteX71" fmla="*/ 324803 w 1226820"/>
                <a:gd name="connsiteY71" fmla="*/ 0 h 237678"/>
                <a:gd name="connsiteX72" fmla="*/ 292417 w 1226820"/>
                <a:gd name="connsiteY72" fmla="*/ 0 h 237678"/>
                <a:gd name="connsiteX73" fmla="*/ 260985 w 1226820"/>
                <a:gd name="connsiteY73" fmla="*/ 0 h 237678"/>
                <a:gd name="connsiteX74" fmla="*/ 226695 w 1226820"/>
                <a:gd name="connsiteY74" fmla="*/ 0 h 237678"/>
                <a:gd name="connsiteX75" fmla="*/ 190500 w 1226820"/>
                <a:gd name="connsiteY75" fmla="*/ 0 h 237678"/>
                <a:gd name="connsiteX76" fmla="*/ 152400 w 1226820"/>
                <a:gd name="connsiteY76" fmla="*/ 0 h 237678"/>
                <a:gd name="connsiteX77" fmla="*/ 112395 w 1226820"/>
                <a:gd name="connsiteY77" fmla="*/ 0 h 237678"/>
                <a:gd name="connsiteX78" fmla="*/ 73342 w 1226820"/>
                <a:gd name="connsiteY78" fmla="*/ 0 h 237678"/>
                <a:gd name="connsiteX79" fmla="*/ 40958 w 1226820"/>
                <a:gd name="connsiteY79" fmla="*/ 0 h 237678"/>
                <a:gd name="connsiteX80" fmla="*/ 17145 w 1226820"/>
                <a:gd name="connsiteY80" fmla="*/ 0 h 237678"/>
                <a:gd name="connsiteX81" fmla="*/ 3810 w 1226820"/>
                <a:gd name="connsiteY81" fmla="*/ 0 h 237678"/>
                <a:gd name="connsiteX82" fmla="*/ 0 w 1226820"/>
                <a:gd name="connsiteY82" fmla="*/ 0 h 237678"/>
                <a:gd name="connsiteX83" fmla="*/ 0 w 1226820"/>
                <a:gd name="connsiteY83" fmla="*/ 0 h 237678"/>
                <a:gd name="connsiteX84" fmla="*/ 0 w 1226820"/>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7678">
                  <a:moveTo>
                    <a:pt x="0" y="237678"/>
                  </a:moveTo>
                  <a:lnTo>
                    <a:pt x="953" y="237678"/>
                  </a:lnTo>
                  <a:lnTo>
                    <a:pt x="8573" y="237678"/>
                  </a:lnTo>
                  <a:lnTo>
                    <a:pt x="26670" y="237678"/>
                  </a:lnTo>
                  <a:lnTo>
                    <a:pt x="56198" y="237678"/>
                  </a:lnTo>
                  <a:lnTo>
                    <a:pt x="92392" y="237678"/>
                  </a:lnTo>
                  <a:lnTo>
                    <a:pt x="132398" y="237678"/>
                  </a:lnTo>
                  <a:lnTo>
                    <a:pt x="171450" y="237678"/>
                  </a:lnTo>
                  <a:lnTo>
                    <a:pt x="208598" y="237678"/>
                  </a:lnTo>
                  <a:lnTo>
                    <a:pt x="243840" y="237678"/>
                  </a:lnTo>
                  <a:lnTo>
                    <a:pt x="276225" y="237678"/>
                  </a:lnTo>
                  <a:lnTo>
                    <a:pt x="308610" y="237678"/>
                  </a:lnTo>
                  <a:lnTo>
                    <a:pt x="340995" y="237678"/>
                  </a:lnTo>
                  <a:lnTo>
                    <a:pt x="357188" y="237678"/>
                  </a:lnTo>
                  <a:lnTo>
                    <a:pt x="386715" y="237678"/>
                  </a:lnTo>
                  <a:lnTo>
                    <a:pt x="417195" y="237678"/>
                  </a:lnTo>
                  <a:lnTo>
                    <a:pt x="449580" y="237678"/>
                  </a:lnTo>
                  <a:lnTo>
                    <a:pt x="483870" y="237678"/>
                  </a:lnTo>
                  <a:lnTo>
                    <a:pt x="519113" y="237678"/>
                  </a:lnTo>
                  <a:lnTo>
                    <a:pt x="556260" y="237678"/>
                  </a:lnTo>
                  <a:lnTo>
                    <a:pt x="594360" y="237678"/>
                  </a:lnTo>
                  <a:lnTo>
                    <a:pt x="633413" y="237678"/>
                  </a:lnTo>
                  <a:lnTo>
                    <a:pt x="671513" y="237678"/>
                  </a:lnTo>
                  <a:lnTo>
                    <a:pt x="708660" y="237678"/>
                  </a:lnTo>
                  <a:lnTo>
                    <a:pt x="743902" y="237678"/>
                  </a:lnTo>
                  <a:lnTo>
                    <a:pt x="778193" y="237678"/>
                  </a:lnTo>
                  <a:lnTo>
                    <a:pt x="810577" y="237678"/>
                  </a:lnTo>
                  <a:lnTo>
                    <a:pt x="841058" y="237678"/>
                  </a:lnTo>
                  <a:lnTo>
                    <a:pt x="868680" y="237678"/>
                  </a:lnTo>
                  <a:lnTo>
                    <a:pt x="902018" y="237678"/>
                  </a:lnTo>
                  <a:lnTo>
                    <a:pt x="933450" y="237678"/>
                  </a:lnTo>
                  <a:lnTo>
                    <a:pt x="965835" y="237678"/>
                  </a:lnTo>
                  <a:lnTo>
                    <a:pt x="999173" y="237678"/>
                  </a:lnTo>
                  <a:lnTo>
                    <a:pt x="1035368" y="237678"/>
                  </a:lnTo>
                  <a:lnTo>
                    <a:pt x="1073468" y="237678"/>
                  </a:lnTo>
                  <a:lnTo>
                    <a:pt x="1113473" y="237678"/>
                  </a:lnTo>
                  <a:lnTo>
                    <a:pt x="1152525" y="237678"/>
                  </a:lnTo>
                  <a:lnTo>
                    <a:pt x="1185863" y="237678"/>
                  </a:lnTo>
                  <a:lnTo>
                    <a:pt x="1209675" y="237678"/>
                  </a:lnTo>
                  <a:lnTo>
                    <a:pt x="1222058" y="237678"/>
                  </a:lnTo>
                  <a:lnTo>
                    <a:pt x="1225868" y="237678"/>
                  </a:lnTo>
                  <a:lnTo>
                    <a:pt x="1226820" y="237678"/>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7678"/>
                  </a:lnTo>
                  <a:close/>
                </a:path>
              </a:pathLst>
            </a:custGeom>
            <a:noFill/>
            <a:ln w="9525" cap="flat">
              <a:solidFill>
                <a:srgbClr val="BBBDBF"/>
              </a:solidFill>
              <a:prstDash val="solid"/>
              <a:miter/>
            </a:ln>
          </p:spPr>
          <p:txBody>
            <a:bodyPr rtlCol="0" anchor="ctr"/>
            <a:lstStyle/>
            <a:p>
              <a:endParaRPr lang="en-US" sz="1050"/>
            </a:p>
          </p:txBody>
        </p:sp>
        <p:sp>
          <p:nvSpPr>
            <p:cNvPr id="165" name="Freeform 161">
              <a:extLst>
                <a:ext uri="{FF2B5EF4-FFF2-40B4-BE49-F238E27FC236}">
                  <a16:creationId xmlns:a16="http://schemas.microsoft.com/office/drawing/2014/main" id="{D54BE7E8-124C-52CC-1EDD-DC903C26F46D}"/>
                </a:ext>
              </a:extLst>
            </p:cNvPr>
            <p:cNvSpPr/>
            <p:nvPr/>
          </p:nvSpPr>
          <p:spPr>
            <a:xfrm>
              <a:off x="2147856" y="5064862"/>
              <a:ext cx="1226820" cy="237678"/>
            </a:xfrm>
            <a:custGeom>
              <a:avLst/>
              <a:gdLst>
                <a:gd name="connsiteX0" fmla="*/ 0 w 1226820"/>
                <a:gd name="connsiteY0" fmla="*/ 237678 h 237678"/>
                <a:gd name="connsiteX1" fmla="*/ 953 w 1226820"/>
                <a:gd name="connsiteY1" fmla="*/ 237678 h 237678"/>
                <a:gd name="connsiteX2" fmla="*/ 8573 w 1226820"/>
                <a:gd name="connsiteY2" fmla="*/ 237678 h 237678"/>
                <a:gd name="connsiteX3" fmla="*/ 26670 w 1226820"/>
                <a:gd name="connsiteY3" fmla="*/ 237678 h 237678"/>
                <a:gd name="connsiteX4" fmla="*/ 56198 w 1226820"/>
                <a:gd name="connsiteY4" fmla="*/ 237678 h 237678"/>
                <a:gd name="connsiteX5" fmla="*/ 92392 w 1226820"/>
                <a:gd name="connsiteY5" fmla="*/ 237678 h 237678"/>
                <a:gd name="connsiteX6" fmla="*/ 132398 w 1226820"/>
                <a:gd name="connsiteY6" fmla="*/ 237678 h 237678"/>
                <a:gd name="connsiteX7" fmla="*/ 171450 w 1226820"/>
                <a:gd name="connsiteY7" fmla="*/ 237678 h 237678"/>
                <a:gd name="connsiteX8" fmla="*/ 208598 w 1226820"/>
                <a:gd name="connsiteY8" fmla="*/ 237678 h 237678"/>
                <a:gd name="connsiteX9" fmla="*/ 243840 w 1226820"/>
                <a:gd name="connsiteY9" fmla="*/ 237678 h 237678"/>
                <a:gd name="connsiteX10" fmla="*/ 276225 w 1226820"/>
                <a:gd name="connsiteY10" fmla="*/ 237678 h 237678"/>
                <a:gd name="connsiteX11" fmla="*/ 308610 w 1226820"/>
                <a:gd name="connsiteY11" fmla="*/ 237678 h 237678"/>
                <a:gd name="connsiteX12" fmla="*/ 340995 w 1226820"/>
                <a:gd name="connsiteY12" fmla="*/ 237678 h 237678"/>
                <a:gd name="connsiteX13" fmla="*/ 357188 w 1226820"/>
                <a:gd name="connsiteY13" fmla="*/ 237678 h 237678"/>
                <a:gd name="connsiteX14" fmla="*/ 386715 w 1226820"/>
                <a:gd name="connsiteY14" fmla="*/ 237678 h 237678"/>
                <a:gd name="connsiteX15" fmla="*/ 417195 w 1226820"/>
                <a:gd name="connsiteY15" fmla="*/ 237678 h 237678"/>
                <a:gd name="connsiteX16" fmla="*/ 449580 w 1226820"/>
                <a:gd name="connsiteY16" fmla="*/ 237678 h 237678"/>
                <a:gd name="connsiteX17" fmla="*/ 483870 w 1226820"/>
                <a:gd name="connsiteY17" fmla="*/ 237678 h 237678"/>
                <a:gd name="connsiteX18" fmla="*/ 519113 w 1226820"/>
                <a:gd name="connsiteY18" fmla="*/ 237678 h 237678"/>
                <a:gd name="connsiteX19" fmla="*/ 556260 w 1226820"/>
                <a:gd name="connsiteY19" fmla="*/ 237678 h 237678"/>
                <a:gd name="connsiteX20" fmla="*/ 594360 w 1226820"/>
                <a:gd name="connsiteY20" fmla="*/ 237678 h 237678"/>
                <a:gd name="connsiteX21" fmla="*/ 633413 w 1226820"/>
                <a:gd name="connsiteY21" fmla="*/ 237678 h 237678"/>
                <a:gd name="connsiteX22" fmla="*/ 671513 w 1226820"/>
                <a:gd name="connsiteY22" fmla="*/ 237678 h 237678"/>
                <a:gd name="connsiteX23" fmla="*/ 708660 w 1226820"/>
                <a:gd name="connsiteY23" fmla="*/ 237678 h 237678"/>
                <a:gd name="connsiteX24" fmla="*/ 743902 w 1226820"/>
                <a:gd name="connsiteY24" fmla="*/ 237678 h 237678"/>
                <a:gd name="connsiteX25" fmla="*/ 778193 w 1226820"/>
                <a:gd name="connsiteY25" fmla="*/ 237678 h 237678"/>
                <a:gd name="connsiteX26" fmla="*/ 810577 w 1226820"/>
                <a:gd name="connsiteY26" fmla="*/ 237678 h 237678"/>
                <a:gd name="connsiteX27" fmla="*/ 841058 w 1226820"/>
                <a:gd name="connsiteY27" fmla="*/ 237678 h 237678"/>
                <a:gd name="connsiteX28" fmla="*/ 868680 w 1226820"/>
                <a:gd name="connsiteY28" fmla="*/ 237678 h 237678"/>
                <a:gd name="connsiteX29" fmla="*/ 902018 w 1226820"/>
                <a:gd name="connsiteY29" fmla="*/ 237678 h 237678"/>
                <a:gd name="connsiteX30" fmla="*/ 933450 w 1226820"/>
                <a:gd name="connsiteY30" fmla="*/ 237678 h 237678"/>
                <a:gd name="connsiteX31" fmla="*/ 965835 w 1226820"/>
                <a:gd name="connsiteY31" fmla="*/ 237678 h 237678"/>
                <a:gd name="connsiteX32" fmla="*/ 999173 w 1226820"/>
                <a:gd name="connsiteY32" fmla="*/ 237678 h 237678"/>
                <a:gd name="connsiteX33" fmla="*/ 1035368 w 1226820"/>
                <a:gd name="connsiteY33" fmla="*/ 237678 h 237678"/>
                <a:gd name="connsiteX34" fmla="*/ 1073468 w 1226820"/>
                <a:gd name="connsiteY34" fmla="*/ 237678 h 237678"/>
                <a:gd name="connsiteX35" fmla="*/ 1113473 w 1226820"/>
                <a:gd name="connsiteY35" fmla="*/ 237678 h 237678"/>
                <a:gd name="connsiteX36" fmla="*/ 1152525 w 1226820"/>
                <a:gd name="connsiteY36" fmla="*/ 237678 h 237678"/>
                <a:gd name="connsiteX37" fmla="*/ 1185863 w 1226820"/>
                <a:gd name="connsiteY37" fmla="*/ 237678 h 237678"/>
                <a:gd name="connsiteX38" fmla="*/ 1209675 w 1226820"/>
                <a:gd name="connsiteY38" fmla="*/ 237678 h 237678"/>
                <a:gd name="connsiteX39" fmla="*/ 1222058 w 1226820"/>
                <a:gd name="connsiteY39" fmla="*/ 237678 h 237678"/>
                <a:gd name="connsiteX40" fmla="*/ 1225868 w 1226820"/>
                <a:gd name="connsiteY40" fmla="*/ 237678 h 237678"/>
                <a:gd name="connsiteX41" fmla="*/ 1226820 w 1226820"/>
                <a:gd name="connsiteY41" fmla="*/ 237678 h 237678"/>
                <a:gd name="connsiteX42" fmla="*/ 1226820 w 1226820"/>
                <a:gd name="connsiteY42" fmla="*/ 0 h 237678"/>
                <a:gd name="connsiteX43" fmla="*/ 1224915 w 1226820"/>
                <a:gd name="connsiteY43" fmla="*/ 0 h 237678"/>
                <a:gd name="connsiteX44" fmla="*/ 1217295 w 1226820"/>
                <a:gd name="connsiteY44" fmla="*/ 0 h 237678"/>
                <a:gd name="connsiteX45" fmla="*/ 1199198 w 1226820"/>
                <a:gd name="connsiteY45" fmla="*/ 0 h 237678"/>
                <a:gd name="connsiteX46" fmla="*/ 1170623 w 1226820"/>
                <a:gd name="connsiteY46" fmla="*/ 0 h 237678"/>
                <a:gd name="connsiteX47" fmla="*/ 1133475 w 1226820"/>
                <a:gd name="connsiteY47" fmla="*/ 0 h 237678"/>
                <a:gd name="connsiteX48" fmla="*/ 1094423 w 1226820"/>
                <a:gd name="connsiteY48" fmla="*/ 0 h 237678"/>
                <a:gd name="connsiteX49" fmla="*/ 1054418 w 1226820"/>
                <a:gd name="connsiteY49" fmla="*/ 0 h 237678"/>
                <a:gd name="connsiteX50" fmla="*/ 1017270 w 1226820"/>
                <a:gd name="connsiteY50" fmla="*/ 0 h 237678"/>
                <a:gd name="connsiteX51" fmla="*/ 982980 w 1226820"/>
                <a:gd name="connsiteY51" fmla="*/ 0 h 237678"/>
                <a:gd name="connsiteX52" fmla="*/ 949643 w 1226820"/>
                <a:gd name="connsiteY52" fmla="*/ 0 h 237678"/>
                <a:gd name="connsiteX53" fmla="*/ 918210 w 1226820"/>
                <a:gd name="connsiteY53" fmla="*/ 0 h 237678"/>
                <a:gd name="connsiteX54" fmla="*/ 885825 w 1226820"/>
                <a:gd name="connsiteY54" fmla="*/ 0 h 237678"/>
                <a:gd name="connsiteX55" fmla="*/ 868680 w 1226820"/>
                <a:gd name="connsiteY55" fmla="*/ 0 h 237678"/>
                <a:gd name="connsiteX56" fmla="*/ 840105 w 1226820"/>
                <a:gd name="connsiteY56" fmla="*/ 0 h 237678"/>
                <a:gd name="connsiteX57" fmla="*/ 809625 w 1226820"/>
                <a:gd name="connsiteY57" fmla="*/ 0 h 237678"/>
                <a:gd name="connsiteX58" fmla="*/ 777240 w 1226820"/>
                <a:gd name="connsiteY58" fmla="*/ 0 h 237678"/>
                <a:gd name="connsiteX59" fmla="*/ 742950 w 1226820"/>
                <a:gd name="connsiteY59" fmla="*/ 0 h 237678"/>
                <a:gd name="connsiteX60" fmla="*/ 706755 w 1226820"/>
                <a:gd name="connsiteY60" fmla="*/ 0 h 237678"/>
                <a:gd name="connsiteX61" fmla="*/ 669608 w 1226820"/>
                <a:gd name="connsiteY61" fmla="*/ 0 h 237678"/>
                <a:gd name="connsiteX62" fmla="*/ 631508 w 1226820"/>
                <a:gd name="connsiteY62" fmla="*/ 0 h 237678"/>
                <a:gd name="connsiteX63" fmla="*/ 593408 w 1226820"/>
                <a:gd name="connsiteY63" fmla="*/ 0 h 237678"/>
                <a:gd name="connsiteX64" fmla="*/ 555308 w 1226820"/>
                <a:gd name="connsiteY64" fmla="*/ 0 h 237678"/>
                <a:gd name="connsiteX65" fmla="*/ 517208 w 1226820"/>
                <a:gd name="connsiteY65" fmla="*/ 0 h 237678"/>
                <a:gd name="connsiteX66" fmla="*/ 481965 w 1226820"/>
                <a:gd name="connsiteY66" fmla="*/ 0 h 237678"/>
                <a:gd name="connsiteX67" fmla="*/ 447675 w 1226820"/>
                <a:gd name="connsiteY67" fmla="*/ 0 h 237678"/>
                <a:gd name="connsiteX68" fmla="*/ 415290 w 1226820"/>
                <a:gd name="connsiteY68" fmla="*/ 0 h 237678"/>
                <a:gd name="connsiteX69" fmla="*/ 384810 w 1226820"/>
                <a:gd name="connsiteY69" fmla="*/ 0 h 237678"/>
                <a:gd name="connsiteX70" fmla="*/ 357188 w 1226820"/>
                <a:gd name="connsiteY70" fmla="*/ 0 h 237678"/>
                <a:gd name="connsiteX71" fmla="*/ 324803 w 1226820"/>
                <a:gd name="connsiteY71" fmla="*/ 0 h 237678"/>
                <a:gd name="connsiteX72" fmla="*/ 292417 w 1226820"/>
                <a:gd name="connsiteY72" fmla="*/ 0 h 237678"/>
                <a:gd name="connsiteX73" fmla="*/ 260985 w 1226820"/>
                <a:gd name="connsiteY73" fmla="*/ 0 h 237678"/>
                <a:gd name="connsiteX74" fmla="*/ 226695 w 1226820"/>
                <a:gd name="connsiteY74" fmla="*/ 0 h 237678"/>
                <a:gd name="connsiteX75" fmla="*/ 190500 w 1226820"/>
                <a:gd name="connsiteY75" fmla="*/ 0 h 237678"/>
                <a:gd name="connsiteX76" fmla="*/ 152400 w 1226820"/>
                <a:gd name="connsiteY76" fmla="*/ 0 h 237678"/>
                <a:gd name="connsiteX77" fmla="*/ 112395 w 1226820"/>
                <a:gd name="connsiteY77" fmla="*/ 0 h 237678"/>
                <a:gd name="connsiteX78" fmla="*/ 73342 w 1226820"/>
                <a:gd name="connsiteY78" fmla="*/ 0 h 237678"/>
                <a:gd name="connsiteX79" fmla="*/ 40958 w 1226820"/>
                <a:gd name="connsiteY79" fmla="*/ 0 h 237678"/>
                <a:gd name="connsiteX80" fmla="*/ 17145 w 1226820"/>
                <a:gd name="connsiteY80" fmla="*/ 0 h 237678"/>
                <a:gd name="connsiteX81" fmla="*/ 3810 w 1226820"/>
                <a:gd name="connsiteY81" fmla="*/ 0 h 237678"/>
                <a:gd name="connsiteX82" fmla="*/ 0 w 1226820"/>
                <a:gd name="connsiteY82" fmla="*/ 0 h 237678"/>
                <a:gd name="connsiteX83" fmla="*/ 0 w 1226820"/>
                <a:gd name="connsiteY83" fmla="*/ 0 h 237678"/>
                <a:gd name="connsiteX84" fmla="*/ 0 w 1226820"/>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7678">
                  <a:moveTo>
                    <a:pt x="0" y="237678"/>
                  </a:moveTo>
                  <a:lnTo>
                    <a:pt x="953" y="237678"/>
                  </a:lnTo>
                  <a:lnTo>
                    <a:pt x="8573" y="237678"/>
                  </a:lnTo>
                  <a:lnTo>
                    <a:pt x="26670" y="237678"/>
                  </a:lnTo>
                  <a:lnTo>
                    <a:pt x="56198" y="237678"/>
                  </a:lnTo>
                  <a:lnTo>
                    <a:pt x="92392" y="237678"/>
                  </a:lnTo>
                  <a:lnTo>
                    <a:pt x="132398" y="237678"/>
                  </a:lnTo>
                  <a:lnTo>
                    <a:pt x="171450" y="237678"/>
                  </a:lnTo>
                  <a:lnTo>
                    <a:pt x="208598" y="237678"/>
                  </a:lnTo>
                  <a:lnTo>
                    <a:pt x="243840" y="237678"/>
                  </a:lnTo>
                  <a:lnTo>
                    <a:pt x="276225" y="237678"/>
                  </a:lnTo>
                  <a:lnTo>
                    <a:pt x="308610" y="237678"/>
                  </a:lnTo>
                  <a:lnTo>
                    <a:pt x="340995" y="237678"/>
                  </a:lnTo>
                  <a:lnTo>
                    <a:pt x="357188" y="237678"/>
                  </a:lnTo>
                  <a:lnTo>
                    <a:pt x="386715" y="237678"/>
                  </a:lnTo>
                  <a:lnTo>
                    <a:pt x="417195" y="237678"/>
                  </a:lnTo>
                  <a:lnTo>
                    <a:pt x="449580" y="237678"/>
                  </a:lnTo>
                  <a:lnTo>
                    <a:pt x="483870" y="237678"/>
                  </a:lnTo>
                  <a:lnTo>
                    <a:pt x="519113" y="237678"/>
                  </a:lnTo>
                  <a:lnTo>
                    <a:pt x="556260" y="237678"/>
                  </a:lnTo>
                  <a:lnTo>
                    <a:pt x="594360" y="237678"/>
                  </a:lnTo>
                  <a:lnTo>
                    <a:pt x="633413" y="237678"/>
                  </a:lnTo>
                  <a:lnTo>
                    <a:pt x="671513" y="237678"/>
                  </a:lnTo>
                  <a:lnTo>
                    <a:pt x="708660" y="237678"/>
                  </a:lnTo>
                  <a:lnTo>
                    <a:pt x="743902" y="237678"/>
                  </a:lnTo>
                  <a:lnTo>
                    <a:pt x="778193" y="237678"/>
                  </a:lnTo>
                  <a:lnTo>
                    <a:pt x="810577" y="237678"/>
                  </a:lnTo>
                  <a:lnTo>
                    <a:pt x="841058" y="237678"/>
                  </a:lnTo>
                  <a:lnTo>
                    <a:pt x="868680" y="237678"/>
                  </a:lnTo>
                  <a:lnTo>
                    <a:pt x="902018" y="237678"/>
                  </a:lnTo>
                  <a:lnTo>
                    <a:pt x="933450" y="237678"/>
                  </a:lnTo>
                  <a:lnTo>
                    <a:pt x="965835" y="237678"/>
                  </a:lnTo>
                  <a:lnTo>
                    <a:pt x="999173" y="237678"/>
                  </a:lnTo>
                  <a:lnTo>
                    <a:pt x="1035368" y="237678"/>
                  </a:lnTo>
                  <a:lnTo>
                    <a:pt x="1073468" y="237678"/>
                  </a:lnTo>
                  <a:lnTo>
                    <a:pt x="1113473" y="237678"/>
                  </a:lnTo>
                  <a:lnTo>
                    <a:pt x="1152525" y="237678"/>
                  </a:lnTo>
                  <a:lnTo>
                    <a:pt x="1185863" y="237678"/>
                  </a:lnTo>
                  <a:lnTo>
                    <a:pt x="1209675" y="237678"/>
                  </a:lnTo>
                  <a:lnTo>
                    <a:pt x="1222058" y="237678"/>
                  </a:lnTo>
                  <a:lnTo>
                    <a:pt x="1225868" y="237678"/>
                  </a:lnTo>
                  <a:lnTo>
                    <a:pt x="1226820" y="237678"/>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7678"/>
                  </a:lnTo>
                  <a:close/>
                </a:path>
              </a:pathLst>
            </a:custGeom>
            <a:solidFill>
              <a:srgbClr val="BBBDBF">
                <a:alpha val="60000"/>
              </a:srgbClr>
            </a:solidFill>
            <a:ln w="9525" cap="flat">
              <a:noFill/>
              <a:prstDash val="solid"/>
              <a:miter/>
            </a:ln>
          </p:spPr>
          <p:txBody>
            <a:bodyPr rtlCol="0" anchor="ctr"/>
            <a:lstStyle/>
            <a:p>
              <a:endParaRPr lang="en-US" sz="1050"/>
            </a:p>
          </p:txBody>
        </p:sp>
        <p:sp>
          <p:nvSpPr>
            <p:cNvPr id="166" name="Freeform 162">
              <a:extLst>
                <a:ext uri="{FF2B5EF4-FFF2-40B4-BE49-F238E27FC236}">
                  <a16:creationId xmlns:a16="http://schemas.microsoft.com/office/drawing/2014/main" id="{D9521D27-C786-89BB-1E34-4A49D901074F}"/>
                </a:ext>
              </a:extLst>
            </p:cNvPr>
            <p:cNvSpPr/>
            <p:nvPr/>
          </p:nvSpPr>
          <p:spPr>
            <a:xfrm>
              <a:off x="2147856" y="5064862"/>
              <a:ext cx="1226820" cy="237678"/>
            </a:xfrm>
            <a:custGeom>
              <a:avLst/>
              <a:gdLst>
                <a:gd name="connsiteX0" fmla="*/ 0 w 1226820"/>
                <a:gd name="connsiteY0" fmla="*/ 237678 h 237678"/>
                <a:gd name="connsiteX1" fmla="*/ 953 w 1226820"/>
                <a:gd name="connsiteY1" fmla="*/ 237678 h 237678"/>
                <a:gd name="connsiteX2" fmla="*/ 8573 w 1226820"/>
                <a:gd name="connsiteY2" fmla="*/ 237678 h 237678"/>
                <a:gd name="connsiteX3" fmla="*/ 26670 w 1226820"/>
                <a:gd name="connsiteY3" fmla="*/ 237678 h 237678"/>
                <a:gd name="connsiteX4" fmla="*/ 56198 w 1226820"/>
                <a:gd name="connsiteY4" fmla="*/ 237678 h 237678"/>
                <a:gd name="connsiteX5" fmla="*/ 92392 w 1226820"/>
                <a:gd name="connsiteY5" fmla="*/ 237678 h 237678"/>
                <a:gd name="connsiteX6" fmla="*/ 132398 w 1226820"/>
                <a:gd name="connsiteY6" fmla="*/ 237678 h 237678"/>
                <a:gd name="connsiteX7" fmla="*/ 171450 w 1226820"/>
                <a:gd name="connsiteY7" fmla="*/ 237678 h 237678"/>
                <a:gd name="connsiteX8" fmla="*/ 208598 w 1226820"/>
                <a:gd name="connsiteY8" fmla="*/ 237678 h 237678"/>
                <a:gd name="connsiteX9" fmla="*/ 243840 w 1226820"/>
                <a:gd name="connsiteY9" fmla="*/ 237678 h 237678"/>
                <a:gd name="connsiteX10" fmla="*/ 276225 w 1226820"/>
                <a:gd name="connsiteY10" fmla="*/ 237678 h 237678"/>
                <a:gd name="connsiteX11" fmla="*/ 308610 w 1226820"/>
                <a:gd name="connsiteY11" fmla="*/ 237678 h 237678"/>
                <a:gd name="connsiteX12" fmla="*/ 340995 w 1226820"/>
                <a:gd name="connsiteY12" fmla="*/ 237678 h 237678"/>
                <a:gd name="connsiteX13" fmla="*/ 357188 w 1226820"/>
                <a:gd name="connsiteY13" fmla="*/ 237678 h 237678"/>
                <a:gd name="connsiteX14" fmla="*/ 386715 w 1226820"/>
                <a:gd name="connsiteY14" fmla="*/ 237678 h 237678"/>
                <a:gd name="connsiteX15" fmla="*/ 417195 w 1226820"/>
                <a:gd name="connsiteY15" fmla="*/ 237678 h 237678"/>
                <a:gd name="connsiteX16" fmla="*/ 449580 w 1226820"/>
                <a:gd name="connsiteY16" fmla="*/ 237678 h 237678"/>
                <a:gd name="connsiteX17" fmla="*/ 483870 w 1226820"/>
                <a:gd name="connsiteY17" fmla="*/ 237678 h 237678"/>
                <a:gd name="connsiteX18" fmla="*/ 519113 w 1226820"/>
                <a:gd name="connsiteY18" fmla="*/ 237678 h 237678"/>
                <a:gd name="connsiteX19" fmla="*/ 556260 w 1226820"/>
                <a:gd name="connsiteY19" fmla="*/ 237678 h 237678"/>
                <a:gd name="connsiteX20" fmla="*/ 594360 w 1226820"/>
                <a:gd name="connsiteY20" fmla="*/ 237678 h 237678"/>
                <a:gd name="connsiteX21" fmla="*/ 633413 w 1226820"/>
                <a:gd name="connsiteY21" fmla="*/ 237678 h 237678"/>
                <a:gd name="connsiteX22" fmla="*/ 671513 w 1226820"/>
                <a:gd name="connsiteY22" fmla="*/ 237678 h 237678"/>
                <a:gd name="connsiteX23" fmla="*/ 708660 w 1226820"/>
                <a:gd name="connsiteY23" fmla="*/ 237678 h 237678"/>
                <a:gd name="connsiteX24" fmla="*/ 743902 w 1226820"/>
                <a:gd name="connsiteY24" fmla="*/ 237678 h 237678"/>
                <a:gd name="connsiteX25" fmla="*/ 778193 w 1226820"/>
                <a:gd name="connsiteY25" fmla="*/ 237678 h 237678"/>
                <a:gd name="connsiteX26" fmla="*/ 810577 w 1226820"/>
                <a:gd name="connsiteY26" fmla="*/ 237678 h 237678"/>
                <a:gd name="connsiteX27" fmla="*/ 841058 w 1226820"/>
                <a:gd name="connsiteY27" fmla="*/ 237678 h 237678"/>
                <a:gd name="connsiteX28" fmla="*/ 868680 w 1226820"/>
                <a:gd name="connsiteY28" fmla="*/ 237678 h 237678"/>
                <a:gd name="connsiteX29" fmla="*/ 902018 w 1226820"/>
                <a:gd name="connsiteY29" fmla="*/ 237678 h 237678"/>
                <a:gd name="connsiteX30" fmla="*/ 933450 w 1226820"/>
                <a:gd name="connsiteY30" fmla="*/ 237678 h 237678"/>
                <a:gd name="connsiteX31" fmla="*/ 965835 w 1226820"/>
                <a:gd name="connsiteY31" fmla="*/ 237678 h 237678"/>
                <a:gd name="connsiteX32" fmla="*/ 999173 w 1226820"/>
                <a:gd name="connsiteY32" fmla="*/ 237678 h 237678"/>
                <a:gd name="connsiteX33" fmla="*/ 1035368 w 1226820"/>
                <a:gd name="connsiteY33" fmla="*/ 237678 h 237678"/>
                <a:gd name="connsiteX34" fmla="*/ 1073468 w 1226820"/>
                <a:gd name="connsiteY34" fmla="*/ 237678 h 237678"/>
                <a:gd name="connsiteX35" fmla="*/ 1113473 w 1226820"/>
                <a:gd name="connsiteY35" fmla="*/ 237678 h 237678"/>
                <a:gd name="connsiteX36" fmla="*/ 1152525 w 1226820"/>
                <a:gd name="connsiteY36" fmla="*/ 237678 h 237678"/>
                <a:gd name="connsiteX37" fmla="*/ 1185863 w 1226820"/>
                <a:gd name="connsiteY37" fmla="*/ 237678 h 237678"/>
                <a:gd name="connsiteX38" fmla="*/ 1209675 w 1226820"/>
                <a:gd name="connsiteY38" fmla="*/ 237678 h 237678"/>
                <a:gd name="connsiteX39" fmla="*/ 1222058 w 1226820"/>
                <a:gd name="connsiteY39" fmla="*/ 237678 h 237678"/>
                <a:gd name="connsiteX40" fmla="*/ 1225868 w 1226820"/>
                <a:gd name="connsiteY40" fmla="*/ 237678 h 237678"/>
                <a:gd name="connsiteX41" fmla="*/ 1226820 w 1226820"/>
                <a:gd name="connsiteY41" fmla="*/ 237678 h 237678"/>
                <a:gd name="connsiteX42" fmla="*/ 1226820 w 1226820"/>
                <a:gd name="connsiteY42" fmla="*/ 0 h 237678"/>
                <a:gd name="connsiteX43" fmla="*/ 1224915 w 1226820"/>
                <a:gd name="connsiteY43" fmla="*/ 0 h 237678"/>
                <a:gd name="connsiteX44" fmla="*/ 1217295 w 1226820"/>
                <a:gd name="connsiteY44" fmla="*/ 0 h 237678"/>
                <a:gd name="connsiteX45" fmla="*/ 1199198 w 1226820"/>
                <a:gd name="connsiteY45" fmla="*/ 0 h 237678"/>
                <a:gd name="connsiteX46" fmla="*/ 1170623 w 1226820"/>
                <a:gd name="connsiteY46" fmla="*/ 0 h 237678"/>
                <a:gd name="connsiteX47" fmla="*/ 1133475 w 1226820"/>
                <a:gd name="connsiteY47" fmla="*/ 0 h 237678"/>
                <a:gd name="connsiteX48" fmla="*/ 1094423 w 1226820"/>
                <a:gd name="connsiteY48" fmla="*/ 0 h 237678"/>
                <a:gd name="connsiteX49" fmla="*/ 1054418 w 1226820"/>
                <a:gd name="connsiteY49" fmla="*/ 0 h 237678"/>
                <a:gd name="connsiteX50" fmla="*/ 1017270 w 1226820"/>
                <a:gd name="connsiteY50" fmla="*/ 0 h 237678"/>
                <a:gd name="connsiteX51" fmla="*/ 982980 w 1226820"/>
                <a:gd name="connsiteY51" fmla="*/ 0 h 237678"/>
                <a:gd name="connsiteX52" fmla="*/ 949643 w 1226820"/>
                <a:gd name="connsiteY52" fmla="*/ 0 h 237678"/>
                <a:gd name="connsiteX53" fmla="*/ 918210 w 1226820"/>
                <a:gd name="connsiteY53" fmla="*/ 0 h 237678"/>
                <a:gd name="connsiteX54" fmla="*/ 885825 w 1226820"/>
                <a:gd name="connsiteY54" fmla="*/ 0 h 237678"/>
                <a:gd name="connsiteX55" fmla="*/ 868680 w 1226820"/>
                <a:gd name="connsiteY55" fmla="*/ 0 h 237678"/>
                <a:gd name="connsiteX56" fmla="*/ 840105 w 1226820"/>
                <a:gd name="connsiteY56" fmla="*/ 0 h 237678"/>
                <a:gd name="connsiteX57" fmla="*/ 809625 w 1226820"/>
                <a:gd name="connsiteY57" fmla="*/ 0 h 237678"/>
                <a:gd name="connsiteX58" fmla="*/ 777240 w 1226820"/>
                <a:gd name="connsiteY58" fmla="*/ 0 h 237678"/>
                <a:gd name="connsiteX59" fmla="*/ 742950 w 1226820"/>
                <a:gd name="connsiteY59" fmla="*/ 0 h 237678"/>
                <a:gd name="connsiteX60" fmla="*/ 706755 w 1226820"/>
                <a:gd name="connsiteY60" fmla="*/ 0 h 237678"/>
                <a:gd name="connsiteX61" fmla="*/ 669608 w 1226820"/>
                <a:gd name="connsiteY61" fmla="*/ 0 h 237678"/>
                <a:gd name="connsiteX62" fmla="*/ 631508 w 1226820"/>
                <a:gd name="connsiteY62" fmla="*/ 0 h 237678"/>
                <a:gd name="connsiteX63" fmla="*/ 593408 w 1226820"/>
                <a:gd name="connsiteY63" fmla="*/ 0 h 237678"/>
                <a:gd name="connsiteX64" fmla="*/ 555308 w 1226820"/>
                <a:gd name="connsiteY64" fmla="*/ 0 h 237678"/>
                <a:gd name="connsiteX65" fmla="*/ 517208 w 1226820"/>
                <a:gd name="connsiteY65" fmla="*/ 0 h 237678"/>
                <a:gd name="connsiteX66" fmla="*/ 481965 w 1226820"/>
                <a:gd name="connsiteY66" fmla="*/ 0 h 237678"/>
                <a:gd name="connsiteX67" fmla="*/ 447675 w 1226820"/>
                <a:gd name="connsiteY67" fmla="*/ 0 h 237678"/>
                <a:gd name="connsiteX68" fmla="*/ 415290 w 1226820"/>
                <a:gd name="connsiteY68" fmla="*/ 0 h 237678"/>
                <a:gd name="connsiteX69" fmla="*/ 384810 w 1226820"/>
                <a:gd name="connsiteY69" fmla="*/ 0 h 237678"/>
                <a:gd name="connsiteX70" fmla="*/ 357188 w 1226820"/>
                <a:gd name="connsiteY70" fmla="*/ 0 h 237678"/>
                <a:gd name="connsiteX71" fmla="*/ 324803 w 1226820"/>
                <a:gd name="connsiteY71" fmla="*/ 0 h 237678"/>
                <a:gd name="connsiteX72" fmla="*/ 292417 w 1226820"/>
                <a:gd name="connsiteY72" fmla="*/ 0 h 237678"/>
                <a:gd name="connsiteX73" fmla="*/ 260985 w 1226820"/>
                <a:gd name="connsiteY73" fmla="*/ 0 h 237678"/>
                <a:gd name="connsiteX74" fmla="*/ 226695 w 1226820"/>
                <a:gd name="connsiteY74" fmla="*/ 0 h 237678"/>
                <a:gd name="connsiteX75" fmla="*/ 190500 w 1226820"/>
                <a:gd name="connsiteY75" fmla="*/ 0 h 237678"/>
                <a:gd name="connsiteX76" fmla="*/ 152400 w 1226820"/>
                <a:gd name="connsiteY76" fmla="*/ 0 h 237678"/>
                <a:gd name="connsiteX77" fmla="*/ 112395 w 1226820"/>
                <a:gd name="connsiteY77" fmla="*/ 0 h 237678"/>
                <a:gd name="connsiteX78" fmla="*/ 73342 w 1226820"/>
                <a:gd name="connsiteY78" fmla="*/ 0 h 237678"/>
                <a:gd name="connsiteX79" fmla="*/ 40958 w 1226820"/>
                <a:gd name="connsiteY79" fmla="*/ 0 h 237678"/>
                <a:gd name="connsiteX80" fmla="*/ 17145 w 1226820"/>
                <a:gd name="connsiteY80" fmla="*/ 0 h 237678"/>
                <a:gd name="connsiteX81" fmla="*/ 3810 w 1226820"/>
                <a:gd name="connsiteY81" fmla="*/ 0 h 237678"/>
                <a:gd name="connsiteX82" fmla="*/ 0 w 1226820"/>
                <a:gd name="connsiteY82" fmla="*/ 0 h 237678"/>
                <a:gd name="connsiteX83" fmla="*/ 0 w 1226820"/>
                <a:gd name="connsiteY83" fmla="*/ 0 h 237678"/>
                <a:gd name="connsiteX84" fmla="*/ 0 w 1226820"/>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7678">
                  <a:moveTo>
                    <a:pt x="0" y="237678"/>
                  </a:moveTo>
                  <a:lnTo>
                    <a:pt x="953" y="237678"/>
                  </a:lnTo>
                  <a:lnTo>
                    <a:pt x="8573" y="237678"/>
                  </a:lnTo>
                  <a:lnTo>
                    <a:pt x="26670" y="237678"/>
                  </a:lnTo>
                  <a:lnTo>
                    <a:pt x="56198" y="237678"/>
                  </a:lnTo>
                  <a:lnTo>
                    <a:pt x="92392" y="237678"/>
                  </a:lnTo>
                  <a:lnTo>
                    <a:pt x="132398" y="237678"/>
                  </a:lnTo>
                  <a:lnTo>
                    <a:pt x="171450" y="237678"/>
                  </a:lnTo>
                  <a:lnTo>
                    <a:pt x="208598" y="237678"/>
                  </a:lnTo>
                  <a:lnTo>
                    <a:pt x="243840" y="237678"/>
                  </a:lnTo>
                  <a:lnTo>
                    <a:pt x="276225" y="237678"/>
                  </a:lnTo>
                  <a:lnTo>
                    <a:pt x="308610" y="237678"/>
                  </a:lnTo>
                  <a:lnTo>
                    <a:pt x="340995" y="237678"/>
                  </a:lnTo>
                  <a:lnTo>
                    <a:pt x="357188" y="237678"/>
                  </a:lnTo>
                  <a:lnTo>
                    <a:pt x="386715" y="237678"/>
                  </a:lnTo>
                  <a:lnTo>
                    <a:pt x="417195" y="237678"/>
                  </a:lnTo>
                  <a:lnTo>
                    <a:pt x="449580" y="237678"/>
                  </a:lnTo>
                  <a:lnTo>
                    <a:pt x="483870" y="237678"/>
                  </a:lnTo>
                  <a:lnTo>
                    <a:pt x="519113" y="237678"/>
                  </a:lnTo>
                  <a:lnTo>
                    <a:pt x="556260" y="237678"/>
                  </a:lnTo>
                  <a:lnTo>
                    <a:pt x="594360" y="237678"/>
                  </a:lnTo>
                  <a:lnTo>
                    <a:pt x="633413" y="237678"/>
                  </a:lnTo>
                  <a:lnTo>
                    <a:pt x="671513" y="237678"/>
                  </a:lnTo>
                  <a:lnTo>
                    <a:pt x="708660" y="237678"/>
                  </a:lnTo>
                  <a:lnTo>
                    <a:pt x="743902" y="237678"/>
                  </a:lnTo>
                  <a:lnTo>
                    <a:pt x="778193" y="237678"/>
                  </a:lnTo>
                  <a:lnTo>
                    <a:pt x="810577" y="237678"/>
                  </a:lnTo>
                  <a:lnTo>
                    <a:pt x="841058" y="237678"/>
                  </a:lnTo>
                  <a:lnTo>
                    <a:pt x="868680" y="237678"/>
                  </a:lnTo>
                  <a:lnTo>
                    <a:pt x="902018" y="237678"/>
                  </a:lnTo>
                  <a:lnTo>
                    <a:pt x="933450" y="237678"/>
                  </a:lnTo>
                  <a:lnTo>
                    <a:pt x="965835" y="237678"/>
                  </a:lnTo>
                  <a:lnTo>
                    <a:pt x="999173" y="237678"/>
                  </a:lnTo>
                  <a:lnTo>
                    <a:pt x="1035368" y="237678"/>
                  </a:lnTo>
                  <a:lnTo>
                    <a:pt x="1073468" y="237678"/>
                  </a:lnTo>
                  <a:lnTo>
                    <a:pt x="1113473" y="237678"/>
                  </a:lnTo>
                  <a:lnTo>
                    <a:pt x="1152525" y="237678"/>
                  </a:lnTo>
                  <a:lnTo>
                    <a:pt x="1185863" y="237678"/>
                  </a:lnTo>
                  <a:lnTo>
                    <a:pt x="1209675" y="237678"/>
                  </a:lnTo>
                  <a:lnTo>
                    <a:pt x="1222058" y="237678"/>
                  </a:lnTo>
                  <a:lnTo>
                    <a:pt x="1225868" y="237678"/>
                  </a:lnTo>
                  <a:lnTo>
                    <a:pt x="1226820" y="237678"/>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7678"/>
                  </a:lnTo>
                  <a:close/>
                </a:path>
              </a:pathLst>
            </a:custGeom>
            <a:noFill/>
            <a:ln w="9525" cap="flat">
              <a:solidFill>
                <a:srgbClr val="BBBDBF"/>
              </a:solidFill>
              <a:prstDash val="solid"/>
              <a:miter/>
            </a:ln>
          </p:spPr>
          <p:txBody>
            <a:bodyPr rtlCol="0" anchor="ctr"/>
            <a:lstStyle/>
            <a:p>
              <a:endParaRPr lang="en-US" sz="1050"/>
            </a:p>
          </p:txBody>
        </p:sp>
        <p:sp>
          <p:nvSpPr>
            <p:cNvPr id="167" name="Freeform 163">
              <a:extLst>
                <a:ext uri="{FF2B5EF4-FFF2-40B4-BE49-F238E27FC236}">
                  <a16:creationId xmlns:a16="http://schemas.microsoft.com/office/drawing/2014/main" id="{BAAF6CCF-258D-1ABD-CDD8-644F7C333381}"/>
                </a:ext>
              </a:extLst>
            </p:cNvPr>
            <p:cNvSpPr/>
            <p:nvPr/>
          </p:nvSpPr>
          <p:spPr>
            <a:xfrm>
              <a:off x="2147856" y="5302540"/>
              <a:ext cx="1226820" cy="237678"/>
            </a:xfrm>
            <a:custGeom>
              <a:avLst/>
              <a:gdLst>
                <a:gd name="connsiteX0" fmla="*/ 0 w 1226820"/>
                <a:gd name="connsiteY0" fmla="*/ 237678 h 237678"/>
                <a:gd name="connsiteX1" fmla="*/ 953 w 1226820"/>
                <a:gd name="connsiteY1" fmla="*/ 237678 h 237678"/>
                <a:gd name="connsiteX2" fmla="*/ 8573 w 1226820"/>
                <a:gd name="connsiteY2" fmla="*/ 237678 h 237678"/>
                <a:gd name="connsiteX3" fmla="*/ 26670 w 1226820"/>
                <a:gd name="connsiteY3" fmla="*/ 237678 h 237678"/>
                <a:gd name="connsiteX4" fmla="*/ 56198 w 1226820"/>
                <a:gd name="connsiteY4" fmla="*/ 237678 h 237678"/>
                <a:gd name="connsiteX5" fmla="*/ 92392 w 1226820"/>
                <a:gd name="connsiteY5" fmla="*/ 237678 h 237678"/>
                <a:gd name="connsiteX6" fmla="*/ 132398 w 1226820"/>
                <a:gd name="connsiteY6" fmla="*/ 237678 h 237678"/>
                <a:gd name="connsiteX7" fmla="*/ 171450 w 1226820"/>
                <a:gd name="connsiteY7" fmla="*/ 237678 h 237678"/>
                <a:gd name="connsiteX8" fmla="*/ 208598 w 1226820"/>
                <a:gd name="connsiteY8" fmla="*/ 237678 h 237678"/>
                <a:gd name="connsiteX9" fmla="*/ 243840 w 1226820"/>
                <a:gd name="connsiteY9" fmla="*/ 237678 h 237678"/>
                <a:gd name="connsiteX10" fmla="*/ 276225 w 1226820"/>
                <a:gd name="connsiteY10" fmla="*/ 237678 h 237678"/>
                <a:gd name="connsiteX11" fmla="*/ 308610 w 1226820"/>
                <a:gd name="connsiteY11" fmla="*/ 237678 h 237678"/>
                <a:gd name="connsiteX12" fmla="*/ 340995 w 1226820"/>
                <a:gd name="connsiteY12" fmla="*/ 237678 h 237678"/>
                <a:gd name="connsiteX13" fmla="*/ 357188 w 1226820"/>
                <a:gd name="connsiteY13" fmla="*/ 237678 h 237678"/>
                <a:gd name="connsiteX14" fmla="*/ 386715 w 1226820"/>
                <a:gd name="connsiteY14" fmla="*/ 237678 h 237678"/>
                <a:gd name="connsiteX15" fmla="*/ 417195 w 1226820"/>
                <a:gd name="connsiteY15" fmla="*/ 237678 h 237678"/>
                <a:gd name="connsiteX16" fmla="*/ 449580 w 1226820"/>
                <a:gd name="connsiteY16" fmla="*/ 237678 h 237678"/>
                <a:gd name="connsiteX17" fmla="*/ 483870 w 1226820"/>
                <a:gd name="connsiteY17" fmla="*/ 237678 h 237678"/>
                <a:gd name="connsiteX18" fmla="*/ 519113 w 1226820"/>
                <a:gd name="connsiteY18" fmla="*/ 237678 h 237678"/>
                <a:gd name="connsiteX19" fmla="*/ 556260 w 1226820"/>
                <a:gd name="connsiteY19" fmla="*/ 237678 h 237678"/>
                <a:gd name="connsiteX20" fmla="*/ 594360 w 1226820"/>
                <a:gd name="connsiteY20" fmla="*/ 237678 h 237678"/>
                <a:gd name="connsiteX21" fmla="*/ 633413 w 1226820"/>
                <a:gd name="connsiteY21" fmla="*/ 237678 h 237678"/>
                <a:gd name="connsiteX22" fmla="*/ 671513 w 1226820"/>
                <a:gd name="connsiteY22" fmla="*/ 237678 h 237678"/>
                <a:gd name="connsiteX23" fmla="*/ 708660 w 1226820"/>
                <a:gd name="connsiteY23" fmla="*/ 237678 h 237678"/>
                <a:gd name="connsiteX24" fmla="*/ 743902 w 1226820"/>
                <a:gd name="connsiteY24" fmla="*/ 237678 h 237678"/>
                <a:gd name="connsiteX25" fmla="*/ 778193 w 1226820"/>
                <a:gd name="connsiteY25" fmla="*/ 237678 h 237678"/>
                <a:gd name="connsiteX26" fmla="*/ 810577 w 1226820"/>
                <a:gd name="connsiteY26" fmla="*/ 237678 h 237678"/>
                <a:gd name="connsiteX27" fmla="*/ 841058 w 1226820"/>
                <a:gd name="connsiteY27" fmla="*/ 237678 h 237678"/>
                <a:gd name="connsiteX28" fmla="*/ 868680 w 1226820"/>
                <a:gd name="connsiteY28" fmla="*/ 237678 h 237678"/>
                <a:gd name="connsiteX29" fmla="*/ 902018 w 1226820"/>
                <a:gd name="connsiteY29" fmla="*/ 237678 h 237678"/>
                <a:gd name="connsiteX30" fmla="*/ 933450 w 1226820"/>
                <a:gd name="connsiteY30" fmla="*/ 237678 h 237678"/>
                <a:gd name="connsiteX31" fmla="*/ 965835 w 1226820"/>
                <a:gd name="connsiteY31" fmla="*/ 237678 h 237678"/>
                <a:gd name="connsiteX32" fmla="*/ 999173 w 1226820"/>
                <a:gd name="connsiteY32" fmla="*/ 237678 h 237678"/>
                <a:gd name="connsiteX33" fmla="*/ 1035368 w 1226820"/>
                <a:gd name="connsiteY33" fmla="*/ 237678 h 237678"/>
                <a:gd name="connsiteX34" fmla="*/ 1073468 w 1226820"/>
                <a:gd name="connsiteY34" fmla="*/ 237678 h 237678"/>
                <a:gd name="connsiteX35" fmla="*/ 1113473 w 1226820"/>
                <a:gd name="connsiteY35" fmla="*/ 237678 h 237678"/>
                <a:gd name="connsiteX36" fmla="*/ 1152525 w 1226820"/>
                <a:gd name="connsiteY36" fmla="*/ 237678 h 237678"/>
                <a:gd name="connsiteX37" fmla="*/ 1185863 w 1226820"/>
                <a:gd name="connsiteY37" fmla="*/ 237678 h 237678"/>
                <a:gd name="connsiteX38" fmla="*/ 1209675 w 1226820"/>
                <a:gd name="connsiteY38" fmla="*/ 237678 h 237678"/>
                <a:gd name="connsiteX39" fmla="*/ 1222058 w 1226820"/>
                <a:gd name="connsiteY39" fmla="*/ 237678 h 237678"/>
                <a:gd name="connsiteX40" fmla="*/ 1225868 w 1226820"/>
                <a:gd name="connsiteY40" fmla="*/ 237678 h 237678"/>
                <a:gd name="connsiteX41" fmla="*/ 1226820 w 1226820"/>
                <a:gd name="connsiteY41" fmla="*/ 237678 h 237678"/>
                <a:gd name="connsiteX42" fmla="*/ 1226820 w 1226820"/>
                <a:gd name="connsiteY42" fmla="*/ 0 h 237678"/>
                <a:gd name="connsiteX43" fmla="*/ 1224915 w 1226820"/>
                <a:gd name="connsiteY43" fmla="*/ 0 h 237678"/>
                <a:gd name="connsiteX44" fmla="*/ 1217295 w 1226820"/>
                <a:gd name="connsiteY44" fmla="*/ 0 h 237678"/>
                <a:gd name="connsiteX45" fmla="*/ 1199198 w 1226820"/>
                <a:gd name="connsiteY45" fmla="*/ 0 h 237678"/>
                <a:gd name="connsiteX46" fmla="*/ 1170623 w 1226820"/>
                <a:gd name="connsiteY46" fmla="*/ 0 h 237678"/>
                <a:gd name="connsiteX47" fmla="*/ 1133475 w 1226820"/>
                <a:gd name="connsiteY47" fmla="*/ 0 h 237678"/>
                <a:gd name="connsiteX48" fmla="*/ 1094423 w 1226820"/>
                <a:gd name="connsiteY48" fmla="*/ 0 h 237678"/>
                <a:gd name="connsiteX49" fmla="*/ 1054418 w 1226820"/>
                <a:gd name="connsiteY49" fmla="*/ 0 h 237678"/>
                <a:gd name="connsiteX50" fmla="*/ 1017270 w 1226820"/>
                <a:gd name="connsiteY50" fmla="*/ 0 h 237678"/>
                <a:gd name="connsiteX51" fmla="*/ 982980 w 1226820"/>
                <a:gd name="connsiteY51" fmla="*/ 0 h 237678"/>
                <a:gd name="connsiteX52" fmla="*/ 949643 w 1226820"/>
                <a:gd name="connsiteY52" fmla="*/ 0 h 237678"/>
                <a:gd name="connsiteX53" fmla="*/ 918210 w 1226820"/>
                <a:gd name="connsiteY53" fmla="*/ 0 h 237678"/>
                <a:gd name="connsiteX54" fmla="*/ 885825 w 1226820"/>
                <a:gd name="connsiteY54" fmla="*/ 0 h 237678"/>
                <a:gd name="connsiteX55" fmla="*/ 868680 w 1226820"/>
                <a:gd name="connsiteY55" fmla="*/ 0 h 237678"/>
                <a:gd name="connsiteX56" fmla="*/ 840105 w 1226820"/>
                <a:gd name="connsiteY56" fmla="*/ 0 h 237678"/>
                <a:gd name="connsiteX57" fmla="*/ 809625 w 1226820"/>
                <a:gd name="connsiteY57" fmla="*/ 0 h 237678"/>
                <a:gd name="connsiteX58" fmla="*/ 777240 w 1226820"/>
                <a:gd name="connsiteY58" fmla="*/ 0 h 237678"/>
                <a:gd name="connsiteX59" fmla="*/ 742950 w 1226820"/>
                <a:gd name="connsiteY59" fmla="*/ 0 h 237678"/>
                <a:gd name="connsiteX60" fmla="*/ 706755 w 1226820"/>
                <a:gd name="connsiteY60" fmla="*/ 0 h 237678"/>
                <a:gd name="connsiteX61" fmla="*/ 669608 w 1226820"/>
                <a:gd name="connsiteY61" fmla="*/ 0 h 237678"/>
                <a:gd name="connsiteX62" fmla="*/ 631508 w 1226820"/>
                <a:gd name="connsiteY62" fmla="*/ 0 h 237678"/>
                <a:gd name="connsiteX63" fmla="*/ 593408 w 1226820"/>
                <a:gd name="connsiteY63" fmla="*/ 0 h 237678"/>
                <a:gd name="connsiteX64" fmla="*/ 555308 w 1226820"/>
                <a:gd name="connsiteY64" fmla="*/ 0 h 237678"/>
                <a:gd name="connsiteX65" fmla="*/ 517208 w 1226820"/>
                <a:gd name="connsiteY65" fmla="*/ 0 h 237678"/>
                <a:gd name="connsiteX66" fmla="*/ 481965 w 1226820"/>
                <a:gd name="connsiteY66" fmla="*/ 0 h 237678"/>
                <a:gd name="connsiteX67" fmla="*/ 447675 w 1226820"/>
                <a:gd name="connsiteY67" fmla="*/ 0 h 237678"/>
                <a:gd name="connsiteX68" fmla="*/ 415290 w 1226820"/>
                <a:gd name="connsiteY68" fmla="*/ 0 h 237678"/>
                <a:gd name="connsiteX69" fmla="*/ 384810 w 1226820"/>
                <a:gd name="connsiteY69" fmla="*/ 0 h 237678"/>
                <a:gd name="connsiteX70" fmla="*/ 357188 w 1226820"/>
                <a:gd name="connsiteY70" fmla="*/ 0 h 237678"/>
                <a:gd name="connsiteX71" fmla="*/ 324803 w 1226820"/>
                <a:gd name="connsiteY71" fmla="*/ 0 h 237678"/>
                <a:gd name="connsiteX72" fmla="*/ 292417 w 1226820"/>
                <a:gd name="connsiteY72" fmla="*/ 0 h 237678"/>
                <a:gd name="connsiteX73" fmla="*/ 260985 w 1226820"/>
                <a:gd name="connsiteY73" fmla="*/ 0 h 237678"/>
                <a:gd name="connsiteX74" fmla="*/ 226695 w 1226820"/>
                <a:gd name="connsiteY74" fmla="*/ 0 h 237678"/>
                <a:gd name="connsiteX75" fmla="*/ 190500 w 1226820"/>
                <a:gd name="connsiteY75" fmla="*/ 0 h 237678"/>
                <a:gd name="connsiteX76" fmla="*/ 152400 w 1226820"/>
                <a:gd name="connsiteY76" fmla="*/ 0 h 237678"/>
                <a:gd name="connsiteX77" fmla="*/ 112395 w 1226820"/>
                <a:gd name="connsiteY77" fmla="*/ 0 h 237678"/>
                <a:gd name="connsiteX78" fmla="*/ 73342 w 1226820"/>
                <a:gd name="connsiteY78" fmla="*/ 0 h 237678"/>
                <a:gd name="connsiteX79" fmla="*/ 40958 w 1226820"/>
                <a:gd name="connsiteY79" fmla="*/ 0 h 237678"/>
                <a:gd name="connsiteX80" fmla="*/ 17145 w 1226820"/>
                <a:gd name="connsiteY80" fmla="*/ 0 h 237678"/>
                <a:gd name="connsiteX81" fmla="*/ 3810 w 1226820"/>
                <a:gd name="connsiteY81" fmla="*/ 0 h 237678"/>
                <a:gd name="connsiteX82" fmla="*/ 0 w 1226820"/>
                <a:gd name="connsiteY82" fmla="*/ 0 h 237678"/>
                <a:gd name="connsiteX83" fmla="*/ 0 w 1226820"/>
                <a:gd name="connsiteY83" fmla="*/ 0 h 237678"/>
                <a:gd name="connsiteX84" fmla="*/ 0 w 1226820"/>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7678">
                  <a:moveTo>
                    <a:pt x="0" y="237678"/>
                  </a:moveTo>
                  <a:lnTo>
                    <a:pt x="953" y="237678"/>
                  </a:lnTo>
                  <a:lnTo>
                    <a:pt x="8573" y="237678"/>
                  </a:lnTo>
                  <a:lnTo>
                    <a:pt x="26670" y="237678"/>
                  </a:lnTo>
                  <a:lnTo>
                    <a:pt x="56198" y="237678"/>
                  </a:lnTo>
                  <a:lnTo>
                    <a:pt x="92392" y="237678"/>
                  </a:lnTo>
                  <a:lnTo>
                    <a:pt x="132398" y="237678"/>
                  </a:lnTo>
                  <a:lnTo>
                    <a:pt x="171450" y="237678"/>
                  </a:lnTo>
                  <a:lnTo>
                    <a:pt x="208598" y="237678"/>
                  </a:lnTo>
                  <a:lnTo>
                    <a:pt x="243840" y="237678"/>
                  </a:lnTo>
                  <a:lnTo>
                    <a:pt x="276225" y="237678"/>
                  </a:lnTo>
                  <a:lnTo>
                    <a:pt x="308610" y="237678"/>
                  </a:lnTo>
                  <a:lnTo>
                    <a:pt x="340995" y="237678"/>
                  </a:lnTo>
                  <a:lnTo>
                    <a:pt x="357188" y="237678"/>
                  </a:lnTo>
                  <a:lnTo>
                    <a:pt x="386715" y="237678"/>
                  </a:lnTo>
                  <a:lnTo>
                    <a:pt x="417195" y="237678"/>
                  </a:lnTo>
                  <a:lnTo>
                    <a:pt x="449580" y="237678"/>
                  </a:lnTo>
                  <a:lnTo>
                    <a:pt x="483870" y="237678"/>
                  </a:lnTo>
                  <a:lnTo>
                    <a:pt x="519113" y="237678"/>
                  </a:lnTo>
                  <a:lnTo>
                    <a:pt x="556260" y="237678"/>
                  </a:lnTo>
                  <a:lnTo>
                    <a:pt x="594360" y="237678"/>
                  </a:lnTo>
                  <a:lnTo>
                    <a:pt x="633413" y="237678"/>
                  </a:lnTo>
                  <a:lnTo>
                    <a:pt x="671513" y="237678"/>
                  </a:lnTo>
                  <a:lnTo>
                    <a:pt x="708660" y="237678"/>
                  </a:lnTo>
                  <a:lnTo>
                    <a:pt x="743902" y="237678"/>
                  </a:lnTo>
                  <a:lnTo>
                    <a:pt x="778193" y="237678"/>
                  </a:lnTo>
                  <a:lnTo>
                    <a:pt x="810577" y="237678"/>
                  </a:lnTo>
                  <a:lnTo>
                    <a:pt x="841058" y="237678"/>
                  </a:lnTo>
                  <a:lnTo>
                    <a:pt x="868680" y="237678"/>
                  </a:lnTo>
                  <a:lnTo>
                    <a:pt x="902018" y="237678"/>
                  </a:lnTo>
                  <a:lnTo>
                    <a:pt x="933450" y="237678"/>
                  </a:lnTo>
                  <a:lnTo>
                    <a:pt x="965835" y="237678"/>
                  </a:lnTo>
                  <a:lnTo>
                    <a:pt x="999173" y="237678"/>
                  </a:lnTo>
                  <a:lnTo>
                    <a:pt x="1035368" y="237678"/>
                  </a:lnTo>
                  <a:lnTo>
                    <a:pt x="1073468" y="237678"/>
                  </a:lnTo>
                  <a:lnTo>
                    <a:pt x="1113473" y="237678"/>
                  </a:lnTo>
                  <a:lnTo>
                    <a:pt x="1152525" y="237678"/>
                  </a:lnTo>
                  <a:lnTo>
                    <a:pt x="1185863" y="237678"/>
                  </a:lnTo>
                  <a:lnTo>
                    <a:pt x="1209675" y="237678"/>
                  </a:lnTo>
                  <a:lnTo>
                    <a:pt x="1222058" y="237678"/>
                  </a:lnTo>
                  <a:lnTo>
                    <a:pt x="1225868" y="237678"/>
                  </a:lnTo>
                  <a:lnTo>
                    <a:pt x="1226820" y="237678"/>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7678"/>
                  </a:lnTo>
                  <a:close/>
                </a:path>
              </a:pathLst>
            </a:custGeom>
            <a:solidFill>
              <a:srgbClr val="BBBDBF">
                <a:alpha val="60000"/>
              </a:srgbClr>
            </a:solidFill>
            <a:ln w="9525" cap="flat">
              <a:noFill/>
              <a:prstDash val="solid"/>
              <a:miter/>
            </a:ln>
          </p:spPr>
          <p:txBody>
            <a:bodyPr rtlCol="0" anchor="ctr"/>
            <a:lstStyle/>
            <a:p>
              <a:endParaRPr lang="en-US" sz="1050"/>
            </a:p>
          </p:txBody>
        </p:sp>
        <p:sp>
          <p:nvSpPr>
            <p:cNvPr id="168" name="Freeform 164">
              <a:extLst>
                <a:ext uri="{FF2B5EF4-FFF2-40B4-BE49-F238E27FC236}">
                  <a16:creationId xmlns:a16="http://schemas.microsoft.com/office/drawing/2014/main" id="{3307A224-F6CB-9DE4-0C90-DF894FD049F1}"/>
                </a:ext>
              </a:extLst>
            </p:cNvPr>
            <p:cNvSpPr/>
            <p:nvPr/>
          </p:nvSpPr>
          <p:spPr>
            <a:xfrm>
              <a:off x="2147856" y="5302540"/>
              <a:ext cx="1226820" cy="237678"/>
            </a:xfrm>
            <a:custGeom>
              <a:avLst/>
              <a:gdLst>
                <a:gd name="connsiteX0" fmla="*/ 0 w 1226820"/>
                <a:gd name="connsiteY0" fmla="*/ 237678 h 237678"/>
                <a:gd name="connsiteX1" fmla="*/ 953 w 1226820"/>
                <a:gd name="connsiteY1" fmla="*/ 237678 h 237678"/>
                <a:gd name="connsiteX2" fmla="*/ 8573 w 1226820"/>
                <a:gd name="connsiteY2" fmla="*/ 237678 h 237678"/>
                <a:gd name="connsiteX3" fmla="*/ 26670 w 1226820"/>
                <a:gd name="connsiteY3" fmla="*/ 237678 h 237678"/>
                <a:gd name="connsiteX4" fmla="*/ 56198 w 1226820"/>
                <a:gd name="connsiteY4" fmla="*/ 237678 h 237678"/>
                <a:gd name="connsiteX5" fmla="*/ 92392 w 1226820"/>
                <a:gd name="connsiteY5" fmla="*/ 237678 h 237678"/>
                <a:gd name="connsiteX6" fmla="*/ 132398 w 1226820"/>
                <a:gd name="connsiteY6" fmla="*/ 237678 h 237678"/>
                <a:gd name="connsiteX7" fmla="*/ 171450 w 1226820"/>
                <a:gd name="connsiteY7" fmla="*/ 237678 h 237678"/>
                <a:gd name="connsiteX8" fmla="*/ 208598 w 1226820"/>
                <a:gd name="connsiteY8" fmla="*/ 237678 h 237678"/>
                <a:gd name="connsiteX9" fmla="*/ 243840 w 1226820"/>
                <a:gd name="connsiteY9" fmla="*/ 237678 h 237678"/>
                <a:gd name="connsiteX10" fmla="*/ 276225 w 1226820"/>
                <a:gd name="connsiteY10" fmla="*/ 237678 h 237678"/>
                <a:gd name="connsiteX11" fmla="*/ 308610 w 1226820"/>
                <a:gd name="connsiteY11" fmla="*/ 237678 h 237678"/>
                <a:gd name="connsiteX12" fmla="*/ 340995 w 1226820"/>
                <a:gd name="connsiteY12" fmla="*/ 237678 h 237678"/>
                <a:gd name="connsiteX13" fmla="*/ 357188 w 1226820"/>
                <a:gd name="connsiteY13" fmla="*/ 237678 h 237678"/>
                <a:gd name="connsiteX14" fmla="*/ 386715 w 1226820"/>
                <a:gd name="connsiteY14" fmla="*/ 237678 h 237678"/>
                <a:gd name="connsiteX15" fmla="*/ 417195 w 1226820"/>
                <a:gd name="connsiteY15" fmla="*/ 237678 h 237678"/>
                <a:gd name="connsiteX16" fmla="*/ 449580 w 1226820"/>
                <a:gd name="connsiteY16" fmla="*/ 237678 h 237678"/>
                <a:gd name="connsiteX17" fmla="*/ 483870 w 1226820"/>
                <a:gd name="connsiteY17" fmla="*/ 237678 h 237678"/>
                <a:gd name="connsiteX18" fmla="*/ 519113 w 1226820"/>
                <a:gd name="connsiteY18" fmla="*/ 237678 h 237678"/>
                <a:gd name="connsiteX19" fmla="*/ 556260 w 1226820"/>
                <a:gd name="connsiteY19" fmla="*/ 237678 h 237678"/>
                <a:gd name="connsiteX20" fmla="*/ 594360 w 1226820"/>
                <a:gd name="connsiteY20" fmla="*/ 237678 h 237678"/>
                <a:gd name="connsiteX21" fmla="*/ 633413 w 1226820"/>
                <a:gd name="connsiteY21" fmla="*/ 237678 h 237678"/>
                <a:gd name="connsiteX22" fmla="*/ 671513 w 1226820"/>
                <a:gd name="connsiteY22" fmla="*/ 237678 h 237678"/>
                <a:gd name="connsiteX23" fmla="*/ 708660 w 1226820"/>
                <a:gd name="connsiteY23" fmla="*/ 237678 h 237678"/>
                <a:gd name="connsiteX24" fmla="*/ 743902 w 1226820"/>
                <a:gd name="connsiteY24" fmla="*/ 237678 h 237678"/>
                <a:gd name="connsiteX25" fmla="*/ 778193 w 1226820"/>
                <a:gd name="connsiteY25" fmla="*/ 237678 h 237678"/>
                <a:gd name="connsiteX26" fmla="*/ 810577 w 1226820"/>
                <a:gd name="connsiteY26" fmla="*/ 237678 h 237678"/>
                <a:gd name="connsiteX27" fmla="*/ 841058 w 1226820"/>
                <a:gd name="connsiteY27" fmla="*/ 237678 h 237678"/>
                <a:gd name="connsiteX28" fmla="*/ 868680 w 1226820"/>
                <a:gd name="connsiteY28" fmla="*/ 237678 h 237678"/>
                <a:gd name="connsiteX29" fmla="*/ 902018 w 1226820"/>
                <a:gd name="connsiteY29" fmla="*/ 237678 h 237678"/>
                <a:gd name="connsiteX30" fmla="*/ 933450 w 1226820"/>
                <a:gd name="connsiteY30" fmla="*/ 237678 h 237678"/>
                <a:gd name="connsiteX31" fmla="*/ 965835 w 1226820"/>
                <a:gd name="connsiteY31" fmla="*/ 237678 h 237678"/>
                <a:gd name="connsiteX32" fmla="*/ 999173 w 1226820"/>
                <a:gd name="connsiteY32" fmla="*/ 237678 h 237678"/>
                <a:gd name="connsiteX33" fmla="*/ 1035368 w 1226820"/>
                <a:gd name="connsiteY33" fmla="*/ 237678 h 237678"/>
                <a:gd name="connsiteX34" fmla="*/ 1073468 w 1226820"/>
                <a:gd name="connsiteY34" fmla="*/ 237678 h 237678"/>
                <a:gd name="connsiteX35" fmla="*/ 1113473 w 1226820"/>
                <a:gd name="connsiteY35" fmla="*/ 237678 h 237678"/>
                <a:gd name="connsiteX36" fmla="*/ 1152525 w 1226820"/>
                <a:gd name="connsiteY36" fmla="*/ 237678 h 237678"/>
                <a:gd name="connsiteX37" fmla="*/ 1185863 w 1226820"/>
                <a:gd name="connsiteY37" fmla="*/ 237678 h 237678"/>
                <a:gd name="connsiteX38" fmla="*/ 1209675 w 1226820"/>
                <a:gd name="connsiteY38" fmla="*/ 237678 h 237678"/>
                <a:gd name="connsiteX39" fmla="*/ 1222058 w 1226820"/>
                <a:gd name="connsiteY39" fmla="*/ 237678 h 237678"/>
                <a:gd name="connsiteX40" fmla="*/ 1225868 w 1226820"/>
                <a:gd name="connsiteY40" fmla="*/ 237678 h 237678"/>
                <a:gd name="connsiteX41" fmla="*/ 1226820 w 1226820"/>
                <a:gd name="connsiteY41" fmla="*/ 237678 h 237678"/>
                <a:gd name="connsiteX42" fmla="*/ 1226820 w 1226820"/>
                <a:gd name="connsiteY42" fmla="*/ 0 h 237678"/>
                <a:gd name="connsiteX43" fmla="*/ 1224915 w 1226820"/>
                <a:gd name="connsiteY43" fmla="*/ 0 h 237678"/>
                <a:gd name="connsiteX44" fmla="*/ 1217295 w 1226820"/>
                <a:gd name="connsiteY44" fmla="*/ 0 h 237678"/>
                <a:gd name="connsiteX45" fmla="*/ 1199198 w 1226820"/>
                <a:gd name="connsiteY45" fmla="*/ 0 h 237678"/>
                <a:gd name="connsiteX46" fmla="*/ 1170623 w 1226820"/>
                <a:gd name="connsiteY46" fmla="*/ 0 h 237678"/>
                <a:gd name="connsiteX47" fmla="*/ 1133475 w 1226820"/>
                <a:gd name="connsiteY47" fmla="*/ 0 h 237678"/>
                <a:gd name="connsiteX48" fmla="*/ 1094423 w 1226820"/>
                <a:gd name="connsiteY48" fmla="*/ 0 h 237678"/>
                <a:gd name="connsiteX49" fmla="*/ 1054418 w 1226820"/>
                <a:gd name="connsiteY49" fmla="*/ 0 h 237678"/>
                <a:gd name="connsiteX50" fmla="*/ 1017270 w 1226820"/>
                <a:gd name="connsiteY50" fmla="*/ 0 h 237678"/>
                <a:gd name="connsiteX51" fmla="*/ 982980 w 1226820"/>
                <a:gd name="connsiteY51" fmla="*/ 0 h 237678"/>
                <a:gd name="connsiteX52" fmla="*/ 949643 w 1226820"/>
                <a:gd name="connsiteY52" fmla="*/ 0 h 237678"/>
                <a:gd name="connsiteX53" fmla="*/ 918210 w 1226820"/>
                <a:gd name="connsiteY53" fmla="*/ 0 h 237678"/>
                <a:gd name="connsiteX54" fmla="*/ 885825 w 1226820"/>
                <a:gd name="connsiteY54" fmla="*/ 0 h 237678"/>
                <a:gd name="connsiteX55" fmla="*/ 868680 w 1226820"/>
                <a:gd name="connsiteY55" fmla="*/ 0 h 237678"/>
                <a:gd name="connsiteX56" fmla="*/ 840105 w 1226820"/>
                <a:gd name="connsiteY56" fmla="*/ 0 h 237678"/>
                <a:gd name="connsiteX57" fmla="*/ 809625 w 1226820"/>
                <a:gd name="connsiteY57" fmla="*/ 0 h 237678"/>
                <a:gd name="connsiteX58" fmla="*/ 777240 w 1226820"/>
                <a:gd name="connsiteY58" fmla="*/ 0 h 237678"/>
                <a:gd name="connsiteX59" fmla="*/ 742950 w 1226820"/>
                <a:gd name="connsiteY59" fmla="*/ 0 h 237678"/>
                <a:gd name="connsiteX60" fmla="*/ 706755 w 1226820"/>
                <a:gd name="connsiteY60" fmla="*/ 0 h 237678"/>
                <a:gd name="connsiteX61" fmla="*/ 669608 w 1226820"/>
                <a:gd name="connsiteY61" fmla="*/ 0 h 237678"/>
                <a:gd name="connsiteX62" fmla="*/ 631508 w 1226820"/>
                <a:gd name="connsiteY62" fmla="*/ 0 h 237678"/>
                <a:gd name="connsiteX63" fmla="*/ 593408 w 1226820"/>
                <a:gd name="connsiteY63" fmla="*/ 0 h 237678"/>
                <a:gd name="connsiteX64" fmla="*/ 555308 w 1226820"/>
                <a:gd name="connsiteY64" fmla="*/ 0 h 237678"/>
                <a:gd name="connsiteX65" fmla="*/ 517208 w 1226820"/>
                <a:gd name="connsiteY65" fmla="*/ 0 h 237678"/>
                <a:gd name="connsiteX66" fmla="*/ 481965 w 1226820"/>
                <a:gd name="connsiteY66" fmla="*/ 0 h 237678"/>
                <a:gd name="connsiteX67" fmla="*/ 447675 w 1226820"/>
                <a:gd name="connsiteY67" fmla="*/ 0 h 237678"/>
                <a:gd name="connsiteX68" fmla="*/ 415290 w 1226820"/>
                <a:gd name="connsiteY68" fmla="*/ 0 h 237678"/>
                <a:gd name="connsiteX69" fmla="*/ 384810 w 1226820"/>
                <a:gd name="connsiteY69" fmla="*/ 0 h 237678"/>
                <a:gd name="connsiteX70" fmla="*/ 357188 w 1226820"/>
                <a:gd name="connsiteY70" fmla="*/ 0 h 237678"/>
                <a:gd name="connsiteX71" fmla="*/ 324803 w 1226820"/>
                <a:gd name="connsiteY71" fmla="*/ 0 h 237678"/>
                <a:gd name="connsiteX72" fmla="*/ 292417 w 1226820"/>
                <a:gd name="connsiteY72" fmla="*/ 0 h 237678"/>
                <a:gd name="connsiteX73" fmla="*/ 260985 w 1226820"/>
                <a:gd name="connsiteY73" fmla="*/ 0 h 237678"/>
                <a:gd name="connsiteX74" fmla="*/ 226695 w 1226820"/>
                <a:gd name="connsiteY74" fmla="*/ 0 h 237678"/>
                <a:gd name="connsiteX75" fmla="*/ 190500 w 1226820"/>
                <a:gd name="connsiteY75" fmla="*/ 0 h 237678"/>
                <a:gd name="connsiteX76" fmla="*/ 152400 w 1226820"/>
                <a:gd name="connsiteY76" fmla="*/ 0 h 237678"/>
                <a:gd name="connsiteX77" fmla="*/ 112395 w 1226820"/>
                <a:gd name="connsiteY77" fmla="*/ 0 h 237678"/>
                <a:gd name="connsiteX78" fmla="*/ 73342 w 1226820"/>
                <a:gd name="connsiteY78" fmla="*/ 0 h 237678"/>
                <a:gd name="connsiteX79" fmla="*/ 40958 w 1226820"/>
                <a:gd name="connsiteY79" fmla="*/ 0 h 237678"/>
                <a:gd name="connsiteX80" fmla="*/ 17145 w 1226820"/>
                <a:gd name="connsiteY80" fmla="*/ 0 h 237678"/>
                <a:gd name="connsiteX81" fmla="*/ 3810 w 1226820"/>
                <a:gd name="connsiteY81" fmla="*/ 0 h 237678"/>
                <a:gd name="connsiteX82" fmla="*/ 0 w 1226820"/>
                <a:gd name="connsiteY82" fmla="*/ 0 h 237678"/>
                <a:gd name="connsiteX83" fmla="*/ 0 w 1226820"/>
                <a:gd name="connsiteY83" fmla="*/ 0 h 237678"/>
                <a:gd name="connsiteX84" fmla="*/ 0 w 1226820"/>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7678">
                  <a:moveTo>
                    <a:pt x="0" y="237678"/>
                  </a:moveTo>
                  <a:lnTo>
                    <a:pt x="953" y="237678"/>
                  </a:lnTo>
                  <a:lnTo>
                    <a:pt x="8573" y="237678"/>
                  </a:lnTo>
                  <a:lnTo>
                    <a:pt x="26670" y="237678"/>
                  </a:lnTo>
                  <a:lnTo>
                    <a:pt x="56198" y="237678"/>
                  </a:lnTo>
                  <a:lnTo>
                    <a:pt x="92392" y="237678"/>
                  </a:lnTo>
                  <a:lnTo>
                    <a:pt x="132398" y="237678"/>
                  </a:lnTo>
                  <a:lnTo>
                    <a:pt x="171450" y="237678"/>
                  </a:lnTo>
                  <a:lnTo>
                    <a:pt x="208598" y="237678"/>
                  </a:lnTo>
                  <a:lnTo>
                    <a:pt x="243840" y="237678"/>
                  </a:lnTo>
                  <a:lnTo>
                    <a:pt x="276225" y="237678"/>
                  </a:lnTo>
                  <a:lnTo>
                    <a:pt x="308610" y="237678"/>
                  </a:lnTo>
                  <a:lnTo>
                    <a:pt x="340995" y="237678"/>
                  </a:lnTo>
                  <a:lnTo>
                    <a:pt x="357188" y="237678"/>
                  </a:lnTo>
                  <a:lnTo>
                    <a:pt x="386715" y="237678"/>
                  </a:lnTo>
                  <a:lnTo>
                    <a:pt x="417195" y="237678"/>
                  </a:lnTo>
                  <a:lnTo>
                    <a:pt x="449580" y="237678"/>
                  </a:lnTo>
                  <a:lnTo>
                    <a:pt x="483870" y="237678"/>
                  </a:lnTo>
                  <a:lnTo>
                    <a:pt x="519113" y="237678"/>
                  </a:lnTo>
                  <a:lnTo>
                    <a:pt x="556260" y="237678"/>
                  </a:lnTo>
                  <a:lnTo>
                    <a:pt x="594360" y="237678"/>
                  </a:lnTo>
                  <a:lnTo>
                    <a:pt x="633413" y="237678"/>
                  </a:lnTo>
                  <a:lnTo>
                    <a:pt x="671513" y="237678"/>
                  </a:lnTo>
                  <a:lnTo>
                    <a:pt x="708660" y="237678"/>
                  </a:lnTo>
                  <a:lnTo>
                    <a:pt x="743902" y="237678"/>
                  </a:lnTo>
                  <a:lnTo>
                    <a:pt x="778193" y="237678"/>
                  </a:lnTo>
                  <a:lnTo>
                    <a:pt x="810577" y="237678"/>
                  </a:lnTo>
                  <a:lnTo>
                    <a:pt x="841058" y="237678"/>
                  </a:lnTo>
                  <a:lnTo>
                    <a:pt x="868680" y="237678"/>
                  </a:lnTo>
                  <a:lnTo>
                    <a:pt x="902018" y="237678"/>
                  </a:lnTo>
                  <a:lnTo>
                    <a:pt x="933450" y="237678"/>
                  </a:lnTo>
                  <a:lnTo>
                    <a:pt x="965835" y="237678"/>
                  </a:lnTo>
                  <a:lnTo>
                    <a:pt x="999173" y="237678"/>
                  </a:lnTo>
                  <a:lnTo>
                    <a:pt x="1035368" y="237678"/>
                  </a:lnTo>
                  <a:lnTo>
                    <a:pt x="1073468" y="237678"/>
                  </a:lnTo>
                  <a:lnTo>
                    <a:pt x="1113473" y="237678"/>
                  </a:lnTo>
                  <a:lnTo>
                    <a:pt x="1152525" y="237678"/>
                  </a:lnTo>
                  <a:lnTo>
                    <a:pt x="1185863" y="237678"/>
                  </a:lnTo>
                  <a:lnTo>
                    <a:pt x="1209675" y="237678"/>
                  </a:lnTo>
                  <a:lnTo>
                    <a:pt x="1222058" y="237678"/>
                  </a:lnTo>
                  <a:lnTo>
                    <a:pt x="1225868" y="237678"/>
                  </a:lnTo>
                  <a:lnTo>
                    <a:pt x="1226820" y="237678"/>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7678"/>
                  </a:lnTo>
                  <a:close/>
                </a:path>
              </a:pathLst>
            </a:custGeom>
            <a:noFill/>
            <a:ln w="9525" cap="flat">
              <a:solidFill>
                <a:srgbClr val="BBBDBF"/>
              </a:solidFill>
              <a:prstDash val="solid"/>
              <a:miter/>
            </a:ln>
          </p:spPr>
          <p:txBody>
            <a:bodyPr rtlCol="0" anchor="ctr"/>
            <a:lstStyle/>
            <a:p>
              <a:endParaRPr lang="en-US" sz="1050"/>
            </a:p>
          </p:txBody>
        </p:sp>
        <p:sp>
          <p:nvSpPr>
            <p:cNvPr id="169" name="Freeform 221">
              <a:extLst>
                <a:ext uri="{FF2B5EF4-FFF2-40B4-BE49-F238E27FC236}">
                  <a16:creationId xmlns:a16="http://schemas.microsoft.com/office/drawing/2014/main" id="{0C5908EA-E3AE-DDB1-1A64-EB195CCCA0EE}"/>
                </a:ext>
              </a:extLst>
            </p:cNvPr>
            <p:cNvSpPr/>
            <p:nvPr/>
          </p:nvSpPr>
          <p:spPr>
            <a:xfrm>
              <a:off x="2147856" y="2689980"/>
              <a:ext cx="1226820" cy="475356"/>
            </a:xfrm>
            <a:custGeom>
              <a:avLst/>
              <a:gdLst>
                <a:gd name="connsiteX0" fmla="*/ 0 w 1226820"/>
                <a:gd name="connsiteY0" fmla="*/ 475356 h 475356"/>
                <a:gd name="connsiteX1" fmla="*/ 953 w 1226820"/>
                <a:gd name="connsiteY1" fmla="*/ 474406 h 475356"/>
                <a:gd name="connsiteX2" fmla="*/ 8573 w 1226820"/>
                <a:gd name="connsiteY2" fmla="*/ 474406 h 475356"/>
                <a:gd name="connsiteX3" fmla="*/ 26670 w 1226820"/>
                <a:gd name="connsiteY3" fmla="*/ 474406 h 475356"/>
                <a:gd name="connsiteX4" fmla="*/ 55245 w 1226820"/>
                <a:gd name="connsiteY4" fmla="*/ 472504 h 475356"/>
                <a:gd name="connsiteX5" fmla="*/ 91440 w 1226820"/>
                <a:gd name="connsiteY5" fmla="*/ 471554 h 475356"/>
                <a:gd name="connsiteX6" fmla="*/ 131445 w 1226820"/>
                <a:gd name="connsiteY6" fmla="*/ 468701 h 475356"/>
                <a:gd name="connsiteX7" fmla="*/ 170498 w 1226820"/>
                <a:gd name="connsiteY7" fmla="*/ 465849 h 475356"/>
                <a:gd name="connsiteX8" fmla="*/ 207645 w 1226820"/>
                <a:gd name="connsiteY8" fmla="*/ 462046 h 475356"/>
                <a:gd name="connsiteX9" fmla="*/ 242888 w 1226820"/>
                <a:gd name="connsiteY9" fmla="*/ 458244 h 475356"/>
                <a:gd name="connsiteX10" fmla="*/ 275273 w 1226820"/>
                <a:gd name="connsiteY10" fmla="*/ 453490 h 475356"/>
                <a:gd name="connsiteX11" fmla="*/ 306705 w 1226820"/>
                <a:gd name="connsiteY11" fmla="*/ 446835 h 475356"/>
                <a:gd name="connsiteX12" fmla="*/ 339090 w 1226820"/>
                <a:gd name="connsiteY12" fmla="*/ 440180 h 475356"/>
                <a:gd name="connsiteX13" fmla="*/ 357188 w 1226820"/>
                <a:gd name="connsiteY13" fmla="*/ 435427 h 475356"/>
                <a:gd name="connsiteX14" fmla="*/ 385763 w 1226820"/>
                <a:gd name="connsiteY14" fmla="*/ 427821 h 475356"/>
                <a:gd name="connsiteX15" fmla="*/ 415290 w 1226820"/>
                <a:gd name="connsiteY15" fmla="*/ 419264 h 475356"/>
                <a:gd name="connsiteX16" fmla="*/ 446723 w 1226820"/>
                <a:gd name="connsiteY16" fmla="*/ 409757 h 475356"/>
                <a:gd name="connsiteX17" fmla="*/ 480060 w 1226820"/>
                <a:gd name="connsiteY17" fmla="*/ 399299 h 475356"/>
                <a:gd name="connsiteX18" fmla="*/ 515302 w 1226820"/>
                <a:gd name="connsiteY18" fmla="*/ 387891 h 475356"/>
                <a:gd name="connsiteX19" fmla="*/ 551498 w 1226820"/>
                <a:gd name="connsiteY19" fmla="*/ 376482 h 475356"/>
                <a:gd name="connsiteX20" fmla="*/ 588645 w 1226820"/>
                <a:gd name="connsiteY20" fmla="*/ 364123 h 475356"/>
                <a:gd name="connsiteX21" fmla="*/ 625793 w 1226820"/>
                <a:gd name="connsiteY21" fmla="*/ 351764 h 475356"/>
                <a:gd name="connsiteX22" fmla="*/ 663893 w 1226820"/>
                <a:gd name="connsiteY22" fmla="*/ 339405 h 475356"/>
                <a:gd name="connsiteX23" fmla="*/ 700088 w 1226820"/>
                <a:gd name="connsiteY23" fmla="*/ 327996 h 475356"/>
                <a:gd name="connsiteX24" fmla="*/ 735330 w 1226820"/>
                <a:gd name="connsiteY24" fmla="*/ 316587 h 475356"/>
                <a:gd name="connsiteX25" fmla="*/ 769620 w 1226820"/>
                <a:gd name="connsiteY25" fmla="*/ 305179 h 475356"/>
                <a:gd name="connsiteX26" fmla="*/ 801052 w 1226820"/>
                <a:gd name="connsiteY26" fmla="*/ 295672 h 475356"/>
                <a:gd name="connsiteX27" fmla="*/ 831533 w 1226820"/>
                <a:gd name="connsiteY27" fmla="*/ 287115 h 475356"/>
                <a:gd name="connsiteX28" fmla="*/ 860108 w 1226820"/>
                <a:gd name="connsiteY28" fmla="*/ 279510 h 475356"/>
                <a:gd name="connsiteX29" fmla="*/ 868680 w 1226820"/>
                <a:gd name="connsiteY29" fmla="*/ 276657 h 475356"/>
                <a:gd name="connsiteX30" fmla="*/ 901065 w 1226820"/>
                <a:gd name="connsiteY30" fmla="*/ 269052 h 475356"/>
                <a:gd name="connsiteX31" fmla="*/ 933450 w 1226820"/>
                <a:gd name="connsiteY31" fmla="*/ 262397 h 475356"/>
                <a:gd name="connsiteX32" fmla="*/ 964883 w 1226820"/>
                <a:gd name="connsiteY32" fmla="*/ 256693 h 475356"/>
                <a:gd name="connsiteX33" fmla="*/ 999173 w 1226820"/>
                <a:gd name="connsiteY33" fmla="*/ 251939 h 475356"/>
                <a:gd name="connsiteX34" fmla="*/ 1034415 w 1226820"/>
                <a:gd name="connsiteY34" fmla="*/ 248136 h 475356"/>
                <a:gd name="connsiteX35" fmla="*/ 1073468 w 1226820"/>
                <a:gd name="connsiteY35" fmla="*/ 245284 h 475356"/>
                <a:gd name="connsiteX36" fmla="*/ 1112520 w 1226820"/>
                <a:gd name="connsiteY36" fmla="*/ 242432 h 475356"/>
                <a:gd name="connsiteX37" fmla="*/ 1151573 w 1226820"/>
                <a:gd name="connsiteY37" fmla="*/ 240530 h 475356"/>
                <a:gd name="connsiteX38" fmla="*/ 1184910 w 1226820"/>
                <a:gd name="connsiteY38" fmla="*/ 238629 h 475356"/>
                <a:gd name="connsiteX39" fmla="*/ 1208723 w 1226820"/>
                <a:gd name="connsiteY39" fmla="*/ 237678 h 475356"/>
                <a:gd name="connsiteX40" fmla="*/ 1222058 w 1226820"/>
                <a:gd name="connsiteY40" fmla="*/ 237678 h 475356"/>
                <a:gd name="connsiteX41" fmla="*/ 1225868 w 1226820"/>
                <a:gd name="connsiteY41" fmla="*/ 237678 h 475356"/>
                <a:gd name="connsiteX42" fmla="*/ 1226820 w 1226820"/>
                <a:gd name="connsiteY42" fmla="*/ 237678 h 475356"/>
                <a:gd name="connsiteX43" fmla="*/ 1226820 w 1226820"/>
                <a:gd name="connsiteY43" fmla="*/ 0 h 475356"/>
                <a:gd name="connsiteX44" fmla="*/ 1224915 w 1226820"/>
                <a:gd name="connsiteY44" fmla="*/ 0 h 475356"/>
                <a:gd name="connsiteX45" fmla="*/ 1217295 w 1226820"/>
                <a:gd name="connsiteY45" fmla="*/ 0 h 475356"/>
                <a:gd name="connsiteX46" fmla="*/ 1199198 w 1226820"/>
                <a:gd name="connsiteY46" fmla="*/ 951 h 475356"/>
                <a:gd name="connsiteX47" fmla="*/ 1170623 w 1226820"/>
                <a:gd name="connsiteY47" fmla="*/ 1901 h 475356"/>
                <a:gd name="connsiteX48" fmla="*/ 1134427 w 1226820"/>
                <a:gd name="connsiteY48" fmla="*/ 3803 h 475356"/>
                <a:gd name="connsiteX49" fmla="*/ 1095375 w 1226820"/>
                <a:gd name="connsiteY49" fmla="*/ 5704 h 475356"/>
                <a:gd name="connsiteX50" fmla="*/ 1055370 w 1226820"/>
                <a:gd name="connsiteY50" fmla="*/ 8556 h 475356"/>
                <a:gd name="connsiteX51" fmla="*/ 1018223 w 1226820"/>
                <a:gd name="connsiteY51" fmla="*/ 12359 h 475356"/>
                <a:gd name="connsiteX52" fmla="*/ 983933 w 1226820"/>
                <a:gd name="connsiteY52" fmla="*/ 17113 h 475356"/>
                <a:gd name="connsiteX53" fmla="*/ 950595 w 1226820"/>
                <a:gd name="connsiteY53" fmla="*/ 21866 h 475356"/>
                <a:gd name="connsiteX54" fmla="*/ 919163 w 1226820"/>
                <a:gd name="connsiteY54" fmla="*/ 27571 h 475356"/>
                <a:gd name="connsiteX55" fmla="*/ 886777 w 1226820"/>
                <a:gd name="connsiteY55" fmla="*/ 35176 h 475356"/>
                <a:gd name="connsiteX56" fmla="*/ 868680 w 1226820"/>
                <a:gd name="connsiteY56" fmla="*/ 39930 h 475356"/>
                <a:gd name="connsiteX57" fmla="*/ 840105 w 1226820"/>
                <a:gd name="connsiteY57" fmla="*/ 47536 h 475356"/>
                <a:gd name="connsiteX58" fmla="*/ 810577 w 1226820"/>
                <a:gd name="connsiteY58" fmla="*/ 55141 h 475356"/>
                <a:gd name="connsiteX59" fmla="*/ 779145 w 1226820"/>
                <a:gd name="connsiteY59" fmla="*/ 64648 h 475356"/>
                <a:gd name="connsiteX60" fmla="*/ 745808 w 1226820"/>
                <a:gd name="connsiteY60" fmla="*/ 75106 h 475356"/>
                <a:gd name="connsiteX61" fmla="*/ 710565 w 1226820"/>
                <a:gd name="connsiteY61" fmla="*/ 86515 h 475356"/>
                <a:gd name="connsiteX62" fmla="*/ 674370 w 1226820"/>
                <a:gd name="connsiteY62" fmla="*/ 98874 h 475356"/>
                <a:gd name="connsiteX63" fmla="*/ 637223 w 1226820"/>
                <a:gd name="connsiteY63" fmla="*/ 110283 h 475356"/>
                <a:gd name="connsiteX64" fmla="*/ 600075 w 1226820"/>
                <a:gd name="connsiteY64" fmla="*/ 122642 h 475356"/>
                <a:gd name="connsiteX65" fmla="*/ 562927 w 1226820"/>
                <a:gd name="connsiteY65" fmla="*/ 135001 h 475356"/>
                <a:gd name="connsiteX66" fmla="*/ 525780 w 1226820"/>
                <a:gd name="connsiteY66" fmla="*/ 147361 h 475356"/>
                <a:gd name="connsiteX67" fmla="*/ 490538 w 1226820"/>
                <a:gd name="connsiteY67" fmla="*/ 158769 h 475356"/>
                <a:gd name="connsiteX68" fmla="*/ 457200 w 1226820"/>
                <a:gd name="connsiteY68" fmla="*/ 169227 h 475356"/>
                <a:gd name="connsiteX69" fmla="*/ 424815 w 1226820"/>
                <a:gd name="connsiteY69" fmla="*/ 178734 h 475356"/>
                <a:gd name="connsiteX70" fmla="*/ 394335 w 1226820"/>
                <a:gd name="connsiteY70" fmla="*/ 188241 h 475356"/>
                <a:gd name="connsiteX71" fmla="*/ 365760 w 1226820"/>
                <a:gd name="connsiteY71" fmla="*/ 195847 h 475356"/>
                <a:gd name="connsiteX72" fmla="*/ 357188 w 1226820"/>
                <a:gd name="connsiteY72" fmla="*/ 197748 h 475356"/>
                <a:gd name="connsiteX73" fmla="*/ 324803 w 1226820"/>
                <a:gd name="connsiteY73" fmla="*/ 205354 h 475356"/>
                <a:gd name="connsiteX74" fmla="*/ 292417 w 1226820"/>
                <a:gd name="connsiteY74" fmla="*/ 212960 h 475356"/>
                <a:gd name="connsiteX75" fmla="*/ 260985 w 1226820"/>
                <a:gd name="connsiteY75" fmla="*/ 217713 h 475356"/>
                <a:gd name="connsiteX76" fmla="*/ 227648 w 1226820"/>
                <a:gd name="connsiteY76" fmla="*/ 222467 h 475356"/>
                <a:gd name="connsiteX77" fmla="*/ 191453 w 1226820"/>
                <a:gd name="connsiteY77" fmla="*/ 226270 h 475356"/>
                <a:gd name="connsiteX78" fmla="*/ 153353 w 1226820"/>
                <a:gd name="connsiteY78" fmla="*/ 230073 h 475356"/>
                <a:gd name="connsiteX79" fmla="*/ 113348 w 1226820"/>
                <a:gd name="connsiteY79" fmla="*/ 232925 h 475356"/>
                <a:gd name="connsiteX80" fmla="*/ 74295 w 1226820"/>
                <a:gd name="connsiteY80" fmla="*/ 234826 h 475356"/>
                <a:gd name="connsiteX81" fmla="*/ 40958 w 1226820"/>
                <a:gd name="connsiteY81" fmla="*/ 235777 h 475356"/>
                <a:gd name="connsiteX82" fmla="*/ 17145 w 1226820"/>
                <a:gd name="connsiteY82" fmla="*/ 236728 h 475356"/>
                <a:gd name="connsiteX83" fmla="*/ 3810 w 1226820"/>
                <a:gd name="connsiteY83" fmla="*/ 237678 h 475356"/>
                <a:gd name="connsiteX84" fmla="*/ 0 w 1226820"/>
                <a:gd name="connsiteY84" fmla="*/ 237678 h 475356"/>
                <a:gd name="connsiteX85" fmla="*/ 0 w 1226820"/>
                <a:gd name="connsiteY85" fmla="*/ 237678 h 475356"/>
                <a:gd name="connsiteX86" fmla="*/ 0 w 1226820"/>
                <a:gd name="connsiteY86" fmla="*/ 475356 h 475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26820" h="475356">
                  <a:moveTo>
                    <a:pt x="0" y="475356"/>
                  </a:moveTo>
                  <a:lnTo>
                    <a:pt x="953" y="474406"/>
                  </a:lnTo>
                  <a:lnTo>
                    <a:pt x="8573" y="474406"/>
                  </a:lnTo>
                  <a:lnTo>
                    <a:pt x="26670" y="474406"/>
                  </a:lnTo>
                  <a:lnTo>
                    <a:pt x="55245" y="472504"/>
                  </a:lnTo>
                  <a:lnTo>
                    <a:pt x="91440" y="471554"/>
                  </a:lnTo>
                  <a:lnTo>
                    <a:pt x="131445" y="468701"/>
                  </a:lnTo>
                  <a:lnTo>
                    <a:pt x="170498" y="465849"/>
                  </a:lnTo>
                  <a:lnTo>
                    <a:pt x="207645" y="462046"/>
                  </a:lnTo>
                  <a:lnTo>
                    <a:pt x="242888" y="458244"/>
                  </a:lnTo>
                  <a:lnTo>
                    <a:pt x="275273" y="453490"/>
                  </a:lnTo>
                  <a:lnTo>
                    <a:pt x="306705" y="446835"/>
                  </a:lnTo>
                  <a:lnTo>
                    <a:pt x="339090" y="440180"/>
                  </a:lnTo>
                  <a:lnTo>
                    <a:pt x="357188" y="435427"/>
                  </a:lnTo>
                  <a:lnTo>
                    <a:pt x="385763" y="427821"/>
                  </a:lnTo>
                  <a:lnTo>
                    <a:pt x="415290" y="419264"/>
                  </a:lnTo>
                  <a:lnTo>
                    <a:pt x="446723" y="409757"/>
                  </a:lnTo>
                  <a:lnTo>
                    <a:pt x="480060" y="399299"/>
                  </a:lnTo>
                  <a:lnTo>
                    <a:pt x="515302" y="387891"/>
                  </a:lnTo>
                  <a:lnTo>
                    <a:pt x="551498" y="376482"/>
                  </a:lnTo>
                  <a:lnTo>
                    <a:pt x="588645" y="364123"/>
                  </a:lnTo>
                  <a:lnTo>
                    <a:pt x="625793" y="351764"/>
                  </a:lnTo>
                  <a:lnTo>
                    <a:pt x="663893" y="339405"/>
                  </a:lnTo>
                  <a:lnTo>
                    <a:pt x="700088" y="327996"/>
                  </a:lnTo>
                  <a:lnTo>
                    <a:pt x="735330" y="316587"/>
                  </a:lnTo>
                  <a:lnTo>
                    <a:pt x="769620" y="305179"/>
                  </a:lnTo>
                  <a:lnTo>
                    <a:pt x="801052" y="295672"/>
                  </a:lnTo>
                  <a:lnTo>
                    <a:pt x="831533" y="287115"/>
                  </a:lnTo>
                  <a:lnTo>
                    <a:pt x="860108" y="279510"/>
                  </a:lnTo>
                  <a:lnTo>
                    <a:pt x="868680" y="276657"/>
                  </a:lnTo>
                  <a:lnTo>
                    <a:pt x="901065" y="269052"/>
                  </a:lnTo>
                  <a:lnTo>
                    <a:pt x="933450" y="262397"/>
                  </a:lnTo>
                  <a:lnTo>
                    <a:pt x="964883" y="256693"/>
                  </a:lnTo>
                  <a:lnTo>
                    <a:pt x="999173" y="251939"/>
                  </a:lnTo>
                  <a:lnTo>
                    <a:pt x="1034415" y="248136"/>
                  </a:lnTo>
                  <a:lnTo>
                    <a:pt x="1073468" y="245284"/>
                  </a:lnTo>
                  <a:lnTo>
                    <a:pt x="1112520" y="242432"/>
                  </a:lnTo>
                  <a:lnTo>
                    <a:pt x="1151573" y="240530"/>
                  </a:lnTo>
                  <a:lnTo>
                    <a:pt x="1184910" y="238629"/>
                  </a:lnTo>
                  <a:lnTo>
                    <a:pt x="1208723" y="237678"/>
                  </a:lnTo>
                  <a:lnTo>
                    <a:pt x="1222058" y="237678"/>
                  </a:lnTo>
                  <a:lnTo>
                    <a:pt x="1225868" y="237678"/>
                  </a:lnTo>
                  <a:lnTo>
                    <a:pt x="1226820" y="237678"/>
                  </a:lnTo>
                  <a:lnTo>
                    <a:pt x="1226820" y="0"/>
                  </a:lnTo>
                  <a:lnTo>
                    <a:pt x="1224915" y="0"/>
                  </a:lnTo>
                  <a:lnTo>
                    <a:pt x="1217295" y="0"/>
                  </a:lnTo>
                  <a:lnTo>
                    <a:pt x="1199198" y="951"/>
                  </a:lnTo>
                  <a:lnTo>
                    <a:pt x="1170623" y="1901"/>
                  </a:lnTo>
                  <a:lnTo>
                    <a:pt x="1134427" y="3803"/>
                  </a:lnTo>
                  <a:lnTo>
                    <a:pt x="1095375" y="5704"/>
                  </a:lnTo>
                  <a:lnTo>
                    <a:pt x="1055370" y="8556"/>
                  </a:lnTo>
                  <a:lnTo>
                    <a:pt x="1018223" y="12359"/>
                  </a:lnTo>
                  <a:lnTo>
                    <a:pt x="983933" y="17113"/>
                  </a:lnTo>
                  <a:lnTo>
                    <a:pt x="950595" y="21866"/>
                  </a:lnTo>
                  <a:lnTo>
                    <a:pt x="919163" y="27571"/>
                  </a:lnTo>
                  <a:lnTo>
                    <a:pt x="886777" y="35176"/>
                  </a:lnTo>
                  <a:lnTo>
                    <a:pt x="868680" y="39930"/>
                  </a:lnTo>
                  <a:lnTo>
                    <a:pt x="840105" y="47536"/>
                  </a:lnTo>
                  <a:lnTo>
                    <a:pt x="810577" y="55141"/>
                  </a:lnTo>
                  <a:lnTo>
                    <a:pt x="779145" y="64648"/>
                  </a:lnTo>
                  <a:lnTo>
                    <a:pt x="745808" y="75106"/>
                  </a:lnTo>
                  <a:lnTo>
                    <a:pt x="710565" y="86515"/>
                  </a:lnTo>
                  <a:lnTo>
                    <a:pt x="674370" y="98874"/>
                  </a:lnTo>
                  <a:lnTo>
                    <a:pt x="637223" y="110283"/>
                  </a:lnTo>
                  <a:lnTo>
                    <a:pt x="600075" y="122642"/>
                  </a:lnTo>
                  <a:lnTo>
                    <a:pt x="562927" y="135001"/>
                  </a:lnTo>
                  <a:lnTo>
                    <a:pt x="525780" y="147361"/>
                  </a:lnTo>
                  <a:lnTo>
                    <a:pt x="490538" y="158769"/>
                  </a:lnTo>
                  <a:lnTo>
                    <a:pt x="457200" y="169227"/>
                  </a:lnTo>
                  <a:lnTo>
                    <a:pt x="424815" y="178734"/>
                  </a:lnTo>
                  <a:lnTo>
                    <a:pt x="394335" y="188241"/>
                  </a:lnTo>
                  <a:lnTo>
                    <a:pt x="365760" y="195847"/>
                  </a:lnTo>
                  <a:lnTo>
                    <a:pt x="357188" y="197748"/>
                  </a:lnTo>
                  <a:lnTo>
                    <a:pt x="324803" y="205354"/>
                  </a:lnTo>
                  <a:lnTo>
                    <a:pt x="292417" y="212960"/>
                  </a:lnTo>
                  <a:lnTo>
                    <a:pt x="260985" y="217713"/>
                  </a:lnTo>
                  <a:lnTo>
                    <a:pt x="227648" y="222467"/>
                  </a:lnTo>
                  <a:lnTo>
                    <a:pt x="191453" y="226270"/>
                  </a:lnTo>
                  <a:lnTo>
                    <a:pt x="153353" y="230073"/>
                  </a:lnTo>
                  <a:lnTo>
                    <a:pt x="113348" y="232925"/>
                  </a:lnTo>
                  <a:lnTo>
                    <a:pt x="74295" y="234826"/>
                  </a:lnTo>
                  <a:lnTo>
                    <a:pt x="40958" y="235777"/>
                  </a:lnTo>
                  <a:lnTo>
                    <a:pt x="17145" y="236728"/>
                  </a:lnTo>
                  <a:lnTo>
                    <a:pt x="3810" y="237678"/>
                  </a:lnTo>
                  <a:lnTo>
                    <a:pt x="0" y="237678"/>
                  </a:lnTo>
                  <a:lnTo>
                    <a:pt x="0" y="237678"/>
                  </a:lnTo>
                  <a:lnTo>
                    <a:pt x="0" y="475356"/>
                  </a:lnTo>
                  <a:close/>
                </a:path>
              </a:pathLst>
            </a:custGeom>
            <a:solidFill>
              <a:srgbClr val="BBBDBF">
                <a:alpha val="60000"/>
              </a:srgbClr>
            </a:solidFill>
            <a:ln w="9525" cap="flat">
              <a:noFill/>
              <a:prstDash val="solid"/>
              <a:miter/>
            </a:ln>
          </p:spPr>
          <p:txBody>
            <a:bodyPr rtlCol="0" anchor="ctr"/>
            <a:lstStyle/>
            <a:p>
              <a:endParaRPr lang="en-US" sz="1050"/>
            </a:p>
          </p:txBody>
        </p:sp>
        <p:sp>
          <p:nvSpPr>
            <p:cNvPr id="170" name="Freeform 222">
              <a:extLst>
                <a:ext uri="{FF2B5EF4-FFF2-40B4-BE49-F238E27FC236}">
                  <a16:creationId xmlns:a16="http://schemas.microsoft.com/office/drawing/2014/main" id="{CB473DB3-F135-0C05-8651-C83B4A52D004}"/>
                </a:ext>
              </a:extLst>
            </p:cNvPr>
            <p:cNvSpPr/>
            <p:nvPr/>
          </p:nvSpPr>
          <p:spPr>
            <a:xfrm>
              <a:off x="2147856" y="2689980"/>
              <a:ext cx="1226820" cy="475356"/>
            </a:xfrm>
            <a:custGeom>
              <a:avLst/>
              <a:gdLst>
                <a:gd name="connsiteX0" fmla="*/ 0 w 1226820"/>
                <a:gd name="connsiteY0" fmla="*/ 475356 h 475356"/>
                <a:gd name="connsiteX1" fmla="*/ 953 w 1226820"/>
                <a:gd name="connsiteY1" fmla="*/ 474406 h 475356"/>
                <a:gd name="connsiteX2" fmla="*/ 8573 w 1226820"/>
                <a:gd name="connsiteY2" fmla="*/ 474406 h 475356"/>
                <a:gd name="connsiteX3" fmla="*/ 26670 w 1226820"/>
                <a:gd name="connsiteY3" fmla="*/ 474406 h 475356"/>
                <a:gd name="connsiteX4" fmla="*/ 55245 w 1226820"/>
                <a:gd name="connsiteY4" fmla="*/ 472504 h 475356"/>
                <a:gd name="connsiteX5" fmla="*/ 91440 w 1226820"/>
                <a:gd name="connsiteY5" fmla="*/ 471554 h 475356"/>
                <a:gd name="connsiteX6" fmla="*/ 131445 w 1226820"/>
                <a:gd name="connsiteY6" fmla="*/ 468701 h 475356"/>
                <a:gd name="connsiteX7" fmla="*/ 170498 w 1226820"/>
                <a:gd name="connsiteY7" fmla="*/ 465849 h 475356"/>
                <a:gd name="connsiteX8" fmla="*/ 207645 w 1226820"/>
                <a:gd name="connsiteY8" fmla="*/ 462046 h 475356"/>
                <a:gd name="connsiteX9" fmla="*/ 242888 w 1226820"/>
                <a:gd name="connsiteY9" fmla="*/ 458244 h 475356"/>
                <a:gd name="connsiteX10" fmla="*/ 275273 w 1226820"/>
                <a:gd name="connsiteY10" fmla="*/ 453490 h 475356"/>
                <a:gd name="connsiteX11" fmla="*/ 306705 w 1226820"/>
                <a:gd name="connsiteY11" fmla="*/ 446835 h 475356"/>
                <a:gd name="connsiteX12" fmla="*/ 339090 w 1226820"/>
                <a:gd name="connsiteY12" fmla="*/ 440180 h 475356"/>
                <a:gd name="connsiteX13" fmla="*/ 357188 w 1226820"/>
                <a:gd name="connsiteY13" fmla="*/ 435427 h 475356"/>
                <a:gd name="connsiteX14" fmla="*/ 385763 w 1226820"/>
                <a:gd name="connsiteY14" fmla="*/ 427821 h 475356"/>
                <a:gd name="connsiteX15" fmla="*/ 415290 w 1226820"/>
                <a:gd name="connsiteY15" fmla="*/ 419264 h 475356"/>
                <a:gd name="connsiteX16" fmla="*/ 446723 w 1226820"/>
                <a:gd name="connsiteY16" fmla="*/ 409757 h 475356"/>
                <a:gd name="connsiteX17" fmla="*/ 480060 w 1226820"/>
                <a:gd name="connsiteY17" fmla="*/ 399299 h 475356"/>
                <a:gd name="connsiteX18" fmla="*/ 515302 w 1226820"/>
                <a:gd name="connsiteY18" fmla="*/ 387891 h 475356"/>
                <a:gd name="connsiteX19" fmla="*/ 551498 w 1226820"/>
                <a:gd name="connsiteY19" fmla="*/ 376482 h 475356"/>
                <a:gd name="connsiteX20" fmla="*/ 588645 w 1226820"/>
                <a:gd name="connsiteY20" fmla="*/ 364123 h 475356"/>
                <a:gd name="connsiteX21" fmla="*/ 625793 w 1226820"/>
                <a:gd name="connsiteY21" fmla="*/ 351764 h 475356"/>
                <a:gd name="connsiteX22" fmla="*/ 663893 w 1226820"/>
                <a:gd name="connsiteY22" fmla="*/ 339405 h 475356"/>
                <a:gd name="connsiteX23" fmla="*/ 700088 w 1226820"/>
                <a:gd name="connsiteY23" fmla="*/ 327996 h 475356"/>
                <a:gd name="connsiteX24" fmla="*/ 735330 w 1226820"/>
                <a:gd name="connsiteY24" fmla="*/ 316587 h 475356"/>
                <a:gd name="connsiteX25" fmla="*/ 769620 w 1226820"/>
                <a:gd name="connsiteY25" fmla="*/ 305179 h 475356"/>
                <a:gd name="connsiteX26" fmla="*/ 801052 w 1226820"/>
                <a:gd name="connsiteY26" fmla="*/ 295672 h 475356"/>
                <a:gd name="connsiteX27" fmla="*/ 831533 w 1226820"/>
                <a:gd name="connsiteY27" fmla="*/ 287115 h 475356"/>
                <a:gd name="connsiteX28" fmla="*/ 860108 w 1226820"/>
                <a:gd name="connsiteY28" fmla="*/ 279510 h 475356"/>
                <a:gd name="connsiteX29" fmla="*/ 868680 w 1226820"/>
                <a:gd name="connsiteY29" fmla="*/ 276657 h 475356"/>
                <a:gd name="connsiteX30" fmla="*/ 901065 w 1226820"/>
                <a:gd name="connsiteY30" fmla="*/ 269052 h 475356"/>
                <a:gd name="connsiteX31" fmla="*/ 933450 w 1226820"/>
                <a:gd name="connsiteY31" fmla="*/ 262397 h 475356"/>
                <a:gd name="connsiteX32" fmla="*/ 964883 w 1226820"/>
                <a:gd name="connsiteY32" fmla="*/ 256693 h 475356"/>
                <a:gd name="connsiteX33" fmla="*/ 999173 w 1226820"/>
                <a:gd name="connsiteY33" fmla="*/ 251939 h 475356"/>
                <a:gd name="connsiteX34" fmla="*/ 1034415 w 1226820"/>
                <a:gd name="connsiteY34" fmla="*/ 248136 h 475356"/>
                <a:gd name="connsiteX35" fmla="*/ 1073468 w 1226820"/>
                <a:gd name="connsiteY35" fmla="*/ 245284 h 475356"/>
                <a:gd name="connsiteX36" fmla="*/ 1112520 w 1226820"/>
                <a:gd name="connsiteY36" fmla="*/ 242432 h 475356"/>
                <a:gd name="connsiteX37" fmla="*/ 1151573 w 1226820"/>
                <a:gd name="connsiteY37" fmla="*/ 240530 h 475356"/>
                <a:gd name="connsiteX38" fmla="*/ 1184910 w 1226820"/>
                <a:gd name="connsiteY38" fmla="*/ 238629 h 475356"/>
                <a:gd name="connsiteX39" fmla="*/ 1208723 w 1226820"/>
                <a:gd name="connsiteY39" fmla="*/ 237678 h 475356"/>
                <a:gd name="connsiteX40" fmla="*/ 1222058 w 1226820"/>
                <a:gd name="connsiteY40" fmla="*/ 237678 h 475356"/>
                <a:gd name="connsiteX41" fmla="*/ 1225868 w 1226820"/>
                <a:gd name="connsiteY41" fmla="*/ 237678 h 475356"/>
                <a:gd name="connsiteX42" fmla="*/ 1226820 w 1226820"/>
                <a:gd name="connsiteY42" fmla="*/ 237678 h 475356"/>
                <a:gd name="connsiteX43" fmla="*/ 1226820 w 1226820"/>
                <a:gd name="connsiteY43" fmla="*/ 0 h 475356"/>
                <a:gd name="connsiteX44" fmla="*/ 1224915 w 1226820"/>
                <a:gd name="connsiteY44" fmla="*/ 0 h 475356"/>
                <a:gd name="connsiteX45" fmla="*/ 1217295 w 1226820"/>
                <a:gd name="connsiteY45" fmla="*/ 0 h 475356"/>
                <a:gd name="connsiteX46" fmla="*/ 1199198 w 1226820"/>
                <a:gd name="connsiteY46" fmla="*/ 951 h 475356"/>
                <a:gd name="connsiteX47" fmla="*/ 1170623 w 1226820"/>
                <a:gd name="connsiteY47" fmla="*/ 1901 h 475356"/>
                <a:gd name="connsiteX48" fmla="*/ 1134427 w 1226820"/>
                <a:gd name="connsiteY48" fmla="*/ 3803 h 475356"/>
                <a:gd name="connsiteX49" fmla="*/ 1095375 w 1226820"/>
                <a:gd name="connsiteY49" fmla="*/ 5704 h 475356"/>
                <a:gd name="connsiteX50" fmla="*/ 1055370 w 1226820"/>
                <a:gd name="connsiteY50" fmla="*/ 8556 h 475356"/>
                <a:gd name="connsiteX51" fmla="*/ 1018223 w 1226820"/>
                <a:gd name="connsiteY51" fmla="*/ 12359 h 475356"/>
                <a:gd name="connsiteX52" fmla="*/ 983933 w 1226820"/>
                <a:gd name="connsiteY52" fmla="*/ 17113 h 475356"/>
                <a:gd name="connsiteX53" fmla="*/ 950595 w 1226820"/>
                <a:gd name="connsiteY53" fmla="*/ 21866 h 475356"/>
                <a:gd name="connsiteX54" fmla="*/ 919163 w 1226820"/>
                <a:gd name="connsiteY54" fmla="*/ 27571 h 475356"/>
                <a:gd name="connsiteX55" fmla="*/ 886777 w 1226820"/>
                <a:gd name="connsiteY55" fmla="*/ 35176 h 475356"/>
                <a:gd name="connsiteX56" fmla="*/ 868680 w 1226820"/>
                <a:gd name="connsiteY56" fmla="*/ 39930 h 475356"/>
                <a:gd name="connsiteX57" fmla="*/ 840105 w 1226820"/>
                <a:gd name="connsiteY57" fmla="*/ 47536 h 475356"/>
                <a:gd name="connsiteX58" fmla="*/ 810577 w 1226820"/>
                <a:gd name="connsiteY58" fmla="*/ 55141 h 475356"/>
                <a:gd name="connsiteX59" fmla="*/ 779145 w 1226820"/>
                <a:gd name="connsiteY59" fmla="*/ 64648 h 475356"/>
                <a:gd name="connsiteX60" fmla="*/ 745808 w 1226820"/>
                <a:gd name="connsiteY60" fmla="*/ 75106 h 475356"/>
                <a:gd name="connsiteX61" fmla="*/ 710565 w 1226820"/>
                <a:gd name="connsiteY61" fmla="*/ 86515 h 475356"/>
                <a:gd name="connsiteX62" fmla="*/ 674370 w 1226820"/>
                <a:gd name="connsiteY62" fmla="*/ 98874 h 475356"/>
                <a:gd name="connsiteX63" fmla="*/ 637223 w 1226820"/>
                <a:gd name="connsiteY63" fmla="*/ 110283 h 475356"/>
                <a:gd name="connsiteX64" fmla="*/ 600075 w 1226820"/>
                <a:gd name="connsiteY64" fmla="*/ 122642 h 475356"/>
                <a:gd name="connsiteX65" fmla="*/ 562927 w 1226820"/>
                <a:gd name="connsiteY65" fmla="*/ 135001 h 475356"/>
                <a:gd name="connsiteX66" fmla="*/ 525780 w 1226820"/>
                <a:gd name="connsiteY66" fmla="*/ 147361 h 475356"/>
                <a:gd name="connsiteX67" fmla="*/ 490538 w 1226820"/>
                <a:gd name="connsiteY67" fmla="*/ 158769 h 475356"/>
                <a:gd name="connsiteX68" fmla="*/ 457200 w 1226820"/>
                <a:gd name="connsiteY68" fmla="*/ 169227 h 475356"/>
                <a:gd name="connsiteX69" fmla="*/ 424815 w 1226820"/>
                <a:gd name="connsiteY69" fmla="*/ 178734 h 475356"/>
                <a:gd name="connsiteX70" fmla="*/ 394335 w 1226820"/>
                <a:gd name="connsiteY70" fmla="*/ 188241 h 475356"/>
                <a:gd name="connsiteX71" fmla="*/ 365760 w 1226820"/>
                <a:gd name="connsiteY71" fmla="*/ 195847 h 475356"/>
                <a:gd name="connsiteX72" fmla="*/ 357188 w 1226820"/>
                <a:gd name="connsiteY72" fmla="*/ 197748 h 475356"/>
                <a:gd name="connsiteX73" fmla="*/ 324803 w 1226820"/>
                <a:gd name="connsiteY73" fmla="*/ 205354 h 475356"/>
                <a:gd name="connsiteX74" fmla="*/ 292417 w 1226820"/>
                <a:gd name="connsiteY74" fmla="*/ 212960 h 475356"/>
                <a:gd name="connsiteX75" fmla="*/ 260985 w 1226820"/>
                <a:gd name="connsiteY75" fmla="*/ 217713 h 475356"/>
                <a:gd name="connsiteX76" fmla="*/ 227648 w 1226820"/>
                <a:gd name="connsiteY76" fmla="*/ 222467 h 475356"/>
                <a:gd name="connsiteX77" fmla="*/ 191453 w 1226820"/>
                <a:gd name="connsiteY77" fmla="*/ 226270 h 475356"/>
                <a:gd name="connsiteX78" fmla="*/ 153353 w 1226820"/>
                <a:gd name="connsiteY78" fmla="*/ 230073 h 475356"/>
                <a:gd name="connsiteX79" fmla="*/ 113348 w 1226820"/>
                <a:gd name="connsiteY79" fmla="*/ 232925 h 475356"/>
                <a:gd name="connsiteX80" fmla="*/ 74295 w 1226820"/>
                <a:gd name="connsiteY80" fmla="*/ 234826 h 475356"/>
                <a:gd name="connsiteX81" fmla="*/ 40958 w 1226820"/>
                <a:gd name="connsiteY81" fmla="*/ 235777 h 475356"/>
                <a:gd name="connsiteX82" fmla="*/ 17145 w 1226820"/>
                <a:gd name="connsiteY82" fmla="*/ 236728 h 475356"/>
                <a:gd name="connsiteX83" fmla="*/ 3810 w 1226820"/>
                <a:gd name="connsiteY83" fmla="*/ 237678 h 475356"/>
                <a:gd name="connsiteX84" fmla="*/ 0 w 1226820"/>
                <a:gd name="connsiteY84" fmla="*/ 237678 h 475356"/>
                <a:gd name="connsiteX85" fmla="*/ 0 w 1226820"/>
                <a:gd name="connsiteY85" fmla="*/ 237678 h 475356"/>
                <a:gd name="connsiteX86" fmla="*/ 0 w 1226820"/>
                <a:gd name="connsiteY86" fmla="*/ 475356 h 475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26820" h="475356">
                  <a:moveTo>
                    <a:pt x="0" y="475356"/>
                  </a:moveTo>
                  <a:lnTo>
                    <a:pt x="953" y="474406"/>
                  </a:lnTo>
                  <a:lnTo>
                    <a:pt x="8573" y="474406"/>
                  </a:lnTo>
                  <a:lnTo>
                    <a:pt x="26670" y="474406"/>
                  </a:lnTo>
                  <a:lnTo>
                    <a:pt x="55245" y="472504"/>
                  </a:lnTo>
                  <a:lnTo>
                    <a:pt x="91440" y="471554"/>
                  </a:lnTo>
                  <a:lnTo>
                    <a:pt x="131445" y="468701"/>
                  </a:lnTo>
                  <a:lnTo>
                    <a:pt x="170498" y="465849"/>
                  </a:lnTo>
                  <a:lnTo>
                    <a:pt x="207645" y="462046"/>
                  </a:lnTo>
                  <a:lnTo>
                    <a:pt x="242888" y="458244"/>
                  </a:lnTo>
                  <a:lnTo>
                    <a:pt x="275273" y="453490"/>
                  </a:lnTo>
                  <a:lnTo>
                    <a:pt x="306705" y="446835"/>
                  </a:lnTo>
                  <a:lnTo>
                    <a:pt x="339090" y="440180"/>
                  </a:lnTo>
                  <a:lnTo>
                    <a:pt x="357188" y="435427"/>
                  </a:lnTo>
                  <a:lnTo>
                    <a:pt x="385763" y="427821"/>
                  </a:lnTo>
                  <a:lnTo>
                    <a:pt x="415290" y="419264"/>
                  </a:lnTo>
                  <a:lnTo>
                    <a:pt x="446723" y="409757"/>
                  </a:lnTo>
                  <a:lnTo>
                    <a:pt x="480060" y="399299"/>
                  </a:lnTo>
                  <a:lnTo>
                    <a:pt x="515302" y="387891"/>
                  </a:lnTo>
                  <a:lnTo>
                    <a:pt x="551498" y="376482"/>
                  </a:lnTo>
                  <a:lnTo>
                    <a:pt x="588645" y="364123"/>
                  </a:lnTo>
                  <a:lnTo>
                    <a:pt x="625793" y="351764"/>
                  </a:lnTo>
                  <a:lnTo>
                    <a:pt x="663893" y="339405"/>
                  </a:lnTo>
                  <a:lnTo>
                    <a:pt x="700088" y="327996"/>
                  </a:lnTo>
                  <a:lnTo>
                    <a:pt x="735330" y="316587"/>
                  </a:lnTo>
                  <a:lnTo>
                    <a:pt x="769620" y="305179"/>
                  </a:lnTo>
                  <a:lnTo>
                    <a:pt x="801052" y="295672"/>
                  </a:lnTo>
                  <a:lnTo>
                    <a:pt x="831533" y="287115"/>
                  </a:lnTo>
                  <a:lnTo>
                    <a:pt x="860108" y="279510"/>
                  </a:lnTo>
                  <a:lnTo>
                    <a:pt x="868680" y="276657"/>
                  </a:lnTo>
                  <a:lnTo>
                    <a:pt x="901065" y="269052"/>
                  </a:lnTo>
                  <a:lnTo>
                    <a:pt x="933450" y="262397"/>
                  </a:lnTo>
                  <a:lnTo>
                    <a:pt x="964883" y="256693"/>
                  </a:lnTo>
                  <a:lnTo>
                    <a:pt x="999173" y="251939"/>
                  </a:lnTo>
                  <a:lnTo>
                    <a:pt x="1034415" y="248136"/>
                  </a:lnTo>
                  <a:lnTo>
                    <a:pt x="1073468" y="245284"/>
                  </a:lnTo>
                  <a:lnTo>
                    <a:pt x="1112520" y="242432"/>
                  </a:lnTo>
                  <a:lnTo>
                    <a:pt x="1151573" y="240530"/>
                  </a:lnTo>
                  <a:lnTo>
                    <a:pt x="1184910" y="238629"/>
                  </a:lnTo>
                  <a:lnTo>
                    <a:pt x="1208723" y="237678"/>
                  </a:lnTo>
                  <a:lnTo>
                    <a:pt x="1222058" y="237678"/>
                  </a:lnTo>
                  <a:lnTo>
                    <a:pt x="1225868" y="237678"/>
                  </a:lnTo>
                  <a:lnTo>
                    <a:pt x="1226820" y="237678"/>
                  </a:lnTo>
                  <a:lnTo>
                    <a:pt x="1226820" y="0"/>
                  </a:lnTo>
                  <a:lnTo>
                    <a:pt x="1224915" y="0"/>
                  </a:lnTo>
                  <a:lnTo>
                    <a:pt x="1217295" y="0"/>
                  </a:lnTo>
                  <a:lnTo>
                    <a:pt x="1199198" y="951"/>
                  </a:lnTo>
                  <a:lnTo>
                    <a:pt x="1170623" y="1901"/>
                  </a:lnTo>
                  <a:lnTo>
                    <a:pt x="1134427" y="3803"/>
                  </a:lnTo>
                  <a:lnTo>
                    <a:pt x="1095375" y="5704"/>
                  </a:lnTo>
                  <a:lnTo>
                    <a:pt x="1055370" y="8556"/>
                  </a:lnTo>
                  <a:lnTo>
                    <a:pt x="1018223" y="12359"/>
                  </a:lnTo>
                  <a:lnTo>
                    <a:pt x="983933" y="17113"/>
                  </a:lnTo>
                  <a:lnTo>
                    <a:pt x="950595" y="21866"/>
                  </a:lnTo>
                  <a:lnTo>
                    <a:pt x="919163" y="27571"/>
                  </a:lnTo>
                  <a:lnTo>
                    <a:pt x="886777" y="35176"/>
                  </a:lnTo>
                  <a:lnTo>
                    <a:pt x="868680" y="39930"/>
                  </a:lnTo>
                  <a:lnTo>
                    <a:pt x="840105" y="47536"/>
                  </a:lnTo>
                  <a:lnTo>
                    <a:pt x="810577" y="55141"/>
                  </a:lnTo>
                  <a:lnTo>
                    <a:pt x="779145" y="64648"/>
                  </a:lnTo>
                  <a:lnTo>
                    <a:pt x="745808" y="75106"/>
                  </a:lnTo>
                  <a:lnTo>
                    <a:pt x="710565" y="86515"/>
                  </a:lnTo>
                  <a:lnTo>
                    <a:pt x="674370" y="98874"/>
                  </a:lnTo>
                  <a:lnTo>
                    <a:pt x="637223" y="110283"/>
                  </a:lnTo>
                  <a:lnTo>
                    <a:pt x="600075" y="122642"/>
                  </a:lnTo>
                  <a:lnTo>
                    <a:pt x="562927" y="135001"/>
                  </a:lnTo>
                  <a:lnTo>
                    <a:pt x="525780" y="147361"/>
                  </a:lnTo>
                  <a:lnTo>
                    <a:pt x="490538" y="158769"/>
                  </a:lnTo>
                  <a:lnTo>
                    <a:pt x="457200" y="169227"/>
                  </a:lnTo>
                  <a:lnTo>
                    <a:pt x="424815" y="178734"/>
                  </a:lnTo>
                  <a:lnTo>
                    <a:pt x="394335" y="188241"/>
                  </a:lnTo>
                  <a:lnTo>
                    <a:pt x="365760" y="195847"/>
                  </a:lnTo>
                  <a:lnTo>
                    <a:pt x="357188" y="197748"/>
                  </a:lnTo>
                  <a:lnTo>
                    <a:pt x="324803" y="205354"/>
                  </a:lnTo>
                  <a:lnTo>
                    <a:pt x="292417" y="212960"/>
                  </a:lnTo>
                  <a:lnTo>
                    <a:pt x="260985" y="217713"/>
                  </a:lnTo>
                  <a:lnTo>
                    <a:pt x="227648" y="222467"/>
                  </a:lnTo>
                  <a:lnTo>
                    <a:pt x="191453" y="226270"/>
                  </a:lnTo>
                  <a:lnTo>
                    <a:pt x="153353" y="230073"/>
                  </a:lnTo>
                  <a:lnTo>
                    <a:pt x="113348" y="232925"/>
                  </a:lnTo>
                  <a:lnTo>
                    <a:pt x="74295" y="234826"/>
                  </a:lnTo>
                  <a:lnTo>
                    <a:pt x="40958" y="235777"/>
                  </a:lnTo>
                  <a:lnTo>
                    <a:pt x="17145" y="236728"/>
                  </a:lnTo>
                  <a:lnTo>
                    <a:pt x="3810" y="237678"/>
                  </a:lnTo>
                  <a:lnTo>
                    <a:pt x="0" y="237678"/>
                  </a:lnTo>
                  <a:lnTo>
                    <a:pt x="0" y="237678"/>
                  </a:lnTo>
                  <a:lnTo>
                    <a:pt x="0" y="475356"/>
                  </a:lnTo>
                  <a:close/>
                </a:path>
              </a:pathLst>
            </a:custGeom>
            <a:noFill/>
            <a:ln w="9525" cap="flat">
              <a:solidFill>
                <a:srgbClr val="BBBDBF"/>
              </a:solidFill>
              <a:prstDash val="solid"/>
              <a:miter/>
            </a:ln>
          </p:spPr>
          <p:txBody>
            <a:bodyPr rtlCol="0" anchor="ctr"/>
            <a:lstStyle/>
            <a:p>
              <a:endParaRPr lang="en-US" sz="1050"/>
            </a:p>
          </p:txBody>
        </p:sp>
        <p:sp>
          <p:nvSpPr>
            <p:cNvPr id="171" name="Freeform 223">
              <a:extLst>
                <a:ext uri="{FF2B5EF4-FFF2-40B4-BE49-F238E27FC236}">
                  <a16:creationId xmlns:a16="http://schemas.microsoft.com/office/drawing/2014/main" id="{8BA8AE9F-A5A2-893E-020C-AFB5A51FB567}"/>
                </a:ext>
              </a:extLst>
            </p:cNvPr>
            <p:cNvSpPr/>
            <p:nvPr/>
          </p:nvSpPr>
          <p:spPr>
            <a:xfrm>
              <a:off x="2147856" y="5540218"/>
              <a:ext cx="1226820" cy="236727"/>
            </a:xfrm>
            <a:custGeom>
              <a:avLst/>
              <a:gdLst>
                <a:gd name="connsiteX0" fmla="*/ 0 w 1226820"/>
                <a:gd name="connsiteY0" fmla="*/ 236727 h 236727"/>
                <a:gd name="connsiteX1" fmla="*/ 953 w 1226820"/>
                <a:gd name="connsiteY1" fmla="*/ 236727 h 236727"/>
                <a:gd name="connsiteX2" fmla="*/ 8573 w 1226820"/>
                <a:gd name="connsiteY2" fmla="*/ 236727 h 236727"/>
                <a:gd name="connsiteX3" fmla="*/ 26670 w 1226820"/>
                <a:gd name="connsiteY3" fmla="*/ 236727 h 236727"/>
                <a:gd name="connsiteX4" fmla="*/ 56198 w 1226820"/>
                <a:gd name="connsiteY4" fmla="*/ 236727 h 236727"/>
                <a:gd name="connsiteX5" fmla="*/ 92392 w 1226820"/>
                <a:gd name="connsiteY5" fmla="*/ 236727 h 236727"/>
                <a:gd name="connsiteX6" fmla="*/ 132398 w 1226820"/>
                <a:gd name="connsiteY6" fmla="*/ 236727 h 236727"/>
                <a:gd name="connsiteX7" fmla="*/ 171450 w 1226820"/>
                <a:gd name="connsiteY7" fmla="*/ 236727 h 236727"/>
                <a:gd name="connsiteX8" fmla="*/ 208598 w 1226820"/>
                <a:gd name="connsiteY8" fmla="*/ 236727 h 236727"/>
                <a:gd name="connsiteX9" fmla="*/ 243840 w 1226820"/>
                <a:gd name="connsiteY9" fmla="*/ 236727 h 236727"/>
                <a:gd name="connsiteX10" fmla="*/ 276225 w 1226820"/>
                <a:gd name="connsiteY10" fmla="*/ 236727 h 236727"/>
                <a:gd name="connsiteX11" fmla="*/ 308610 w 1226820"/>
                <a:gd name="connsiteY11" fmla="*/ 236727 h 236727"/>
                <a:gd name="connsiteX12" fmla="*/ 340995 w 1226820"/>
                <a:gd name="connsiteY12" fmla="*/ 236727 h 236727"/>
                <a:gd name="connsiteX13" fmla="*/ 357188 w 1226820"/>
                <a:gd name="connsiteY13" fmla="*/ 236727 h 236727"/>
                <a:gd name="connsiteX14" fmla="*/ 386715 w 1226820"/>
                <a:gd name="connsiteY14" fmla="*/ 236727 h 236727"/>
                <a:gd name="connsiteX15" fmla="*/ 417195 w 1226820"/>
                <a:gd name="connsiteY15" fmla="*/ 236727 h 236727"/>
                <a:gd name="connsiteX16" fmla="*/ 449580 w 1226820"/>
                <a:gd name="connsiteY16" fmla="*/ 236727 h 236727"/>
                <a:gd name="connsiteX17" fmla="*/ 483870 w 1226820"/>
                <a:gd name="connsiteY17" fmla="*/ 236727 h 236727"/>
                <a:gd name="connsiteX18" fmla="*/ 519113 w 1226820"/>
                <a:gd name="connsiteY18" fmla="*/ 236727 h 236727"/>
                <a:gd name="connsiteX19" fmla="*/ 556260 w 1226820"/>
                <a:gd name="connsiteY19" fmla="*/ 236727 h 236727"/>
                <a:gd name="connsiteX20" fmla="*/ 594360 w 1226820"/>
                <a:gd name="connsiteY20" fmla="*/ 236727 h 236727"/>
                <a:gd name="connsiteX21" fmla="*/ 633413 w 1226820"/>
                <a:gd name="connsiteY21" fmla="*/ 236727 h 236727"/>
                <a:gd name="connsiteX22" fmla="*/ 671513 w 1226820"/>
                <a:gd name="connsiteY22" fmla="*/ 236727 h 236727"/>
                <a:gd name="connsiteX23" fmla="*/ 708660 w 1226820"/>
                <a:gd name="connsiteY23" fmla="*/ 236727 h 236727"/>
                <a:gd name="connsiteX24" fmla="*/ 743902 w 1226820"/>
                <a:gd name="connsiteY24" fmla="*/ 236727 h 236727"/>
                <a:gd name="connsiteX25" fmla="*/ 778193 w 1226820"/>
                <a:gd name="connsiteY25" fmla="*/ 236727 h 236727"/>
                <a:gd name="connsiteX26" fmla="*/ 810577 w 1226820"/>
                <a:gd name="connsiteY26" fmla="*/ 236727 h 236727"/>
                <a:gd name="connsiteX27" fmla="*/ 841058 w 1226820"/>
                <a:gd name="connsiteY27" fmla="*/ 236727 h 236727"/>
                <a:gd name="connsiteX28" fmla="*/ 868680 w 1226820"/>
                <a:gd name="connsiteY28" fmla="*/ 236727 h 236727"/>
                <a:gd name="connsiteX29" fmla="*/ 902018 w 1226820"/>
                <a:gd name="connsiteY29" fmla="*/ 236727 h 236727"/>
                <a:gd name="connsiteX30" fmla="*/ 933450 w 1226820"/>
                <a:gd name="connsiteY30" fmla="*/ 236727 h 236727"/>
                <a:gd name="connsiteX31" fmla="*/ 965835 w 1226820"/>
                <a:gd name="connsiteY31" fmla="*/ 236727 h 236727"/>
                <a:gd name="connsiteX32" fmla="*/ 999173 w 1226820"/>
                <a:gd name="connsiteY32" fmla="*/ 236727 h 236727"/>
                <a:gd name="connsiteX33" fmla="*/ 1035368 w 1226820"/>
                <a:gd name="connsiteY33" fmla="*/ 236727 h 236727"/>
                <a:gd name="connsiteX34" fmla="*/ 1073468 w 1226820"/>
                <a:gd name="connsiteY34" fmla="*/ 236727 h 236727"/>
                <a:gd name="connsiteX35" fmla="*/ 1113473 w 1226820"/>
                <a:gd name="connsiteY35" fmla="*/ 236727 h 236727"/>
                <a:gd name="connsiteX36" fmla="*/ 1152525 w 1226820"/>
                <a:gd name="connsiteY36" fmla="*/ 236727 h 236727"/>
                <a:gd name="connsiteX37" fmla="*/ 1185863 w 1226820"/>
                <a:gd name="connsiteY37" fmla="*/ 236727 h 236727"/>
                <a:gd name="connsiteX38" fmla="*/ 1209675 w 1226820"/>
                <a:gd name="connsiteY38" fmla="*/ 236727 h 236727"/>
                <a:gd name="connsiteX39" fmla="*/ 1222058 w 1226820"/>
                <a:gd name="connsiteY39" fmla="*/ 236727 h 236727"/>
                <a:gd name="connsiteX40" fmla="*/ 1225868 w 1226820"/>
                <a:gd name="connsiteY40" fmla="*/ 236727 h 236727"/>
                <a:gd name="connsiteX41" fmla="*/ 1226820 w 1226820"/>
                <a:gd name="connsiteY41" fmla="*/ 236727 h 236727"/>
                <a:gd name="connsiteX42" fmla="*/ 1226820 w 1226820"/>
                <a:gd name="connsiteY42" fmla="*/ 0 h 236727"/>
                <a:gd name="connsiteX43" fmla="*/ 1224915 w 1226820"/>
                <a:gd name="connsiteY43" fmla="*/ 0 h 236727"/>
                <a:gd name="connsiteX44" fmla="*/ 1217295 w 1226820"/>
                <a:gd name="connsiteY44" fmla="*/ 0 h 236727"/>
                <a:gd name="connsiteX45" fmla="*/ 1199198 w 1226820"/>
                <a:gd name="connsiteY45" fmla="*/ 0 h 236727"/>
                <a:gd name="connsiteX46" fmla="*/ 1170623 w 1226820"/>
                <a:gd name="connsiteY46" fmla="*/ 0 h 236727"/>
                <a:gd name="connsiteX47" fmla="*/ 1133475 w 1226820"/>
                <a:gd name="connsiteY47" fmla="*/ 0 h 236727"/>
                <a:gd name="connsiteX48" fmla="*/ 1094423 w 1226820"/>
                <a:gd name="connsiteY48" fmla="*/ 0 h 236727"/>
                <a:gd name="connsiteX49" fmla="*/ 1054418 w 1226820"/>
                <a:gd name="connsiteY49" fmla="*/ 0 h 236727"/>
                <a:gd name="connsiteX50" fmla="*/ 1017270 w 1226820"/>
                <a:gd name="connsiteY50" fmla="*/ 0 h 236727"/>
                <a:gd name="connsiteX51" fmla="*/ 982980 w 1226820"/>
                <a:gd name="connsiteY51" fmla="*/ 0 h 236727"/>
                <a:gd name="connsiteX52" fmla="*/ 949643 w 1226820"/>
                <a:gd name="connsiteY52" fmla="*/ 0 h 236727"/>
                <a:gd name="connsiteX53" fmla="*/ 918210 w 1226820"/>
                <a:gd name="connsiteY53" fmla="*/ 0 h 236727"/>
                <a:gd name="connsiteX54" fmla="*/ 885825 w 1226820"/>
                <a:gd name="connsiteY54" fmla="*/ 0 h 236727"/>
                <a:gd name="connsiteX55" fmla="*/ 868680 w 1226820"/>
                <a:gd name="connsiteY55" fmla="*/ 0 h 236727"/>
                <a:gd name="connsiteX56" fmla="*/ 840105 w 1226820"/>
                <a:gd name="connsiteY56" fmla="*/ 0 h 236727"/>
                <a:gd name="connsiteX57" fmla="*/ 809625 w 1226820"/>
                <a:gd name="connsiteY57" fmla="*/ 0 h 236727"/>
                <a:gd name="connsiteX58" fmla="*/ 777240 w 1226820"/>
                <a:gd name="connsiteY58" fmla="*/ 0 h 236727"/>
                <a:gd name="connsiteX59" fmla="*/ 742950 w 1226820"/>
                <a:gd name="connsiteY59" fmla="*/ 0 h 236727"/>
                <a:gd name="connsiteX60" fmla="*/ 706755 w 1226820"/>
                <a:gd name="connsiteY60" fmla="*/ 0 h 236727"/>
                <a:gd name="connsiteX61" fmla="*/ 669608 w 1226820"/>
                <a:gd name="connsiteY61" fmla="*/ 0 h 236727"/>
                <a:gd name="connsiteX62" fmla="*/ 631508 w 1226820"/>
                <a:gd name="connsiteY62" fmla="*/ 0 h 236727"/>
                <a:gd name="connsiteX63" fmla="*/ 593408 w 1226820"/>
                <a:gd name="connsiteY63" fmla="*/ 0 h 236727"/>
                <a:gd name="connsiteX64" fmla="*/ 555308 w 1226820"/>
                <a:gd name="connsiteY64" fmla="*/ 0 h 236727"/>
                <a:gd name="connsiteX65" fmla="*/ 517208 w 1226820"/>
                <a:gd name="connsiteY65" fmla="*/ 0 h 236727"/>
                <a:gd name="connsiteX66" fmla="*/ 481965 w 1226820"/>
                <a:gd name="connsiteY66" fmla="*/ 0 h 236727"/>
                <a:gd name="connsiteX67" fmla="*/ 447675 w 1226820"/>
                <a:gd name="connsiteY67" fmla="*/ 0 h 236727"/>
                <a:gd name="connsiteX68" fmla="*/ 415290 w 1226820"/>
                <a:gd name="connsiteY68" fmla="*/ 0 h 236727"/>
                <a:gd name="connsiteX69" fmla="*/ 384810 w 1226820"/>
                <a:gd name="connsiteY69" fmla="*/ 0 h 236727"/>
                <a:gd name="connsiteX70" fmla="*/ 357188 w 1226820"/>
                <a:gd name="connsiteY70" fmla="*/ 0 h 236727"/>
                <a:gd name="connsiteX71" fmla="*/ 324803 w 1226820"/>
                <a:gd name="connsiteY71" fmla="*/ 0 h 236727"/>
                <a:gd name="connsiteX72" fmla="*/ 292417 w 1226820"/>
                <a:gd name="connsiteY72" fmla="*/ 0 h 236727"/>
                <a:gd name="connsiteX73" fmla="*/ 260985 w 1226820"/>
                <a:gd name="connsiteY73" fmla="*/ 0 h 236727"/>
                <a:gd name="connsiteX74" fmla="*/ 226695 w 1226820"/>
                <a:gd name="connsiteY74" fmla="*/ 0 h 236727"/>
                <a:gd name="connsiteX75" fmla="*/ 190500 w 1226820"/>
                <a:gd name="connsiteY75" fmla="*/ 0 h 236727"/>
                <a:gd name="connsiteX76" fmla="*/ 152400 w 1226820"/>
                <a:gd name="connsiteY76" fmla="*/ 0 h 236727"/>
                <a:gd name="connsiteX77" fmla="*/ 112395 w 1226820"/>
                <a:gd name="connsiteY77" fmla="*/ 0 h 236727"/>
                <a:gd name="connsiteX78" fmla="*/ 73342 w 1226820"/>
                <a:gd name="connsiteY78" fmla="*/ 0 h 236727"/>
                <a:gd name="connsiteX79" fmla="*/ 40958 w 1226820"/>
                <a:gd name="connsiteY79" fmla="*/ 0 h 236727"/>
                <a:gd name="connsiteX80" fmla="*/ 17145 w 1226820"/>
                <a:gd name="connsiteY80" fmla="*/ 0 h 236727"/>
                <a:gd name="connsiteX81" fmla="*/ 3810 w 1226820"/>
                <a:gd name="connsiteY81" fmla="*/ 0 h 236727"/>
                <a:gd name="connsiteX82" fmla="*/ 0 w 1226820"/>
                <a:gd name="connsiteY82" fmla="*/ 0 h 236727"/>
                <a:gd name="connsiteX83" fmla="*/ 0 w 1226820"/>
                <a:gd name="connsiteY83" fmla="*/ 0 h 236727"/>
                <a:gd name="connsiteX84" fmla="*/ 0 w 1226820"/>
                <a:gd name="connsiteY84" fmla="*/ 236727 h 2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6727">
                  <a:moveTo>
                    <a:pt x="0" y="236727"/>
                  </a:moveTo>
                  <a:lnTo>
                    <a:pt x="953" y="236727"/>
                  </a:lnTo>
                  <a:lnTo>
                    <a:pt x="8573" y="236727"/>
                  </a:lnTo>
                  <a:lnTo>
                    <a:pt x="26670" y="236727"/>
                  </a:lnTo>
                  <a:lnTo>
                    <a:pt x="56198" y="236727"/>
                  </a:lnTo>
                  <a:lnTo>
                    <a:pt x="92392" y="236727"/>
                  </a:lnTo>
                  <a:lnTo>
                    <a:pt x="132398" y="236727"/>
                  </a:lnTo>
                  <a:lnTo>
                    <a:pt x="171450" y="236727"/>
                  </a:lnTo>
                  <a:lnTo>
                    <a:pt x="208598" y="236727"/>
                  </a:lnTo>
                  <a:lnTo>
                    <a:pt x="243840" y="236727"/>
                  </a:lnTo>
                  <a:lnTo>
                    <a:pt x="276225" y="236727"/>
                  </a:lnTo>
                  <a:lnTo>
                    <a:pt x="308610" y="236727"/>
                  </a:lnTo>
                  <a:lnTo>
                    <a:pt x="340995" y="236727"/>
                  </a:lnTo>
                  <a:lnTo>
                    <a:pt x="357188" y="236727"/>
                  </a:lnTo>
                  <a:lnTo>
                    <a:pt x="386715" y="236727"/>
                  </a:lnTo>
                  <a:lnTo>
                    <a:pt x="417195" y="236727"/>
                  </a:lnTo>
                  <a:lnTo>
                    <a:pt x="449580" y="236727"/>
                  </a:lnTo>
                  <a:lnTo>
                    <a:pt x="483870" y="236727"/>
                  </a:lnTo>
                  <a:lnTo>
                    <a:pt x="519113" y="236727"/>
                  </a:lnTo>
                  <a:lnTo>
                    <a:pt x="556260" y="236727"/>
                  </a:lnTo>
                  <a:lnTo>
                    <a:pt x="594360" y="236727"/>
                  </a:lnTo>
                  <a:lnTo>
                    <a:pt x="633413" y="236727"/>
                  </a:lnTo>
                  <a:lnTo>
                    <a:pt x="671513" y="236727"/>
                  </a:lnTo>
                  <a:lnTo>
                    <a:pt x="708660" y="236727"/>
                  </a:lnTo>
                  <a:lnTo>
                    <a:pt x="743902" y="236727"/>
                  </a:lnTo>
                  <a:lnTo>
                    <a:pt x="778193" y="236727"/>
                  </a:lnTo>
                  <a:lnTo>
                    <a:pt x="810577" y="236727"/>
                  </a:lnTo>
                  <a:lnTo>
                    <a:pt x="841058" y="236727"/>
                  </a:lnTo>
                  <a:lnTo>
                    <a:pt x="868680" y="236727"/>
                  </a:lnTo>
                  <a:lnTo>
                    <a:pt x="902018" y="236727"/>
                  </a:lnTo>
                  <a:lnTo>
                    <a:pt x="933450" y="236727"/>
                  </a:lnTo>
                  <a:lnTo>
                    <a:pt x="965835" y="236727"/>
                  </a:lnTo>
                  <a:lnTo>
                    <a:pt x="999173" y="236727"/>
                  </a:lnTo>
                  <a:lnTo>
                    <a:pt x="1035368" y="236727"/>
                  </a:lnTo>
                  <a:lnTo>
                    <a:pt x="1073468" y="236727"/>
                  </a:lnTo>
                  <a:lnTo>
                    <a:pt x="1113473" y="236727"/>
                  </a:lnTo>
                  <a:lnTo>
                    <a:pt x="1152525" y="236727"/>
                  </a:lnTo>
                  <a:lnTo>
                    <a:pt x="1185863" y="236727"/>
                  </a:lnTo>
                  <a:lnTo>
                    <a:pt x="1209675" y="236727"/>
                  </a:lnTo>
                  <a:lnTo>
                    <a:pt x="1222058" y="236727"/>
                  </a:lnTo>
                  <a:lnTo>
                    <a:pt x="1225868" y="236727"/>
                  </a:lnTo>
                  <a:lnTo>
                    <a:pt x="1226820" y="236727"/>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6727"/>
                  </a:lnTo>
                  <a:close/>
                </a:path>
              </a:pathLst>
            </a:custGeom>
            <a:solidFill>
              <a:srgbClr val="BBBDBF">
                <a:alpha val="60000"/>
              </a:srgbClr>
            </a:solidFill>
            <a:ln w="9525" cap="flat">
              <a:noFill/>
              <a:prstDash val="solid"/>
              <a:miter/>
            </a:ln>
          </p:spPr>
          <p:txBody>
            <a:bodyPr rtlCol="0" anchor="ctr"/>
            <a:lstStyle/>
            <a:p>
              <a:endParaRPr lang="en-US" sz="1050"/>
            </a:p>
          </p:txBody>
        </p:sp>
        <p:sp>
          <p:nvSpPr>
            <p:cNvPr id="172" name="Freeform 224">
              <a:extLst>
                <a:ext uri="{FF2B5EF4-FFF2-40B4-BE49-F238E27FC236}">
                  <a16:creationId xmlns:a16="http://schemas.microsoft.com/office/drawing/2014/main" id="{229A8C14-E944-753F-A48A-80A23D59CF64}"/>
                </a:ext>
              </a:extLst>
            </p:cNvPr>
            <p:cNvSpPr/>
            <p:nvPr/>
          </p:nvSpPr>
          <p:spPr>
            <a:xfrm>
              <a:off x="2147856" y="5540218"/>
              <a:ext cx="1226820" cy="236727"/>
            </a:xfrm>
            <a:custGeom>
              <a:avLst/>
              <a:gdLst>
                <a:gd name="connsiteX0" fmla="*/ 0 w 1226820"/>
                <a:gd name="connsiteY0" fmla="*/ 236727 h 236727"/>
                <a:gd name="connsiteX1" fmla="*/ 953 w 1226820"/>
                <a:gd name="connsiteY1" fmla="*/ 236727 h 236727"/>
                <a:gd name="connsiteX2" fmla="*/ 8573 w 1226820"/>
                <a:gd name="connsiteY2" fmla="*/ 236727 h 236727"/>
                <a:gd name="connsiteX3" fmla="*/ 26670 w 1226820"/>
                <a:gd name="connsiteY3" fmla="*/ 236727 h 236727"/>
                <a:gd name="connsiteX4" fmla="*/ 56198 w 1226820"/>
                <a:gd name="connsiteY4" fmla="*/ 236727 h 236727"/>
                <a:gd name="connsiteX5" fmla="*/ 92392 w 1226820"/>
                <a:gd name="connsiteY5" fmla="*/ 236727 h 236727"/>
                <a:gd name="connsiteX6" fmla="*/ 132398 w 1226820"/>
                <a:gd name="connsiteY6" fmla="*/ 236727 h 236727"/>
                <a:gd name="connsiteX7" fmla="*/ 171450 w 1226820"/>
                <a:gd name="connsiteY7" fmla="*/ 236727 h 236727"/>
                <a:gd name="connsiteX8" fmla="*/ 208598 w 1226820"/>
                <a:gd name="connsiteY8" fmla="*/ 236727 h 236727"/>
                <a:gd name="connsiteX9" fmla="*/ 243840 w 1226820"/>
                <a:gd name="connsiteY9" fmla="*/ 236727 h 236727"/>
                <a:gd name="connsiteX10" fmla="*/ 276225 w 1226820"/>
                <a:gd name="connsiteY10" fmla="*/ 236727 h 236727"/>
                <a:gd name="connsiteX11" fmla="*/ 308610 w 1226820"/>
                <a:gd name="connsiteY11" fmla="*/ 236727 h 236727"/>
                <a:gd name="connsiteX12" fmla="*/ 340995 w 1226820"/>
                <a:gd name="connsiteY12" fmla="*/ 236727 h 236727"/>
                <a:gd name="connsiteX13" fmla="*/ 357188 w 1226820"/>
                <a:gd name="connsiteY13" fmla="*/ 236727 h 236727"/>
                <a:gd name="connsiteX14" fmla="*/ 386715 w 1226820"/>
                <a:gd name="connsiteY14" fmla="*/ 236727 h 236727"/>
                <a:gd name="connsiteX15" fmla="*/ 417195 w 1226820"/>
                <a:gd name="connsiteY15" fmla="*/ 236727 h 236727"/>
                <a:gd name="connsiteX16" fmla="*/ 449580 w 1226820"/>
                <a:gd name="connsiteY16" fmla="*/ 236727 h 236727"/>
                <a:gd name="connsiteX17" fmla="*/ 483870 w 1226820"/>
                <a:gd name="connsiteY17" fmla="*/ 236727 h 236727"/>
                <a:gd name="connsiteX18" fmla="*/ 519113 w 1226820"/>
                <a:gd name="connsiteY18" fmla="*/ 236727 h 236727"/>
                <a:gd name="connsiteX19" fmla="*/ 556260 w 1226820"/>
                <a:gd name="connsiteY19" fmla="*/ 236727 h 236727"/>
                <a:gd name="connsiteX20" fmla="*/ 594360 w 1226820"/>
                <a:gd name="connsiteY20" fmla="*/ 236727 h 236727"/>
                <a:gd name="connsiteX21" fmla="*/ 633413 w 1226820"/>
                <a:gd name="connsiteY21" fmla="*/ 236727 h 236727"/>
                <a:gd name="connsiteX22" fmla="*/ 671513 w 1226820"/>
                <a:gd name="connsiteY22" fmla="*/ 236727 h 236727"/>
                <a:gd name="connsiteX23" fmla="*/ 708660 w 1226820"/>
                <a:gd name="connsiteY23" fmla="*/ 236727 h 236727"/>
                <a:gd name="connsiteX24" fmla="*/ 743902 w 1226820"/>
                <a:gd name="connsiteY24" fmla="*/ 236727 h 236727"/>
                <a:gd name="connsiteX25" fmla="*/ 778193 w 1226820"/>
                <a:gd name="connsiteY25" fmla="*/ 236727 h 236727"/>
                <a:gd name="connsiteX26" fmla="*/ 810577 w 1226820"/>
                <a:gd name="connsiteY26" fmla="*/ 236727 h 236727"/>
                <a:gd name="connsiteX27" fmla="*/ 841058 w 1226820"/>
                <a:gd name="connsiteY27" fmla="*/ 236727 h 236727"/>
                <a:gd name="connsiteX28" fmla="*/ 868680 w 1226820"/>
                <a:gd name="connsiteY28" fmla="*/ 236727 h 236727"/>
                <a:gd name="connsiteX29" fmla="*/ 902018 w 1226820"/>
                <a:gd name="connsiteY29" fmla="*/ 236727 h 236727"/>
                <a:gd name="connsiteX30" fmla="*/ 933450 w 1226820"/>
                <a:gd name="connsiteY30" fmla="*/ 236727 h 236727"/>
                <a:gd name="connsiteX31" fmla="*/ 965835 w 1226820"/>
                <a:gd name="connsiteY31" fmla="*/ 236727 h 236727"/>
                <a:gd name="connsiteX32" fmla="*/ 999173 w 1226820"/>
                <a:gd name="connsiteY32" fmla="*/ 236727 h 236727"/>
                <a:gd name="connsiteX33" fmla="*/ 1035368 w 1226820"/>
                <a:gd name="connsiteY33" fmla="*/ 236727 h 236727"/>
                <a:gd name="connsiteX34" fmla="*/ 1073468 w 1226820"/>
                <a:gd name="connsiteY34" fmla="*/ 236727 h 236727"/>
                <a:gd name="connsiteX35" fmla="*/ 1113473 w 1226820"/>
                <a:gd name="connsiteY35" fmla="*/ 236727 h 236727"/>
                <a:gd name="connsiteX36" fmla="*/ 1152525 w 1226820"/>
                <a:gd name="connsiteY36" fmla="*/ 236727 h 236727"/>
                <a:gd name="connsiteX37" fmla="*/ 1185863 w 1226820"/>
                <a:gd name="connsiteY37" fmla="*/ 236727 h 236727"/>
                <a:gd name="connsiteX38" fmla="*/ 1209675 w 1226820"/>
                <a:gd name="connsiteY38" fmla="*/ 236727 h 236727"/>
                <a:gd name="connsiteX39" fmla="*/ 1222058 w 1226820"/>
                <a:gd name="connsiteY39" fmla="*/ 236727 h 236727"/>
                <a:gd name="connsiteX40" fmla="*/ 1225868 w 1226820"/>
                <a:gd name="connsiteY40" fmla="*/ 236727 h 236727"/>
                <a:gd name="connsiteX41" fmla="*/ 1226820 w 1226820"/>
                <a:gd name="connsiteY41" fmla="*/ 236727 h 236727"/>
                <a:gd name="connsiteX42" fmla="*/ 1226820 w 1226820"/>
                <a:gd name="connsiteY42" fmla="*/ 0 h 236727"/>
                <a:gd name="connsiteX43" fmla="*/ 1224915 w 1226820"/>
                <a:gd name="connsiteY43" fmla="*/ 0 h 236727"/>
                <a:gd name="connsiteX44" fmla="*/ 1217295 w 1226820"/>
                <a:gd name="connsiteY44" fmla="*/ 0 h 236727"/>
                <a:gd name="connsiteX45" fmla="*/ 1199198 w 1226820"/>
                <a:gd name="connsiteY45" fmla="*/ 0 h 236727"/>
                <a:gd name="connsiteX46" fmla="*/ 1170623 w 1226820"/>
                <a:gd name="connsiteY46" fmla="*/ 0 h 236727"/>
                <a:gd name="connsiteX47" fmla="*/ 1133475 w 1226820"/>
                <a:gd name="connsiteY47" fmla="*/ 0 h 236727"/>
                <a:gd name="connsiteX48" fmla="*/ 1094423 w 1226820"/>
                <a:gd name="connsiteY48" fmla="*/ 0 h 236727"/>
                <a:gd name="connsiteX49" fmla="*/ 1054418 w 1226820"/>
                <a:gd name="connsiteY49" fmla="*/ 0 h 236727"/>
                <a:gd name="connsiteX50" fmla="*/ 1017270 w 1226820"/>
                <a:gd name="connsiteY50" fmla="*/ 0 h 236727"/>
                <a:gd name="connsiteX51" fmla="*/ 982980 w 1226820"/>
                <a:gd name="connsiteY51" fmla="*/ 0 h 236727"/>
                <a:gd name="connsiteX52" fmla="*/ 949643 w 1226820"/>
                <a:gd name="connsiteY52" fmla="*/ 0 h 236727"/>
                <a:gd name="connsiteX53" fmla="*/ 918210 w 1226820"/>
                <a:gd name="connsiteY53" fmla="*/ 0 h 236727"/>
                <a:gd name="connsiteX54" fmla="*/ 885825 w 1226820"/>
                <a:gd name="connsiteY54" fmla="*/ 0 h 236727"/>
                <a:gd name="connsiteX55" fmla="*/ 868680 w 1226820"/>
                <a:gd name="connsiteY55" fmla="*/ 0 h 236727"/>
                <a:gd name="connsiteX56" fmla="*/ 840105 w 1226820"/>
                <a:gd name="connsiteY56" fmla="*/ 0 h 236727"/>
                <a:gd name="connsiteX57" fmla="*/ 809625 w 1226820"/>
                <a:gd name="connsiteY57" fmla="*/ 0 h 236727"/>
                <a:gd name="connsiteX58" fmla="*/ 777240 w 1226820"/>
                <a:gd name="connsiteY58" fmla="*/ 0 h 236727"/>
                <a:gd name="connsiteX59" fmla="*/ 742950 w 1226820"/>
                <a:gd name="connsiteY59" fmla="*/ 0 h 236727"/>
                <a:gd name="connsiteX60" fmla="*/ 706755 w 1226820"/>
                <a:gd name="connsiteY60" fmla="*/ 0 h 236727"/>
                <a:gd name="connsiteX61" fmla="*/ 669608 w 1226820"/>
                <a:gd name="connsiteY61" fmla="*/ 0 h 236727"/>
                <a:gd name="connsiteX62" fmla="*/ 631508 w 1226820"/>
                <a:gd name="connsiteY62" fmla="*/ 0 h 236727"/>
                <a:gd name="connsiteX63" fmla="*/ 593408 w 1226820"/>
                <a:gd name="connsiteY63" fmla="*/ 0 h 236727"/>
                <a:gd name="connsiteX64" fmla="*/ 555308 w 1226820"/>
                <a:gd name="connsiteY64" fmla="*/ 0 h 236727"/>
                <a:gd name="connsiteX65" fmla="*/ 517208 w 1226820"/>
                <a:gd name="connsiteY65" fmla="*/ 0 h 236727"/>
                <a:gd name="connsiteX66" fmla="*/ 481965 w 1226820"/>
                <a:gd name="connsiteY66" fmla="*/ 0 h 236727"/>
                <a:gd name="connsiteX67" fmla="*/ 447675 w 1226820"/>
                <a:gd name="connsiteY67" fmla="*/ 0 h 236727"/>
                <a:gd name="connsiteX68" fmla="*/ 415290 w 1226820"/>
                <a:gd name="connsiteY68" fmla="*/ 0 h 236727"/>
                <a:gd name="connsiteX69" fmla="*/ 384810 w 1226820"/>
                <a:gd name="connsiteY69" fmla="*/ 0 h 236727"/>
                <a:gd name="connsiteX70" fmla="*/ 357188 w 1226820"/>
                <a:gd name="connsiteY70" fmla="*/ 0 h 236727"/>
                <a:gd name="connsiteX71" fmla="*/ 324803 w 1226820"/>
                <a:gd name="connsiteY71" fmla="*/ 0 h 236727"/>
                <a:gd name="connsiteX72" fmla="*/ 292417 w 1226820"/>
                <a:gd name="connsiteY72" fmla="*/ 0 h 236727"/>
                <a:gd name="connsiteX73" fmla="*/ 260985 w 1226820"/>
                <a:gd name="connsiteY73" fmla="*/ 0 h 236727"/>
                <a:gd name="connsiteX74" fmla="*/ 226695 w 1226820"/>
                <a:gd name="connsiteY74" fmla="*/ 0 h 236727"/>
                <a:gd name="connsiteX75" fmla="*/ 190500 w 1226820"/>
                <a:gd name="connsiteY75" fmla="*/ 0 h 236727"/>
                <a:gd name="connsiteX76" fmla="*/ 152400 w 1226820"/>
                <a:gd name="connsiteY76" fmla="*/ 0 h 236727"/>
                <a:gd name="connsiteX77" fmla="*/ 112395 w 1226820"/>
                <a:gd name="connsiteY77" fmla="*/ 0 h 236727"/>
                <a:gd name="connsiteX78" fmla="*/ 73342 w 1226820"/>
                <a:gd name="connsiteY78" fmla="*/ 0 h 236727"/>
                <a:gd name="connsiteX79" fmla="*/ 40958 w 1226820"/>
                <a:gd name="connsiteY79" fmla="*/ 0 h 236727"/>
                <a:gd name="connsiteX80" fmla="*/ 17145 w 1226820"/>
                <a:gd name="connsiteY80" fmla="*/ 0 h 236727"/>
                <a:gd name="connsiteX81" fmla="*/ 3810 w 1226820"/>
                <a:gd name="connsiteY81" fmla="*/ 0 h 236727"/>
                <a:gd name="connsiteX82" fmla="*/ 0 w 1226820"/>
                <a:gd name="connsiteY82" fmla="*/ 0 h 236727"/>
                <a:gd name="connsiteX83" fmla="*/ 0 w 1226820"/>
                <a:gd name="connsiteY83" fmla="*/ 0 h 236727"/>
                <a:gd name="connsiteX84" fmla="*/ 0 w 1226820"/>
                <a:gd name="connsiteY84" fmla="*/ 236727 h 2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6727">
                  <a:moveTo>
                    <a:pt x="0" y="236727"/>
                  </a:moveTo>
                  <a:lnTo>
                    <a:pt x="953" y="236727"/>
                  </a:lnTo>
                  <a:lnTo>
                    <a:pt x="8573" y="236727"/>
                  </a:lnTo>
                  <a:lnTo>
                    <a:pt x="26670" y="236727"/>
                  </a:lnTo>
                  <a:lnTo>
                    <a:pt x="56198" y="236727"/>
                  </a:lnTo>
                  <a:lnTo>
                    <a:pt x="92392" y="236727"/>
                  </a:lnTo>
                  <a:lnTo>
                    <a:pt x="132398" y="236727"/>
                  </a:lnTo>
                  <a:lnTo>
                    <a:pt x="171450" y="236727"/>
                  </a:lnTo>
                  <a:lnTo>
                    <a:pt x="208598" y="236727"/>
                  </a:lnTo>
                  <a:lnTo>
                    <a:pt x="243840" y="236727"/>
                  </a:lnTo>
                  <a:lnTo>
                    <a:pt x="276225" y="236727"/>
                  </a:lnTo>
                  <a:lnTo>
                    <a:pt x="308610" y="236727"/>
                  </a:lnTo>
                  <a:lnTo>
                    <a:pt x="340995" y="236727"/>
                  </a:lnTo>
                  <a:lnTo>
                    <a:pt x="357188" y="236727"/>
                  </a:lnTo>
                  <a:lnTo>
                    <a:pt x="386715" y="236727"/>
                  </a:lnTo>
                  <a:lnTo>
                    <a:pt x="417195" y="236727"/>
                  </a:lnTo>
                  <a:lnTo>
                    <a:pt x="449580" y="236727"/>
                  </a:lnTo>
                  <a:lnTo>
                    <a:pt x="483870" y="236727"/>
                  </a:lnTo>
                  <a:lnTo>
                    <a:pt x="519113" y="236727"/>
                  </a:lnTo>
                  <a:lnTo>
                    <a:pt x="556260" y="236727"/>
                  </a:lnTo>
                  <a:lnTo>
                    <a:pt x="594360" y="236727"/>
                  </a:lnTo>
                  <a:lnTo>
                    <a:pt x="633413" y="236727"/>
                  </a:lnTo>
                  <a:lnTo>
                    <a:pt x="671513" y="236727"/>
                  </a:lnTo>
                  <a:lnTo>
                    <a:pt x="708660" y="236727"/>
                  </a:lnTo>
                  <a:lnTo>
                    <a:pt x="743902" y="236727"/>
                  </a:lnTo>
                  <a:lnTo>
                    <a:pt x="778193" y="236727"/>
                  </a:lnTo>
                  <a:lnTo>
                    <a:pt x="810577" y="236727"/>
                  </a:lnTo>
                  <a:lnTo>
                    <a:pt x="841058" y="236727"/>
                  </a:lnTo>
                  <a:lnTo>
                    <a:pt x="868680" y="236727"/>
                  </a:lnTo>
                  <a:lnTo>
                    <a:pt x="902018" y="236727"/>
                  </a:lnTo>
                  <a:lnTo>
                    <a:pt x="933450" y="236727"/>
                  </a:lnTo>
                  <a:lnTo>
                    <a:pt x="965835" y="236727"/>
                  </a:lnTo>
                  <a:lnTo>
                    <a:pt x="999173" y="236727"/>
                  </a:lnTo>
                  <a:lnTo>
                    <a:pt x="1035368" y="236727"/>
                  </a:lnTo>
                  <a:lnTo>
                    <a:pt x="1073468" y="236727"/>
                  </a:lnTo>
                  <a:lnTo>
                    <a:pt x="1113473" y="236727"/>
                  </a:lnTo>
                  <a:lnTo>
                    <a:pt x="1152525" y="236727"/>
                  </a:lnTo>
                  <a:lnTo>
                    <a:pt x="1185863" y="236727"/>
                  </a:lnTo>
                  <a:lnTo>
                    <a:pt x="1209675" y="236727"/>
                  </a:lnTo>
                  <a:lnTo>
                    <a:pt x="1222058" y="236727"/>
                  </a:lnTo>
                  <a:lnTo>
                    <a:pt x="1225868" y="236727"/>
                  </a:lnTo>
                  <a:lnTo>
                    <a:pt x="1226820" y="236727"/>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6727"/>
                  </a:lnTo>
                  <a:close/>
                </a:path>
              </a:pathLst>
            </a:custGeom>
            <a:noFill/>
            <a:ln w="9525" cap="flat">
              <a:solidFill>
                <a:srgbClr val="BBBDBF"/>
              </a:solidFill>
              <a:prstDash val="solid"/>
              <a:miter/>
            </a:ln>
          </p:spPr>
          <p:txBody>
            <a:bodyPr rtlCol="0" anchor="ctr"/>
            <a:lstStyle/>
            <a:p>
              <a:endParaRPr lang="en-US" sz="1050"/>
            </a:p>
          </p:txBody>
        </p:sp>
        <p:sp>
          <p:nvSpPr>
            <p:cNvPr id="173" name="Freeform 225">
              <a:extLst>
                <a:ext uri="{FF2B5EF4-FFF2-40B4-BE49-F238E27FC236}">
                  <a16:creationId xmlns:a16="http://schemas.microsoft.com/office/drawing/2014/main" id="{55F4520B-4C81-AE78-666B-4573A77CBDE1}"/>
                </a:ext>
              </a:extLst>
            </p:cNvPr>
            <p:cNvSpPr/>
            <p:nvPr/>
          </p:nvSpPr>
          <p:spPr>
            <a:xfrm>
              <a:off x="2147856" y="2214624"/>
              <a:ext cx="1226820" cy="713034"/>
            </a:xfrm>
            <a:custGeom>
              <a:avLst/>
              <a:gdLst>
                <a:gd name="connsiteX0" fmla="*/ 0 w 1226820"/>
                <a:gd name="connsiteY0" fmla="*/ 713035 h 713034"/>
                <a:gd name="connsiteX1" fmla="*/ 953 w 1226820"/>
                <a:gd name="connsiteY1" fmla="*/ 713035 h 713034"/>
                <a:gd name="connsiteX2" fmla="*/ 8573 w 1226820"/>
                <a:gd name="connsiteY2" fmla="*/ 712084 h 713034"/>
                <a:gd name="connsiteX3" fmla="*/ 25717 w 1226820"/>
                <a:gd name="connsiteY3" fmla="*/ 711133 h 713034"/>
                <a:gd name="connsiteX4" fmla="*/ 54292 w 1226820"/>
                <a:gd name="connsiteY4" fmla="*/ 709232 h 713034"/>
                <a:gd name="connsiteX5" fmla="*/ 89535 w 1226820"/>
                <a:gd name="connsiteY5" fmla="*/ 705429 h 713034"/>
                <a:gd name="connsiteX6" fmla="*/ 129540 w 1226820"/>
                <a:gd name="connsiteY6" fmla="*/ 700675 h 713034"/>
                <a:gd name="connsiteX7" fmla="*/ 168592 w 1226820"/>
                <a:gd name="connsiteY7" fmla="*/ 694971 h 713034"/>
                <a:gd name="connsiteX8" fmla="*/ 205740 w 1226820"/>
                <a:gd name="connsiteY8" fmla="*/ 688316 h 713034"/>
                <a:gd name="connsiteX9" fmla="*/ 240030 w 1226820"/>
                <a:gd name="connsiteY9" fmla="*/ 679760 h 713034"/>
                <a:gd name="connsiteX10" fmla="*/ 272415 w 1226820"/>
                <a:gd name="connsiteY10" fmla="*/ 670253 h 713034"/>
                <a:gd name="connsiteX11" fmla="*/ 303848 w 1226820"/>
                <a:gd name="connsiteY11" fmla="*/ 658844 h 713034"/>
                <a:gd name="connsiteX12" fmla="*/ 336233 w 1226820"/>
                <a:gd name="connsiteY12" fmla="*/ 644583 h 713034"/>
                <a:gd name="connsiteX13" fmla="*/ 357188 w 1226820"/>
                <a:gd name="connsiteY13" fmla="*/ 633175 h 713034"/>
                <a:gd name="connsiteX14" fmla="*/ 383858 w 1226820"/>
                <a:gd name="connsiteY14" fmla="*/ 618914 h 713034"/>
                <a:gd name="connsiteX15" fmla="*/ 412433 w 1226820"/>
                <a:gd name="connsiteY15" fmla="*/ 603703 h 713034"/>
                <a:gd name="connsiteX16" fmla="*/ 441960 w 1226820"/>
                <a:gd name="connsiteY16" fmla="*/ 585639 h 713034"/>
                <a:gd name="connsiteX17" fmla="*/ 472440 w 1226820"/>
                <a:gd name="connsiteY17" fmla="*/ 566625 h 713034"/>
                <a:gd name="connsiteX18" fmla="*/ 504825 w 1226820"/>
                <a:gd name="connsiteY18" fmla="*/ 545709 h 713034"/>
                <a:gd name="connsiteX19" fmla="*/ 539115 w 1226820"/>
                <a:gd name="connsiteY19" fmla="*/ 523843 h 713034"/>
                <a:gd name="connsiteX20" fmla="*/ 573405 w 1226820"/>
                <a:gd name="connsiteY20" fmla="*/ 501026 h 713034"/>
                <a:gd name="connsiteX21" fmla="*/ 609600 w 1226820"/>
                <a:gd name="connsiteY21" fmla="*/ 478209 h 713034"/>
                <a:gd name="connsiteX22" fmla="*/ 644843 w 1226820"/>
                <a:gd name="connsiteY22" fmla="*/ 454441 h 713034"/>
                <a:gd name="connsiteX23" fmla="*/ 679133 w 1226820"/>
                <a:gd name="connsiteY23" fmla="*/ 431624 h 713034"/>
                <a:gd name="connsiteX24" fmla="*/ 713423 w 1226820"/>
                <a:gd name="connsiteY24" fmla="*/ 409757 h 713034"/>
                <a:gd name="connsiteX25" fmla="*/ 746760 w 1226820"/>
                <a:gd name="connsiteY25" fmla="*/ 388842 h 713034"/>
                <a:gd name="connsiteX26" fmla="*/ 778193 w 1226820"/>
                <a:gd name="connsiteY26" fmla="*/ 368877 h 713034"/>
                <a:gd name="connsiteX27" fmla="*/ 807720 w 1226820"/>
                <a:gd name="connsiteY27" fmla="*/ 350813 h 713034"/>
                <a:gd name="connsiteX28" fmla="*/ 836295 w 1226820"/>
                <a:gd name="connsiteY28" fmla="*/ 334651 h 713034"/>
                <a:gd name="connsiteX29" fmla="*/ 862965 w 1226820"/>
                <a:gd name="connsiteY29" fmla="*/ 320390 h 713034"/>
                <a:gd name="connsiteX30" fmla="*/ 868680 w 1226820"/>
                <a:gd name="connsiteY30" fmla="*/ 316587 h 713034"/>
                <a:gd name="connsiteX31" fmla="*/ 901065 w 1226820"/>
                <a:gd name="connsiteY31" fmla="*/ 301376 h 713034"/>
                <a:gd name="connsiteX32" fmla="*/ 932498 w 1226820"/>
                <a:gd name="connsiteY32" fmla="*/ 288066 h 713034"/>
                <a:gd name="connsiteX33" fmla="*/ 964883 w 1226820"/>
                <a:gd name="connsiteY33" fmla="*/ 276657 h 713034"/>
                <a:gd name="connsiteX34" fmla="*/ 997268 w 1226820"/>
                <a:gd name="connsiteY34" fmla="*/ 267150 h 713034"/>
                <a:gd name="connsiteX35" fmla="*/ 1033463 w 1226820"/>
                <a:gd name="connsiteY35" fmla="*/ 259545 h 713034"/>
                <a:gd name="connsiteX36" fmla="*/ 1070610 w 1226820"/>
                <a:gd name="connsiteY36" fmla="*/ 252890 h 713034"/>
                <a:gd name="connsiteX37" fmla="*/ 1110615 w 1226820"/>
                <a:gd name="connsiteY37" fmla="*/ 248136 h 713034"/>
                <a:gd name="connsiteX38" fmla="*/ 1148715 w 1226820"/>
                <a:gd name="connsiteY38" fmla="*/ 243383 h 713034"/>
                <a:gd name="connsiteX39" fmla="*/ 1182052 w 1226820"/>
                <a:gd name="connsiteY39" fmla="*/ 240530 h 713034"/>
                <a:gd name="connsiteX40" fmla="*/ 1206818 w 1226820"/>
                <a:gd name="connsiteY40" fmla="*/ 238629 h 713034"/>
                <a:gd name="connsiteX41" fmla="*/ 1221105 w 1226820"/>
                <a:gd name="connsiteY41" fmla="*/ 237678 h 713034"/>
                <a:gd name="connsiteX42" fmla="*/ 1225868 w 1226820"/>
                <a:gd name="connsiteY42" fmla="*/ 237678 h 713034"/>
                <a:gd name="connsiteX43" fmla="*/ 1226820 w 1226820"/>
                <a:gd name="connsiteY43" fmla="*/ 237678 h 713034"/>
                <a:gd name="connsiteX44" fmla="*/ 1226820 w 1226820"/>
                <a:gd name="connsiteY44" fmla="*/ 0 h 713034"/>
                <a:gd name="connsiteX45" fmla="*/ 1224915 w 1226820"/>
                <a:gd name="connsiteY45" fmla="*/ 0 h 713034"/>
                <a:gd name="connsiteX46" fmla="*/ 1217295 w 1226820"/>
                <a:gd name="connsiteY46" fmla="*/ 951 h 713034"/>
                <a:gd name="connsiteX47" fmla="*/ 1200150 w 1226820"/>
                <a:gd name="connsiteY47" fmla="*/ 1901 h 713034"/>
                <a:gd name="connsiteX48" fmla="*/ 1171575 w 1226820"/>
                <a:gd name="connsiteY48" fmla="*/ 3803 h 713034"/>
                <a:gd name="connsiteX49" fmla="*/ 1136333 w 1226820"/>
                <a:gd name="connsiteY49" fmla="*/ 7606 h 713034"/>
                <a:gd name="connsiteX50" fmla="*/ 1097280 w 1226820"/>
                <a:gd name="connsiteY50" fmla="*/ 12359 h 713034"/>
                <a:gd name="connsiteX51" fmla="*/ 1058227 w 1226820"/>
                <a:gd name="connsiteY51" fmla="*/ 18064 h 713034"/>
                <a:gd name="connsiteX52" fmla="*/ 1021080 w 1226820"/>
                <a:gd name="connsiteY52" fmla="*/ 24719 h 713034"/>
                <a:gd name="connsiteX53" fmla="*/ 985838 w 1226820"/>
                <a:gd name="connsiteY53" fmla="*/ 33275 h 713034"/>
                <a:gd name="connsiteX54" fmla="*/ 953452 w 1226820"/>
                <a:gd name="connsiteY54" fmla="*/ 42782 h 713034"/>
                <a:gd name="connsiteX55" fmla="*/ 922020 w 1226820"/>
                <a:gd name="connsiteY55" fmla="*/ 54191 h 713034"/>
                <a:gd name="connsiteX56" fmla="*/ 890588 w 1226820"/>
                <a:gd name="connsiteY56" fmla="*/ 68451 h 713034"/>
                <a:gd name="connsiteX57" fmla="*/ 868680 w 1226820"/>
                <a:gd name="connsiteY57" fmla="*/ 79860 h 713034"/>
                <a:gd name="connsiteX58" fmla="*/ 842010 w 1226820"/>
                <a:gd name="connsiteY58" fmla="*/ 94121 h 713034"/>
                <a:gd name="connsiteX59" fmla="*/ 814388 w 1226820"/>
                <a:gd name="connsiteY59" fmla="*/ 109332 h 713034"/>
                <a:gd name="connsiteX60" fmla="*/ 784860 w 1226820"/>
                <a:gd name="connsiteY60" fmla="*/ 127396 h 713034"/>
                <a:gd name="connsiteX61" fmla="*/ 753427 w 1226820"/>
                <a:gd name="connsiteY61" fmla="*/ 146410 h 713034"/>
                <a:gd name="connsiteX62" fmla="*/ 721043 w 1226820"/>
                <a:gd name="connsiteY62" fmla="*/ 167325 h 713034"/>
                <a:gd name="connsiteX63" fmla="*/ 686752 w 1226820"/>
                <a:gd name="connsiteY63" fmla="*/ 189192 h 713034"/>
                <a:gd name="connsiteX64" fmla="*/ 652463 w 1226820"/>
                <a:gd name="connsiteY64" fmla="*/ 212009 h 713034"/>
                <a:gd name="connsiteX65" fmla="*/ 617220 w 1226820"/>
                <a:gd name="connsiteY65" fmla="*/ 234826 h 713034"/>
                <a:gd name="connsiteX66" fmla="*/ 581977 w 1226820"/>
                <a:gd name="connsiteY66" fmla="*/ 258594 h 713034"/>
                <a:gd name="connsiteX67" fmla="*/ 546735 w 1226820"/>
                <a:gd name="connsiteY67" fmla="*/ 281411 h 713034"/>
                <a:gd name="connsiteX68" fmla="*/ 512445 w 1226820"/>
                <a:gd name="connsiteY68" fmla="*/ 303277 h 713034"/>
                <a:gd name="connsiteX69" fmla="*/ 480060 w 1226820"/>
                <a:gd name="connsiteY69" fmla="*/ 324193 h 713034"/>
                <a:gd name="connsiteX70" fmla="*/ 448627 w 1226820"/>
                <a:gd name="connsiteY70" fmla="*/ 344158 h 713034"/>
                <a:gd name="connsiteX71" fmla="*/ 418148 w 1226820"/>
                <a:gd name="connsiteY71" fmla="*/ 362222 h 713034"/>
                <a:gd name="connsiteX72" fmla="*/ 390525 w 1226820"/>
                <a:gd name="connsiteY72" fmla="*/ 378384 h 713034"/>
                <a:gd name="connsiteX73" fmla="*/ 362903 w 1226820"/>
                <a:gd name="connsiteY73" fmla="*/ 392644 h 713034"/>
                <a:gd name="connsiteX74" fmla="*/ 357188 w 1226820"/>
                <a:gd name="connsiteY74" fmla="*/ 396447 h 713034"/>
                <a:gd name="connsiteX75" fmla="*/ 324803 w 1226820"/>
                <a:gd name="connsiteY75" fmla="*/ 411659 h 713034"/>
                <a:gd name="connsiteX76" fmla="*/ 293370 w 1226820"/>
                <a:gd name="connsiteY76" fmla="*/ 424969 h 713034"/>
                <a:gd name="connsiteX77" fmla="*/ 261938 w 1226820"/>
                <a:gd name="connsiteY77" fmla="*/ 436377 h 713034"/>
                <a:gd name="connsiteX78" fmla="*/ 228600 w 1226820"/>
                <a:gd name="connsiteY78" fmla="*/ 445884 h 713034"/>
                <a:gd name="connsiteX79" fmla="*/ 193358 w 1226820"/>
                <a:gd name="connsiteY79" fmla="*/ 453490 h 713034"/>
                <a:gd name="connsiteX80" fmla="*/ 155258 w 1226820"/>
                <a:gd name="connsiteY80" fmla="*/ 460145 h 713034"/>
                <a:gd name="connsiteX81" fmla="*/ 115253 w 1226820"/>
                <a:gd name="connsiteY81" fmla="*/ 464899 h 713034"/>
                <a:gd name="connsiteX82" fmla="*/ 77153 w 1226820"/>
                <a:gd name="connsiteY82" fmla="*/ 469652 h 713034"/>
                <a:gd name="connsiteX83" fmla="*/ 43815 w 1226820"/>
                <a:gd name="connsiteY83" fmla="*/ 472504 h 713034"/>
                <a:gd name="connsiteX84" fmla="*/ 19050 w 1226820"/>
                <a:gd name="connsiteY84" fmla="*/ 474406 h 713034"/>
                <a:gd name="connsiteX85" fmla="*/ 4763 w 1226820"/>
                <a:gd name="connsiteY85" fmla="*/ 475357 h 713034"/>
                <a:gd name="connsiteX86" fmla="*/ 0 w 1226820"/>
                <a:gd name="connsiteY86" fmla="*/ 475357 h 713034"/>
                <a:gd name="connsiteX87" fmla="*/ 0 w 1226820"/>
                <a:gd name="connsiteY87" fmla="*/ 475357 h 713034"/>
                <a:gd name="connsiteX88" fmla="*/ 0 w 1226820"/>
                <a:gd name="connsiteY88" fmla="*/ 713035 h 71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226820" h="713034">
                  <a:moveTo>
                    <a:pt x="0" y="713035"/>
                  </a:moveTo>
                  <a:lnTo>
                    <a:pt x="953" y="713035"/>
                  </a:lnTo>
                  <a:lnTo>
                    <a:pt x="8573" y="712084"/>
                  </a:lnTo>
                  <a:lnTo>
                    <a:pt x="25717" y="711133"/>
                  </a:lnTo>
                  <a:lnTo>
                    <a:pt x="54292" y="709232"/>
                  </a:lnTo>
                  <a:lnTo>
                    <a:pt x="89535" y="705429"/>
                  </a:lnTo>
                  <a:lnTo>
                    <a:pt x="129540" y="700675"/>
                  </a:lnTo>
                  <a:lnTo>
                    <a:pt x="168592" y="694971"/>
                  </a:lnTo>
                  <a:lnTo>
                    <a:pt x="205740" y="688316"/>
                  </a:lnTo>
                  <a:lnTo>
                    <a:pt x="240030" y="679760"/>
                  </a:lnTo>
                  <a:lnTo>
                    <a:pt x="272415" y="670253"/>
                  </a:lnTo>
                  <a:lnTo>
                    <a:pt x="303848" y="658844"/>
                  </a:lnTo>
                  <a:lnTo>
                    <a:pt x="336233" y="644583"/>
                  </a:lnTo>
                  <a:lnTo>
                    <a:pt x="357188" y="633175"/>
                  </a:lnTo>
                  <a:lnTo>
                    <a:pt x="383858" y="618914"/>
                  </a:lnTo>
                  <a:lnTo>
                    <a:pt x="412433" y="603703"/>
                  </a:lnTo>
                  <a:lnTo>
                    <a:pt x="441960" y="585639"/>
                  </a:lnTo>
                  <a:lnTo>
                    <a:pt x="472440" y="566625"/>
                  </a:lnTo>
                  <a:lnTo>
                    <a:pt x="504825" y="545709"/>
                  </a:lnTo>
                  <a:lnTo>
                    <a:pt x="539115" y="523843"/>
                  </a:lnTo>
                  <a:lnTo>
                    <a:pt x="573405" y="501026"/>
                  </a:lnTo>
                  <a:lnTo>
                    <a:pt x="609600" y="478209"/>
                  </a:lnTo>
                  <a:lnTo>
                    <a:pt x="644843" y="454441"/>
                  </a:lnTo>
                  <a:lnTo>
                    <a:pt x="679133" y="431624"/>
                  </a:lnTo>
                  <a:lnTo>
                    <a:pt x="713423" y="409757"/>
                  </a:lnTo>
                  <a:lnTo>
                    <a:pt x="746760" y="388842"/>
                  </a:lnTo>
                  <a:lnTo>
                    <a:pt x="778193" y="368877"/>
                  </a:lnTo>
                  <a:lnTo>
                    <a:pt x="807720" y="350813"/>
                  </a:lnTo>
                  <a:lnTo>
                    <a:pt x="836295" y="334651"/>
                  </a:lnTo>
                  <a:lnTo>
                    <a:pt x="862965" y="320390"/>
                  </a:lnTo>
                  <a:lnTo>
                    <a:pt x="868680" y="316587"/>
                  </a:lnTo>
                  <a:lnTo>
                    <a:pt x="901065" y="301376"/>
                  </a:lnTo>
                  <a:lnTo>
                    <a:pt x="932498" y="288066"/>
                  </a:lnTo>
                  <a:lnTo>
                    <a:pt x="964883" y="276657"/>
                  </a:lnTo>
                  <a:lnTo>
                    <a:pt x="997268" y="267150"/>
                  </a:lnTo>
                  <a:lnTo>
                    <a:pt x="1033463" y="259545"/>
                  </a:lnTo>
                  <a:lnTo>
                    <a:pt x="1070610" y="252890"/>
                  </a:lnTo>
                  <a:lnTo>
                    <a:pt x="1110615" y="248136"/>
                  </a:lnTo>
                  <a:lnTo>
                    <a:pt x="1148715" y="243383"/>
                  </a:lnTo>
                  <a:lnTo>
                    <a:pt x="1182052" y="240530"/>
                  </a:lnTo>
                  <a:lnTo>
                    <a:pt x="1206818" y="238629"/>
                  </a:lnTo>
                  <a:lnTo>
                    <a:pt x="1221105" y="237678"/>
                  </a:lnTo>
                  <a:lnTo>
                    <a:pt x="1225868" y="237678"/>
                  </a:lnTo>
                  <a:lnTo>
                    <a:pt x="1226820" y="237678"/>
                  </a:lnTo>
                  <a:lnTo>
                    <a:pt x="1226820" y="0"/>
                  </a:lnTo>
                  <a:lnTo>
                    <a:pt x="1224915" y="0"/>
                  </a:lnTo>
                  <a:lnTo>
                    <a:pt x="1217295" y="951"/>
                  </a:lnTo>
                  <a:lnTo>
                    <a:pt x="1200150" y="1901"/>
                  </a:lnTo>
                  <a:lnTo>
                    <a:pt x="1171575" y="3803"/>
                  </a:lnTo>
                  <a:lnTo>
                    <a:pt x="1136333" y="7606"/>
                  </a:lnTo>
                  <a:lnTo>
                    <a:pt x="1097280" y="12359"/>
                  </a:lnTo>
                  <a:lnTo>
                    <a:pt x="1058227" y="18064"/>
                  </a:lnTo>
                  <a:lnTo>
                    <a:pt x="1021080" y="24719"/>
                  </a:lnTo>
                  <a:lnTo>
                    <a:pt x="985838" y="33275"/>
                  </a:lnTo>
                  <a:lnTo>
                    <a:pt x="953452" y="42782"/>
                  </a:lnTo>
                  <a:lnTo>
                    <a:pt x="922020" y="54191"/>
                  </a:lnTo>
                  <a:lnTo>
                    <a:pt x="890588" y="68451"/>
                  </a:lnTo>
                  <a:lnTo>
                    <a:pt x="868680" y="79860"/>
                  </a:lnTo>
                  <a:lnTo>
                    <a:pt x="842010" y="94121"/>
                  </a:lnTo>
                  <a:lnTo>
                    <a:pt x="814388" y="109332"/>
                  </a:lnTo>
                  <a:lnTo>
                    <a:pt x="784860" y="127396"/>
                  </a:lnTo>
                  <a:lnTo>
                    <a:pt x="753427" y="146410"/>
                  </a:lnTo>
                  <a:lnTo>
                    <a:pt x="721043" y="167325"/>
                  </a:lnTo>
                  <a:lnTo>
                    <a:pt x="686752" y="189192"/>
                  </a:lnTo>
                  <a:lnTo>
                    <a:pt x="652463" y="212009"/>
                  </a:lnTo>
                  <a:lnTo>
                    <a:pt x="617220" y="234826"/>
                  </a:lnTo>
                  <a:lnTo>
                    <a:pt x="581977" y="258594"/>
                  </a:lnTo>
                  <a:lnTo>
                    <a:pt x="546735" y="281411"/>
                  </a:lnTo>
                  <a:lnTo>
                    <a:pt x="512445" y="303277"/>
                  </a:lnTo>
                  <a:lnTo>
                    <a:pt x="480060" y="324193"/>
                  </a:lnTo>
                  <a:lnTo>
                    <a:pt x="448627" y="344158"/>
                  </a:lnTo>
                  <a:lnTo>
                    <a:pt x="418148" y="362222"/>
                  </a:lnTo>
                  <a:lnTo>
                    <a:pt x="390525" y="378384"/>
                  </a:lnTo>
                  <a:lnTo>
                    <a:pt x="362903" y="392644"/>
                  </a:lnTo>
                  <a:lnTo>
                    <a:pt x="357188" y="396447"/>
                  </a:lnTo>
                  <a:lnTo>
                    <a:pt x="324803" y="411659"/>
                  </a:lnTo>
                  <a:lnTo>
                    <a:pt x="293370" y="424969"/>
                  </a:lnTo>
                  <a:lnTo>
                    <a:pt x="261938" y="436377"/>
                  </a:lnTo>
                  <a:lnTo>
                    <a:pt x="228600" y="445884"/>
                  </a:lnTo>
                  <a:lnTo>
                    <a:pt x="193358" y="453490"/>
                  </a:lnTo>
                  <a:lnTo>
                    <a:pt x="155258" y="460145"/>
                  </a:lnTo>
                  <a:lnTo>
                    <a:pt x="115253" y="464899"/>
                  </a:lnTo>
                  <a:lnTo>
                    <a:pt x="77153" y="469652"/>
                  </a:lnTo>
                  <a:lnTo>
                    <a:pt x="43815" y="472504"/>
                  </a:lnTo>
                  <a:lnTo>
                    <a:pt x="19050" y="474406"/>
                  </a:lnTo>
                  <a:lnTo>
                    <a:pt x="4763" y="475357"/>
                  </a:lnTo>
                  <a:lnTo>
                    <a:pt x="0" y="475357"/>
                  </a:lnTo>
                  <a:lnTo>
                    <a:pt x="0" y="475357"/>
                  </a:lnTo>
                  <a:lnTo>
                    <a:pt x="0" y="713035"/>
                  </a:lnTo>
                  <a:close/>
                </a:path>
              </a:pathLst>
            </a:custGeom>
            <a:solidFill>
              <a:srgbClr val="BBBDBF">
                <a:alpha val="60000"/>
              </a:srgbClr>
            </a:solidFill>
            <a:ln w="9525" cap="flat">
              <a:noFill/>
              <a:prstDash val="solid"/>
              <a:miter/>
            </a:ln>
          </p:spPr>
          <p:txBody>
            <a:bodyPr rtlCol="0" anchor="ctr"/>
            <a:lstStyle/>
            <a:p>
              <a:endParaRPr lang="en-US" sz="1050"/>
            </a:p>
          </p:txBody>
        </p:sp>
        <p:sp>
          <p:nvSpPr>
            <p:cNvPr id="174" name="Freeform 226">
              <a:extLst>
                <a:ext uri="{FF2B5EF4-FFF2-40B4-BE49-F238E27FC236}">
                  <a16:creationId xmlns:a16="http://schemas.microsoft.com/office/drawing/2014/main" id="{7F4D381E-F675-2287-9F6A-7567D3C14DFF}"/>
                </a:ext>
              </a:extLst>
            </p:cNvPr>
            <p:cNvSpPr/>
            <p:nvPr/>
          </p:nvSpPr>
          <p:spPr>
            <a:xfrm>
              <a:off x="2147856" y="2214624"/>
              <a:ext cx="1226820" cy="713034"/>
            </a:xfrm>
            <a:custGeom>
              <a:avLst/>
              <a:gdLst>
                <a:gd name="connsiteX0" fmla="*/ 0 w 1226820"/>
                <a:gd name="connsiteY0" fmla="*/ 713035 h 713034"/>
                <a:gd name="connsiteX1" fmla="*/ 953 w 1226820"/>
                <a:gd name="connsiteY1" fmla="*/ 713035 h 713034"/>
                <a:gd name="connsiteX2" fmla="*/ 8573 w 1226820"/>
                <a:gd name="connsiteY2" fmla="*/ 712084 h 713034"/>
                <a:gd name="connsiteX3" fmla="*/ 25717 w 1226820"/>
                <a:gd name="connsiteY3" fmla="*/ 711133 h 713034"/>
                <a:gd name="connsiteX4" fmla="*/ 54292 w 1226820"/>
                <a:gd name="connsiteY4" fmla="*/ 709232 h 713034"/>
                <a:gd name="connsiteX5" fmla="*/ 89535 w 1226820"/>
                <a:gd name="connsiteY5" fmla="*/ 705429 h 713034"/>
                <a:gd name="connsiteX6" fmla="*/ 129540 w 1226820"/>
                <a:gd name="connsiteY6" fmla="*/ 700675 h 713034"/>
                <a:gd name="connsiteX7" fmla="*/ 168592 w 1226820"/>
                <a:gd name="connsiteY7" fmla="*/ 694971 h 713034"/>
                <a:gd name="connsiteX8" fmla="*/ 205740 w 1226820"/>
                <a:gd name="connsiteY8" fmla="*/ 688316 h 713034"/>
                <a:gd name="connsiteX9" fmla="*/ 240030 w 1226820"/>
                <a:gd name="connsiteY9" fmla="*/ 679760 h 713034"/>
                <a:gd name="connsiteX10" fmla="*/ 272415 w 1226820"/>
                <a:gd name="connsiteY10" fmla="*/ 670253 h 713034"/>
                <a:gd name="connsiteX11" fmla="*/ 303848 w 1226820"/>
                <a:gd name="connsiteY11" fmla="*/ 658844 h 713034"/>
                <a:gd name="connsiteX12" fmla="*/ 336233 w 1226820"/>
                <a:gd name="connsiteY12" fmla="*/ 644583 h 713034"/>
                <a:gd name="connsiteX13" fmla="*/ 357188 w 1226820"/>
                <a:gd name="connsiteY13" fmla="*/ 633175 h 713034"/>
                <a:gd name="connsiteX14" fmla="*/ 383858 w 1226820"/>
                <a:gd name="connsiteY14" fmla="*/ 618914 h 713034"/>
                <a:gd name="connsiteX15" fmla="*/ 412433 w 1226820"/>
                <a:gd name="connsiteY15" fmla="*/ 603703 h 713034"/>
                <a:gd name="connsiteX16" fmla="*/ 441960 w 1226820"/>
                <a:gd name="connsiteY16" fmla="*/ 585639 h 713034"/>
                <a:gd name="connsiteX17" fmla="*/ 472440 w 1226820"/>
                <a:gd name="connsiteY17" fmla="*/ 566625 h 713034"/>
                <a:gd name="connsiteX18" fmla="*/ 504825 w 1226820"/>
                <a:gd name="connsiteY18" fmla="*/ 545709 h 713034"/>
                <a:gd name="connsiteX19" fmla="*/ 539115 w 1226820"/>
                <a:gd name="connsiteY19" fmla="*/ 523843 h 713034"/>
                <a:gd name="connsiteX20" fmla="*/ 573405 w 1226820"/>
                <a:gd name="connsiteY20" fmla="*/ 501026 h 713034"/>
                <a:gd name="connsiteX21" fmla="*/ 609600 w 1226820"/>
                <a:gd name="connsiteY21" fmla="*/ 478209 h 713034"/>
                <a:gd name="connsiteX22" fmla="*/ 644843 w 1226820"/>
                <a:gd name="connsiteY22" fmla="*/ 454441 h 713034"/>
                <a:gd name="connsiteX23" fmla="*/ 679133 w 1226820"/>
                <a:gd name="connsiteY23" fmla="*/ 431624 h 713034"/>
                <a:gd name="connsiteX24" fmla="*/ 713423 w 1226820"/>
                <a:gd name="connsiteY24" fmla="*/ 409757 h 713034"/>
                <a:gd name="connsiteX25" fmla="*/ 746760 w 1226820"/>
                <a:gd name="connsiteY25" fmla="*/ 388842 h 713034"/>
                <a:gd name="connsiteX26" fmla="*/ 778193 w 1226820"/>
                <a:gd name="connsiteY26" fmla="*/ 368877 h 713034"/>
                <a:gd name="connsiteX27" fmla="*/ 807720 w 1226820"/>
                <a:gd name="connsiteY27" fmla="*/ 350813 h 713034"/>
                <a:gd name="connsiteX28" fmla="*/ 836295 w 1226820"/>
                <a:gd name="connsiteY28" fmla="*/ 334651 h 713034"/>
                <a:gd name="connsiteX29" fmla="*/ 862965 w 1226820"/>
                <a:gd name="connsiteY29" fmla="*/ 320390 h 713034"/>
                <a:gd name="connsiteX30" fmla="*/ 868680 w 1226820"/>
                <a:gd name="connsiteY30" fmla="*/ 316587 h 713034"/>
                <a:gd name="connsiteX31" fmla="*/ 901065 w 1226820"/>
                <a:gd name="connsiteY31" fmla="*/ 301376 h 713034"/>
                <a:gd name="connsiteX32" fmla="*/ 932498 w 1226820"/>
                <a:gd name="connsiteY32" fmla="*/ 288066 h 713034"/>
                <a:gd name="connsiteX33" fmla="*/ 964883 w 1226820"/>
                <a:gd name="connsiteY33" fmla="*/ 276657 h 713034"/>
                <a:gd name="connsiteX34" fmla="*/ 997268 w 1226820"/>
                <a:gd name="connsiteY34" fmla="*/ 267150 h 713034"/>
                <a:gd name="connsiteX35" fmla="*/ 1033463 w 1226820"/>
                <a:gd name="connsiteY35" fmla="*/ 259545 h 713034"/>
                <a:gd name="connsiteX36" fmla="*/ 1070610 w 1226820"/>
                <a:gd name="connsiteY36" fmla="*/ 252890 h 713034"/>
                <a:gd name="connsiteX37" fmla="*/ 1110615 w 1226820"/>
                <a:gd name="connsiteY37" fmla="*/ 248136 h 713034"/>
                <a:gd name="connsiteX38" fmla="*/ 1148715 w 1226820"/>
                <a:gd name="connsiteY38" fmla="*/ 243383 h 713034"/>
                <a:gd name="connsiteX39" fmla="*/ 1182052 w 1226820"/>
                <a:gd name="connsiteY39" fmla="*/ 240530 h 713034"/>
                <a:gd name="connsiteX40" fmla="*/ 1206818 w 1226820"/>
                <a:gd name="connsiteY40" fmla="*/ 238629 h 713034"/>
                <a:gd name="connsiteX41" fmla="*/ 1221105 w 1226820"/>
                <a:gd name="connsiteY41" fmla="*/ 237678 h 713034"/>
                <a:gd name="connsiteX42" fmla="*/ 1225868 w 1226820"/>
                <a:gd name="connsiteY42" fmla="*/ 237678 h 713034"/>
                <a:gd name="connsiteX43" fmla="*/ 1226820 w 1226820"/>
                <a:gd name="connsiteY43" fmla="*/ 237678 h 713034"/>
                <a:gd name="connsiteX44" fmla="*/ 1226820 w 1226820"/>
                <a:gd name="connsiteY44" fmla="*/ 0 h 713034"/>
                <a:gd name="connsiteX45" fmla="*/ 1224915 w 1226820"/>
                <a:gd name="connsiteY45" fmla="*/ 0 h 713034"/>
                <a:gd name="connsiteX46" fmla="*/ 1217295 w 1226820"/>
                <a:gd name="connsiteY46" fmla="*/ 951 h 713034"/>
                <a:gd name="connsiteX47" fmla="*/ 1200150 w 1226820"/>
                <a:gd name="connsiteY47" fmla="*/ 1901 h 713034"/>
                <a:gd name="connsiteX48" fmla="*/ 1171575 w 1226820"/>
                <a:gd name="connsiteY48" fmla="*/ 3803 h 713034"/>
                <a:gd name="connsiteX49" fmla="*/ 1136333 w 1226820"/>
                <a:gd name="connsiteY49" fmla="*/ 7606 h 713034"/>
                <a:gd name="connsiteX50" fmla="*/ 1097280 w 1226820"/>
                <a:gd name="connsiteY50" fmla="*/ 12359 h 713034"/>
                <a:gd name="connsiteX51" fmla="*/ 1058227 w 1226820"/>
                <a:gd name="connsiteY51" fmla="*/ 18064 h 713034"/>
                <a:gd name="connsiteX52" fmla="*/ 1021080 w 1226820"/>
                <a:gd name="connsiteY52" fmla="*/ 24719 h 713034"/>
                <a:gd name="connsiteX53" fmla="*/ 985838 w 1226820"/>
                <a:gd name="connsiteY53" fmla="*/ 33275 h 713034"/>
                <a:gd name="connsiteX54" fmla="*/ 953452 w 1226820"/>
                <a:gd name="connsiteY54" fmla="*/ 42782 h 713034"/>
                <a:gd name="connsiteX55" fmla="*/ 922020 w 1226820"/>
                <a:gd name="connsiteY55" fmla="*/ 54191 h 713034"/>
                <a:gd name="connsiteX56" fmla="*/ 890588 w 1226820"/>
                <a:gd name="connsiteY56" fmla="*/ 68451 h 713034"/>
                <a:gd name="connsiteX57" fmla="*/ 868680 w 1226820"/>
                <a:gd name="connsiteY57" fmla="*/ 79860 h 713034"/>
                <a:gd name="connsiteX58" fmla="*/ 842010 w 1226820"/>
                <a:gd name="connsiteY58" fmla="*/ 94121 h 713034"/>
                <a:gd name="connsiteX59" fmla="*/ 814388 w 1226820"/>
                <a:gd name="connsiteY59" fmla="*/ 109332 h 713034"/>
                <a:gd name="connsiteX60" fmla="*/ 784860 w 1226820"/>
                <a:gd name="connsiteY60" fmla="*/ 127396 h 713034"/>
                <a:gd name="connsiteX61" fmla="*/ 753427 w 1226820"/>
                <a:gd name="connsiteY61" fmla="*/ 146410 h 713034"/>
                <a:gd name="connsiteX62" fmla="*/ 721043 w 1226820"/>
                <a:gd name="connsiteY62" fmla="*/ 167325 h 713034"/>
                <a:gd name="connsiteX63" fmla="*/ 686752 w 1226820"/>
                <a:gd name="connsiteY63" fmla="*/ 189192 h 713034"/>
                <a:gd name="connsiteX64" fmla="*/ 652463 w 1226820"/>
                <a:gd name="connsiteY64" fmla="*/ 212009 h 713034"/>
                <a:gd name="connsiteX65" fmla="*/ 617220 w 1226820"/>
                <a:gd name="connsiteY65" fmla="*/ 234826 h 713034"/>
                <a:gd name="connsiteX66" fmla="*/ 581977 w 1226820"/>
                <a:gd name="connsiteY66" fmla="*/ 258594 h 713034"/>
                <a:gd name="connsiteX67" fmla="*/ 546735 w 1226820"/>
                <a:gd name="connsiteY67" fmla="*/ 281411 h 713034"/>
                <a:gd name="connsiteX68" fmla="*/ 512445 w 1226820"/>
                <a:gd name="connsiteY68" fmla="*/ 303277 h 713034"/>
                <a:gd name="connsiteX69" fmla="*/ 480060 w 1226820"/>
                <a:gd name="connsiteY69" fmla="*/ 324193 h 713034"/>
                <a:gd name="connsiteX70" fmla="*/ 448627 w 1226820"/>
                <a:gd name="connsiteY70" fmla="*/ 344158 h 713034"/>
                <a:gd name="connsiteX71" fmla="*/ 418148 w 1226820"/>
                <a:gd name="connsiteY71" fmla="*/ 362222 h 713034"/>
                <a:gd name="connsiteX72" fmla="*/ 390525 w 1226820"/>
                <a:gd name="connsiteY72" fmla="*/ 378384 h 713034"/>
                <a:gd name="connsiteX73" fmla="*/ 362903 w 1226820"/>
                <a:gd name="connsiteY73" fmla="*/ 392644 h 713034"/>
                <a:gd name="connsiteX74" fmla="*/ 357188 w 1226820"/>
                <a:gd name="connsiteY74" fmla="*/ 396447 h 713034"/>
                <a:gd name="connsiteX75" fmla="*/ 324803 w 1226820"/>
                <a:gd name="connsiteY75" fmla="*/ 411659 h 713034"/>
                <a:gd name="connsiteX76" fmla="*/ 293370 w 1226820"/>
                <a:gd name="connsiteY76" fmla="*/ 424969 h 713034"/>
                <a:gd name="connsiteX77" fmla="*/ 261938 w 1226820"/>
                <a:gd name="connsiteY77" fmla="*/ 436377 h 713034"/>
                <a:gd name="connsiteX78" fmla="*/ 228600 w 1226820"/>
                <a:gd name="connsiteY78" fmla="*/ 445884 h 713034"/>
                <a:gd name="connsiteX79" fmla="*/ 193358 w 1226820"/>
                <a:gd name="connsiteY79" fmla="*/ 453490 h 713034"/>
                <a:gd name="connsiteX80" fmla="*/ 155258 w 1226820"/>
                <a:gd name="connsiteY80" fmla="*/ 460145 h 713034"/>
                <a:gd name="connsiteX81" fmla="*/ 115253 w 1226820"/>
                <a:gd name="connsiteY81" fmla="*/ 464899 h 713034"/>
                <a:gd name="connsiteX82" fmla="*/ 77153 w 1226820"/>
                <a:gd name="connsiteY82" fmla="*/ 469652 h 713034"/>
                <a:gd name="connsiteX83" fmla="*/ 43815 w 1226820"/>
                <a:gd name="connsiteY83" fmla="*/ 472504 h 713034"/>
                <a:gd name="connsiteX84" fmla="*/ 19050 w 1226820"/>
                <a:gd name="connsiteY84" fmla="*/ 474406 h 713034"/>
                <a:gd name="connsiteX85" fmla="*/ 4763 w 1226820"/>
                <a:gd name="connsiteY85" fmla="*/ 475357 h 713034"/>
                <a:gd name="connsiteX86" fmla="*/ 0 w 1226820"/>
                <a:gd name="connsiteY86" fmla="*/ 475357 h 713034"/>
                <a:gd name="connsiteX87" fmla="*/ 0 w 1226820"/>
                <a:gd name="connsiteY87" fmla="*/ 475357 h 713034"/>
                <a:gd name="connsiteX88" fmla="*/ 0 w 1226820"/>
                <a:gd name="connsiteY88" fmla="*/ 713035 h 71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226820" h="713034">
                  <a:moveTo>
                    <a:pt x="0" y="713035"/>
                  </a:moveTo>
                  <a:lnTo>
                    <a:pt x="953" y="713035"/>
                  </a:lnTo>
                  <a:lnTo>
                    <a:pt x="8573" y="712084"/>
                  </a:lnTo>
                  <a:lnTo>
                    <a:pt x="25717" y="711133"/>
                  </a:lnTo>
                  <a:lnTo>
                    <a:pt x="54292" y="709232"/>
                  </a:lnTo>
                  <a:lnTo>
                    <a:pt x="89535" y="705429"/>
                  </a:lnTo>
                  <a:lnTo>
                    <a:pt x="129540" y="700675"/>
                  </a:lnTo>
                  <a:lnTo>
                    <a:pt x="168592" y="694971"/>
                  </a:lnTo>
                  <a:lnTo>
                    <a:pt x="205740" y="688316"/>
                  </a:lnTo>
                  <a:lnTo>
                    <a:pt x="240030" y="679760"/>
                  </a:lnTo>
                  <a:lnTo>
                    <a:pt x="272415" y="670253"/>
                  </a:lnTo>
                  <a:lnTo>
                    <a:pt x="303848" y="658844"/>
                  </a:lnTo>
                  <a:lnTo>
                    <a:pt x="336233" y="644583"/>
                  </a:lnTo>
                  <a:lnTo>
                    <a:pt x="357188" y="633175"/>
                  </a:lnTo>
                  <a:lnTo>
                    <a:pt x="383858" y="618914"/>
                  </a:lnTo>
                  <a:lnTo>
                    <a:pt x="412433" y="603703"/>
                  </a:lnTo>
                  <a:lnTo>
                    <a:pt x="441960" y="585639"/>
                  </a:lnTo>
                  <a:lnTo>
                    <a:pt x="472440" y="566625"/>
                  </a:lnTo>
                  <a:lnTo>
                    <a:pt x="504825" y="545709"/>
                  </a:lnTo>
                  <a:lnTo>
                    <a:pt x="539115" y="523843"/>
                  </a:lnTo>
                  <a:lnTo>
                    <a:pt x="573405" y="501026"/>
                  </a:lnTo>
                  <a:lnTo>
                    <a:pt x="609600" y="478209"/>
                  </a:lnTo>
                  <a:lnTo>
                    <a:pt x="644843" y="454441"/>
                  </a:lnTo>
                  <a:lnTo>
                    <a:pt x="679133" y="431624"/>
                  </a:lnTo>
                  <a:lnTo>
                    <a:pt x="713423" y="409757"/>
                  </a:lnTo>
                  <a:lnTo>
                    <a:pt x="746760" y="388842"/>
                  </a:lnTo>
                  <a:lnTo>
                    <a:pt x="778193" y="368877"/>
                  </a:lnTo>
                  <a:lnTo>
                    <a:pt x="807720" y="350813"/>
                  </a:lnTo>
                  <a:lnTo>
                    <a:pt x="836295" y="334651"/>
                  </a:lnTo>
                  <a:lnTo>
                    <a:pt x="862965" y="320390"/>
                  </a:lnTo>
                  <a:lnTo>
                    <a:pt x="868680" y="316587"/>
                  </a:lnTo>
                  <a:lnTo>
                    <a:pt x="901065" y="301376"/>
                  </a:lnTo>
                  <a:lnTo>
                    <a:pt x="932498" y="288066"/>
                  </a:lnTo>
                  <a:lnTo>
                    <a:pt x="964883" y="276657"/>
                  </a:lnTo>
                  <a:lnTo>
                    <a:pt x="997268" y="267150"/>
                  </a:lnTo>
                  <a:lnTo>
                    <a:pt x="1033463" y="259545"/>
                  </a:lnTo>
                  <a:lnTo>
                    <a:pt x="1070610" y="252890"/>
                  </a:lnTo>
                  <a:lnTo>
                    <a:pt x="1110615" y="248136"/>
                  </a:lnTo>
                  <a:lnTo>
                    <a:pt x="1148715" y="243383"/>
                  </a:lnTo>
                  <a:lnTo>
                    <a:pt x="1182052" y="240530"/>
                  </a:lnTo>
                  <a:lnTo>
                    <a:pt x="1206818" y="238629"/>
                  </a:lnTo>
                  <a:lnTo>
                    <a:pt x="1221105" y="237678"/>
                  </a:lnTo>
                  <a:lnTo>
                    <a:pt x="1225868" y="237678"/>
                  </a:lnTo>
                  <a:lnTo>
                    <a:pt x="1226820" y="237678"/>
                  </a:lnTo>
                  <a:lnTo>
                    <a:pt x="1226820" y="0"/>
                  </a:lnTo>
                  <a:lnTo>
                    <a:pt x="1224915" y="0"/>
                  </a:lnTo>
                  <a:lnTo>
                    <a:pt x="1217295" y="951"/>
                  </a:lnTo>
                  <a:lnTo>
                    <a:pt x="1200150" y="1901"/>
                  </a:lnTo>
                  <a:lnTo>
                    <a:pt x="1171575" y="3803"/>
                  </a:lnTo>
                  <a:lnTo>
                    <a:pt x="1136333" y="7606"/>
                  </a:lnTo>
                  <a:lnTo>
                    <a:pt x="1097280" y="12359"/>
                  </a:lnTo>
                  <a:lnTo>
                    <a:pt x="1058227" y="18064"/>
                  </a:lnTo>
                  <a:lnTo>
                    <a:pt x="1021080" y="24719"/>
                  </a:lnTo>
                  <a:lnTo>
                    <a:pt x="985838" y="33275"/>
                  </a:lnTo>
                  <a:lnTo>
                    <a:pt x="953452" y="42782"/>
                  </a:lnTo>
                  <a:lnTo>
                    <a:pt x="922020" y="54191"/>
                  </a:lnTo>
                  <a:lnTo>
                    <a:pt x="890588" y="68451"/>
                  </a:lnTo>
                  <a:lnTo>
                    <a:pt x="868680" y="79860"/>
                  </a:lnTo>
                  <a:lnTo>
                    <a:pt x="842010" y="94121"/>
                  </a:lnTo>
                  <a:lnTo>
                    <a:pt x="814388" y="109332"/>
                  </a:lnTo>
                  <a:lnTo>
                    <a:pt x="784860" y="127396"/>
                  </a:lnTo>
                  <a:lnTo>
                    <a:pt x="753427" y="146410"/>
                  </a:lnTo>
                  <a:lnTo>
                    <a:pt x="721043" y="167325"/>
                  </a:lnTo>
                  <a:lnTo>
                    <a:pt x="686752" y="189192"/>
                  </a:lnTo>
                  <a:lnTo>
                    <a:pt x="652463" y="212009"/>
                  </a:lnTo>
                  <a:lnTo>
                    <a:pt x="617220" y="234826"/>
                  </a:lnTo>
                  <a:lnTo>
                    <a:pt x="581977" y="258594"/>
                  </a:lnTo>
                  <a:lnTo>
                    <a:pt x="546735" y="281411"/>
                  </a:lnTo>
                  <a:lnTo>
                    <a:pt x="512445" y="303277"/>
                  </a:lnTo>
                  <a:lnTo>
                    <a:pt x="480060" y="324193"/>
                  </a:lnTo>
                  <a:lnTo>
                    <a:pt x="448627" y="344158"/>
                  </a:lnTo>
                  <a:lnTo>
                    <a:pt x="418148" y="362222"/>
                  </a:lnTo>
                  <a:lnTo>
                    <a:pt x="390525" y="378384"/>
                  </a:lnTo>
                  <a:lnTo>
                    <a:pt x="362903" y="392644"/>
                  </a:lnTo>
                  <a:lnTo>
                    <a:pt x="357188" y="396447"/>
                  </a:lnTo>
                  <a:lnTo>
                    <a:pt x="324803" y="411659"/>
                  </a:lnTo>
                  <a:lnTo>
                    <a:pt x="293370" y="424969"/>
                  </a:lnTo>
                  <a:lnTo>
                    <a:pt x="261938" y="436377"/>
                  </a:lnTo>
                  <a:lnTo>
                    <a:pt x="228600" y="445884"/>
                  </a:lnTo>
                  <a:lnTo>
                    <a:pt x="193358" y="453490"/>
                  </a:lnTo>
                  <a:lnTo>
                    <a:pt x="155258" y="460145"/>
                  </a:lnTo>
                  <a:lnTo>
                    <a:pt x="115253" y="464899"/>
                  </a:lnTo>
                  <a:lnTo>
                    <a:pt x="77153" y="469652"/>
                  </a:lnTo>
                  <a:lnTo>
                    <a:pt x="43815" y="472504"/>
                  </a:lnTo>
                  <a:lnTo>
                    <a:pt x="19050" y="474406"/>
                  </a:lnTo>
                  <a:lnTo>
                    <a:pt x="4763" y="475357"/>
                  </a:lnTo>
                  <a:lnTo>
                    <a:pt x="0" y="475357"/>
                  </a:lnTo>
                  <a:lnTo>
                    <a:pt x="0" y="475357"/>
                  </a:lnTo>
                  <a:lnTo>
                    <a:pt x="0" y="713035"/>
                  </a:lnTo>
                  <a:close/>
                </a:path>
              </a:pathLst>
            </a:custGeom>
            <a:noFill/>
            <a:ln w="9525" cap="flat">
              <a:solidFill>
                <a:srgbClr val="BBBDBF"/>
              </a:solidFill>
              <a:prstDash val="solid"/>
              <a:miter/>
            </a:ln>
          </p:spPr>
          <p:txBody>
            <a:bodyPr rtlCol="0" anchor="ctr"/>
            <a:lstStyle/>
            <a:p>
              <a:endParaRPr lang="en-US" sz="1050"/>
            </a:p>
          </p:txBody>
        </p:sp>
        <p:sp>
          <p:nvSpPr>
            <p:cNvPr id="175" name="Freeform 227">
              <a:extLst>
                <a:ext uri="{FF2B5EF4-FFF2-40B4-BE49-F238E27FC236}">
                  <a16:creationId xmlns:a16="http://schemas.microsoft.com/office/drawing/2014/main" id="{6FCC7D51-2C5F-37A9-A763-540E6F847341}"/>
                </a:ext>
              </a:extLst>
            </p:cNvPr>
            <p:cNvSpPr/>
            <p:nvPr/>
          </p:nvSpPr>
          <p:spPr>
            <a:xfrm>
              <a:off x="2147856" y="5776945"/>
              <a:ext cx="1226820" cy="237678"/>
            </a:xfrm>
            <a:custGeom>
              <a:avLst/>
              <a:gdLst>
                <a:gd name="connsiteX0" fmla="*/ 0 w 1226820"/>
                <a:gd name="connsiteY0" fmla="*/ 237678 h 237678"/>
                <a:gd name="connsiteX1" fmla="*/ 953 w 1226820"/>
                <a:gd name="connsiteY1" fmla="*/ 237678 h 237678"/>
                <a:gd name="connsiteX2" fmla="*/ 8573 w 1226820"/>
                <a:gd name="connsiteY2" fmla="*/ 237678 h 237678"/>
                <a:gd name="connsiteX3" fmla="*/ 26670 w 1226820"/>
                <a:gd name="connsiteY3" fmla="*/ 237678 h 237678"/>
                <a:gd name="connsiteX4" fmla="*/ 56198 w 1226820"/>
                <a:gd name="connsiteY4" fmla="*/ 237678 h 237678"/>
                <a:gd name="connsiteX5" fmla="*/ 92392 w 1226820"/>
                <a:gd name="connsiteY5" fmla="*/ 237678 h 237678"/>
                <a:gd name="connsiteX6" fmla="*/ 132398 w 1226820"/>
                <a:gd name="connsiteY6" fmla="*/ 237678 h 237678"/>
                <a:gd name="connsiteX7" fmla="*/ 171450 w 1226820"/>
                <a:gd name="connsiteY7" fmla="*/ 237678 h 237678"/>
                <a:gd name="connsiteX8" fmla="*/ 208598 w 1226820"/>
                <a:gd name="connsiteY8" fmla="*/ 237678 h 237678"/>
                <a:gd name="connsiteX9" fmla="*/ 243840 w 1226820"/>
                <a:gd name="connsiteY9" fmla="*/ 237678 h 237678"/>
                <a:gd name="connsiteX10" fmla="*/ 276225 w 1226820"/>
                <a:gd name="connsiteY10" fmla="*/ 237678 h 237678"/>
                <a:gd name="connsiteX11" fmla="*/ 308610 w 1226820"/>
                <a:gd name="connsiteY11" fmla="*/ 237678 h 237678"/>
                <a:gd name="connsiteX12" fmla="*/ 340995 w 1226820"/>
                <a:gd name="connsiteY12" fmla="*/ 237678 h 237678"/>
                <a:gd name="connsiteX13" fmla="*/ 357188 w 1226820"/>
                <a:gd name="connsiteY13" fmla="*/ 237678 h 237678"/>
                <a:gd name="connsiteX14" fmla="*/ 386715 w 1226820"/>
                <a:gd name="connsiteY14" fmla="*/ 237678 h 237678"/>
                <a:gd name="connsiteX15" fmla="*/ 417195 w 1226820"/>
                <a:gd name="connsiteY15" fmla="*/ 237678 h 237678"/>
                <a:gd name="connsiteX16" fmla="*/ 449580 w 1226820"/>
                <a:gd name="connsiteY16" fmla="*/ 237678 h 237678"/>
                <a:gd name="connsiteX17" fmla="*/ 483870 w 1226820"/>
                <a:gd name="connsiteY17" fmla="*/ 237678 h 237678"/>
                <a:gd name="connsiteX18" fmla="*/ 519113 w 1226820"/>
                <a:gd name="connsiteY18" fmla="*/ 237678 h 237678"/>
                <a:gd name="connsiteX19" fmla="*/ 556260 w 1226820"/>
                <a:gd name="connsiteY19" fmla="*/ 237678 h 237678"/>
                <a:gd name="connsiteX20" fmla="*/ 594360 w 1226820"/>
                <a:gd name="connsiteY20" fmla="*/ 237678 h 237678"/>
                <a:gd name="connsiteX21" fmla="*/ 633413 w 1226820"/>
                <a:gd name="connsiteY21" fmla="*/ 237678 h 237678"/>
                <a:gd name="connsiteX22" fmla="*/ 671513 w 1226820"/>
                <a:gd name="connsiteY22" fmla="*/ 237678 h 237678"/>
                <a:gd name="connsiteX23" fmla="*/ 708660 w 1226820"/>
                <a:gd name="connsiteY23" fmla="*/ 237678 h 237678"/>
                <a:gd name="connsiteX24" fmla="*/ 743902 w 1226820"/>
                <a:gd name="connsiteY24" fmla="*/ 237678 h 237678"/>
                <a:gd name="connsiteX25" fmla="*/ 778193 w 1226820"/>
                <a:gd name="connsiteY25" fmla="*/ 237678 h 237678"/>
                <a:gd name="connsiteX26" fmla="*/ 810577 w 1226820"/>
                <a:gd name="connsiteY26" fmla="*/ 237678 h 237678"/>
                <a:gd name="connsiteX27" fmla="*/ 841058 w 1226820"/>
                <a:gd name="connsiteY27" fmla="*/ 237678 h 237678"/>
                <a:gd name="connsiteX28" fmla="*/ 868680 w 1226820"/>
                <a:gd name="connsiteY28" fmla="*/ 237678 h 237678"/>
                <a:gd name="connsiteX29" fmla="*/ 902018 w 1226820"/>
                <a:gd name="connsiteY29" fmla="*/ 237678 h 237678"/>
                <a:gd name="connsiteX30" fmla="*/ 933450 w 1226820"/>
                <a:gd name="connsiteY30" fmla="*/ 237678 h 237678"/>
                <a:gd name="connsiteX31" fmla="*/ 965835 w 1226820"/>
                <a:gd name="connsiteY31" fmla="*/ 237678 h 237678"/>
                <a:gd name="connsiteX32" fmla="*/ 999173 w 1226820"/>
                <a:gd name="connsiteY32" fmla="*/ 237678 h 237678"/>
                <a:gd name="connsiteX33" fmla="*/ 1035368 w 1226820"/>
                <a:gd name="connsiteY33" fmla="*/ 237678 h 237678"/>
                <a:gd name="connsiteX34" fmla="*/ 1073468 w 1226820"/>
                <a:gd name="connsiteY34" fmla="*/ 237678 h 237678"/>
                <a:gd name="connsiteX35" fmla="*/ 1113473 w 1226820"/>
                <a:gd name="connsiteY35" fmla="*/ 237678 h 237678"/>
                <a:gd name="connsiteX36" fmla="*/ 1152525 w 1226820"/>
                <a:gd name="connsiteY36" fmla="*/ 237678 h 237678"/>
                <a:gd name="connsiteX37" fmla="*/ 1185863 w 1226820"/>
                <a:gd name="connsiteY37" fmla="*/ 237678 h 237678"/>
                <a:gd name="connsiteX38" fmla="*/ 1209675 w 1226820"/>
                <a:gd name="connsiteY38" fmla="*/ 237678 h 237678"/>
                <a:gd name="connsiteX39" fmla="*/ 1222058 w 1226820"/>
                <a:gd name="connsiteY39" fmla="*/ 237678 h 237678"/>
                <a:gd name="connsiteX40" fmla="*/ 1225868 w 1226820"/>
                <a:gd name="connsiteY40" fmla="*/ 237678 h 237678"/>
                <a:gd name="connsiteX41" fmla="*/ 1226820 w 1226820"/>
                <a:gd name="connsiteY41" fmla="*/ 237678 h 237678"/>
                <a:gd name="connsiteX42" fmla="*/ 1226820 w 1226820"/>
                <a:gd name="connsiteY42" fmla="*/ 0 h 237678"/>
                <a:gd name="connsiteX43" fmla="*/ 1224915 w 1226820"/>
                <a:gd name="connsiteY43" fmla="*/ 0 h 237678"/>
                <a:gd name="connsiteX44" fmla="*/ 1217295 w 1226820"/>
                <a:gd name="connsiteY44" fmla="*/ 0 h 237678"/>
                <a:gd name="connsiteX45" fmla="*/ 1199198 w 1226820"/>
                <a:gd name="connsiteY45" fmla="*/ 0 h 237678"/>
                <a:gd name="connsiteX46" fmla="*/ 1170623 w 1226820"/>
                <a:gd name="connsiteY46" fmla="*/ 0 h 237678"/>
                <a:gd name="connsiteX47" fmla="*/ 1133475 w 1226820"/>
                <a:gd name="connsiteY47" fmla="*/ 0 h 237678"/>
                <a:gd name="connsiteX48" fmla="*/ 1094423 w 1226820"/>
                <a:gd name="connsiteY48" fmla="*/ 0 h 237678"/>
                <a:gd name="connsiteX49" fmla="*/ 1054418 w 1226820"/>
                <a:gd name="connsiteY49" fmla="*/ 0 h 237678"/>
                <a:gd name="connsiteX50" fmla="*/ 1017270 w 1226820"/>
                <a:gd name="connsiteY50" fmla="*/ 0 h 237678"/>
                <a:gd name="connsiteX51" fmla="*/ 982980 w 1226820"/>
                <a:gd name="connsiteY51" fmla="*/ 0 h 237678"/>
                <a:gd name="connsiteX52" fmla="*/ 949643 w 1226820"/>
                <a:gd name="connsiteY52" fmla="*/ 0 h 237678"/>
                <a:gd name="connsiteX53" fmla="*/ 918210 w 1226820"/>
                <a:gd name="connsiteY53" fmla="*/ 0 h 237678"/>
                <a:gd name="connsiteX54" fmla="*/ 885825 w 1226820"/>
                <a:gd name="connsiteY54" fmla="*/ 0 h 237678"/>
                <a:gd name="connsiteX55" fmla="*/ 868680 w 1226820"/>
                <a:gd name="connsiteY55" fmla="*/ 0 h 237678"/>
                <a:gd name="connsiteX56" fmla="*/ 840105 w 1226820"/>
                <a:gd name="connsiteY56" fmla="*/ 0 h 237678"/>
                <a:gd name="connsiteX57" fmla="*/ 809625 w 1226820"/>
                <a:gd name="connsiteY57" fmla="*/ 0 h 237678"/>
                <a:gd name="connsiteX58" fmla="*/ 777240 w 1226820"/>
                <a:gd name="connsiteY58" fmla="*/ 0 h 237678"/>
                <a:gd name="connsiteX59" fmla="*/ 742950 w 1226820"/>
                <a:gd name="connsiteY59" fmla="*/ 0 h 237678"/>
                <a:gd name="connsiteX60" fmla="*/ 706755 w 1226820"/>
                <a:gd name="connsiteY60" fmla="*/ 0 h 237678"/>
                <a:gd name="connsiteX61" fmla="*/ 669608 w 1226820"/>
                <a:gd name="connsiteY61" fmla="*/ 0 h 237678"/>
                <a:gd name="connsiteX62" fmla="*/ 631508 w 1226820"/>
                <a:gd name="connsiteY62" fmla="*/ 0 h 237678"/>
                <a:gd name="connsiteX63" fmla="*/ 593408 w 1226820"/>
                <a:gd name="connsiteY63" fmla="*/ 0 h 237678"/>
                <a:gd name="connsiteX64" fmla="*/ 555308 w 1226820"/>
                <a:gd name="connsiteY64" fmla="*/ 0 h 237678"/>
                <a:gd name="connsiteX65" fmla="*/ 517208 w 1226820"/>
                <a:gd name="connsiteY65" fmla="*/ 0 h 237678"/>
                <a:gd name="connsiteX66" fmla="*/ 481965 w 1226820"/>
                <a:gd name="connsiteY66" fmla="*/ 0 h 237678"/>
                <a:gd name="connsiteX67" fmla="*/ 447675 w 1226820"/>
                <a:gd name="connsiteY67" fmla="*/ 0 h 237678"/>
                <a:gd name="connsiteX68" fmla="*/ 415290 w 1226820"/>
                <a:gd name="connsiteY68" fmla="*/ 0 h 237678"/>
                <a:gd name="connsiteX69" fmla="*/ 384810 w 1226820"/>
                <a:gd name="connsiteY69" fmla="*/ 0 h 237678"/>
                <a:gd name="connsiteX70" fmla="*/ 357188 w 1226820"/>
                <a:gd name="connsiteY70" fmla="*/ 0 h 237678"/>
                <a:gd name="connsiteX71" fmla="*/ 324803 w 1226820"/>
                <a:gd name="connsiteY71" fmla="*/ 0 h 237678"/>
                <a:gd name="connsiteX72" fmla="*/ 292417 w 1226820"/>
                <a:gd name="connsiteY72" fmla="*/ 0 h 237678"/>
                <a:gd name="connsiteX73" fmla="*/ 260985 w 1226820"/>
                <a:gd name="connsiteY73" fmla="*/ 0 h 237678"/>
                <a:gd name="connsiteX74" fmla="*/ 226695 w 1226820"/>
                <a:gd name="connsiteY74" fmla="*/ 0 h 237678"/>
                <a:gd name="connsiteX75" fmla="*/ 190500 w 1226820"/>
                <a:gd name="connsiteY75" fmla="*/ 0 h 237678"/>
                <a:gd name="connsiteX76" fmla="*/ 152400 w 1226820"/>
                <a:gd name="connsiteY76" fmla="*/ 0 h 237678"/>
                <a:gd name="connsiteX77" fmla="*/ 112395 w 1226820"/>
                <a:gd name="connsiteY77" fmla="*/ 0 h 237678"/>
                <a:gd name="connsiteX78" fmla="*/ 73342 w 1226820"/>
                <a:gd name="connsiteY78" fmla="*/ 0 h 237678"/>
                <a:gd name="connsiteX79" fmla="*/ 40958 w 1226820"/>
                <a:gd name="connsiteY79" fmla="*/ 0 h 237678"/>
                <a:gd name="connsiteX80" fmla="*/ 17145 w 1226820"/>
                <a:gd name="connsiteY80" fmla="*/ 0 h 237678"/>
                <a:gd name="connsiteX81" fmla="*/ 3810 w 1226820"/>
                <a:gd name="connsiteY81" fmla="*/ 0 h 237678"/>
                <a:gd name="connsiteX82" fmla="*/ 0 w 1226820"/>
                <a:gd name="connsiteY82" fmla="*/ 0 h 237678"/>
                <a:gd name="connsiteX83" fmla="*/ 0 w 1226820"/>
                <a:gd name="connsiteY83" fmla="*/ 0 h 237678"/>
                <a:gd name="connsiteX84" fmla="*/ 0 w 1226820"/>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7678">
                  <a:moveTo>
                    <a:pt x="0" y="237678"/>
                  </a:moveTo>
                  <a:lnTo>
                    <a:pt x="953" y="237678"/>
                  </a:lnTo>
                  <a:lnTo>
                    <a:pt x="8573" y="237678"/>
                  </a:lnTo>
                  <a:lnTo>
                    <a:pt x="26670" y="237678"/>
                  </a:lnTo>
                  <a:lnTo>
                    <a:pt x="56198" y="237678"/>
                  </a:lnTo>
                  <a:lnTo>
                    <a:pt x="92392" y="237678"/>
                  </a:lnTo>
                  <a:lnTo>
                    <a:pt x="132398" y="237678"/>
                  </a:lnTo>
                  <a:lnTo>
                    <a:pt x="171450" y="237678"/>
                  </a:lnTo>
                  <a:lnTo>
                    <a:pt x="208598" y="237678"/>
                  </a:lnTo>
                  <a:lnTo>
                    <a:pt x="243840" y="237678"/>
                  </a:lnTo>
                  <a:lnTo>
                    <a:pt x="276225" y="237678"/>
                  </a:lnTo>
                  <a:lnTo>
                    <a:pt x="308610" y="237678"/>
                  </a:lnTo>
                  <a:lnTo>
                    <a:pt x="340995" y="237678"/>
                  </a:lnTo>
                  <a:lnTo>
                    <a:pt x="357188" y="237678"/>
                  </a:lnTo>
                  <a:lnTo>
                    <a:pt x="386715" y="237678"/>
                  </a:lnTo>
                  <a:lnTo>
                    <a:pt x="417195" y="237678"/>
                  </a:lnTo>
                  <a:lnTo>
                    <a:pt x="449580" y="237678"/>
                  </a:lnTo>
                  <a:lnTo>
                    <a:pt x="483870" y="237678"/>
                  </a:lnTo>
                  <a:lnTo>
                    <a:pt x="519113" y="237678"/>
                  </a:lnTo>
                  <a:lnTo>
                    <a:pt x="556260" y="237678"/>
                  </a:lnTo>
                  <a:lnTo>
                    <a:pt x="594360" y="237678"/>
                  </a:lnTo>
                  <a:lnTo>
                    <a:pt x="633413" y="237678"/>
                  </a:lnTo>
                  <a:lnTo>
                    <a:pt x="671513" y="237678"/>
                  </a:lnTo>
                  <a:lnTo>
                    <a:pt x="708660" y="237678"/>
                  </a:lnTo>
                  <a:lnTo>
                    <a:pt x="743902" y="237678"/>
                  </a:lnTo>
                  <a:lnTo>
                    <a:pt x="778193" y="237678"/>
                  </a:lnTo>
                  <a:lnTo>
                    <a:pt x="810577" y="237678"/>
                  </a:lnTo>
                  <a:lnTo>
                    <a:pt x="841058" y="237678"/>
                  </a:lnTo>
                  <a:lnTo>
                    <a:pt x="868680" y="237678"/>
                  </a:lnTo>
                  <a:lnTo>
                    <a:pt x="902018" y="237678"/>
                  </a:lnTo>
                  <a:lnTo>
                    <a:pt x="933450" y="237678"/>
                  </a:lnTo>
                  <a:lnTo>
                    <a:pt x="965835" y="237678"/>
                  </a:lnTo>
                  <a:lnTo>
                    <a:pt x="999173" y="237678"/>
                  </a:lnTo>
                  <a:lnTo>
                    <a:pt x="1035368" y="237678"/>
                  </a:lnTo>
                  <a:lnTo>
                    <a:pt x="1073468" y="237678"/>
                  </a:lnTo>
                  <a:lnTo>
                    <a:pt x="1113473" y="237678"/>
                  </a:lnTo>
                  <a:lnTo>
                    <a:pt x="1152525" y="237678"/>
                  </a:lnTo>
                  <a:lnTo>
                    <a:pt x="1185863" y="237678"/>
                  </a:lnTo>
                  <a:lnTo>
                    <a:pt x="1209675" y="237678"/>
                  </a:lnTo>
                  <a:lnTo>
                    <a:pt x="1222058" y="237678"/>
                  </a:lnTo>
                  <a:lnTo>
                    <a:pt x="1225868" y="237678"/>
                  </a:lnTo>
                  <a:lnTo>
                    <a:pt x="1226820" y="237678"/>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7678"/>
                  </a:lnTo>
                  <a:close/>
                </a:path>
              </a:pathLst>
            </a:custGeom>
            <a:solidFill>
              <a:srgbClr val="BBBDBF">
                <a:alpha val="60000"/>
              </a:srgbClr>
            </a:solidFill>
            <a:ln w="9525" cap="flat">
              <a:noFill/>
              <a:prstDash val="solid"/>
              <a:miter/>
            </a:ln>
          </p:spPr>
          <p:txBody>
            <a:bodyPr rtlCol="0" anchor="ctr"/>
            <a:lstStyle/>
            <a:p>
              <a:endParaRPr lang="en-US" sz="1050"/>
            </a:p>
          </p:txBody>
        </p:sp>
        <p:sp>
          <p:nvSpPr>
            <p:cNvPr id="176" name="Freeform 228">
              <a:extLst>
                <a:ext uri="{FF2B5EF4-FFF2-40B4-BE49-F238E27FC236}">
                  <a16:creationId xmlns:a16="http://schemas.microsoft.com/office/drawing/2014/main" id="{B14B6A84-0783-ED9B-8987-35CCBCA9CCA8}"/>
                </a:ext>
              </a:extLst>
            </p:cNvPr>
            <p:cNvSpPr/>
            <p:nvPr/>
          </p:nvSpPr>
          <p:spPr>
            <a:xfrm>
              <a:off x="2147856" y="5776945"/>
              <a:ext cx="1226820" cy="237678"/>
            </a:xfrm>
            <a:custGeom>
              <a:avLst/>
              <a:gdLst>
                <a:gd name="connsiteX0" fmla="*/ 0 w 1226820"/>
                <a:gd name="connsiteY0" fmla="*/ 237678 h 237678"/>
                <a:gd name="connsiteX1" fmla="*/ 953 w 1226820"/>
                <a:gd name="connsiteY1" fmla="*/ 237678 h 237678"/>
                <a:gd name="connsiteX2" fmla="*/ 8573 w 1226820"/>
                <a:gd name="connsiteY2" fmla="*/ 237678 h 237678"/>
                <a:gd name="connsiteX3" fmla="*/ 26670 w 1226820"/>
                <a:gd name="connsiteY3" fmla="*/ 237678 h 237678"/>
                <a:gd name="connsiteX4" fmla="*/ 56198 w 1226820"/>
                <a:gd name="connsiteY4" fmla="*/ 237678 h 237678"/>
                <a:gd name="connsiteX5" fmla="*/ 92392 w 1226820"/>
                <a:gd name="connsiteY5" fmla="*/ 237678 h 237678"/>
                <a:gd name="connsiteX6" fmla="*/ 132398 w 1226820"/>
                <a:gd name="connsiteY6" fmla="*/ 237678 h 237678"/>
                <a:gd name="connsiteX7" fmla="*/ 171450 w 1226820"/>
                <a:gd name="connsiteY7" fmla="*/ 237678 h 237678"/>
                <a:gd name="connsiteX8" fmla="*/ 208598 w 1226820"/>
                <a:gd name="connsiteY8" fmla="*/ 237678 h 237678"/>
                <a:gd name="connsiteX9" fmla="*/ 243840 w 1226820"/>
                <a:gd name="connsiteY9" fmla="*/ 237678 h 237678"/>
                <a:gd name="connsiteX10" fmla="*/ 276225 w 1226820"/>
                <a:gd name="connsiteY10" fmla="*/ 237678 h 237678"/>
                <a:gd name="connsiteX11" fmla="*/ 308610 w 1226820"/>
                <a:gd name="connsiteY11" fmla="*/ 237678 h 237678"/>
                <a:gd name="connsiteX12" fmla="*/ 340995 w 1226820"/>
                <a:gd name="connsiteY12" fmla="*/ 237678 h 237678"/>
                <a:gd name="connsiteX13" fmla="*/ 357188 w 1226820"/>
                <a:gd name="connsiteY13" fmla="*/ 237678 h 237678"/>
                <a:gd name="connsiteX14" fmla="*/ 386715 w 1226820"/>
                <a:gd name="connsiteY14" fmla="*/ 237678 h 237678"/>
                <a:gd name="connsiteX15" fmla="*/ 417195 w 1226820"/>
                <a:gd name="connsiteY15" fmla="*/ 237678 h 237678"/>
                <a:gd name="connsiteX16" fmla="*/ 449580 w 1226820"/>
                <a:gd name="connsiteY16" fmla="*/ 237678 h 237678"/>
                <a:gd name="connsiteX17" fmla="*/ 483870 w 1226820"/>
                <a:gd name="connsiteY17" fmla="*/ 237678 h 237678"/>
                <a:gd name="connsiteX18" fmla="*/ 519113 w 1226820"/>
                <a:gd name="connsiteY18" fmla="*/ 237678 h 237678"/>
                <a:gd name="connsiteX19" fmla="*/ 556260 w 1226820"/>
                <a:gd name="connsiteY19" fmla="*/ 237678 h 237678"/>
                <a:gd name="connsiteX20" fmla="*/ 594360 w 1226820"/>
                <a:gd name="connsiteY20" fmla="*/ 237678 h 237678"/>
                <a:gd name="connsiteX21" fmla="*/ 633413 w 1226820"/>
                <a:gd name="connsiteY21" fmla="*/ 237678 h 237678"/>
                <a:gd name="connsiteX22" fmla="*/ 671513 w 1226820"/>
                <a:gd name="connsiteY22" fmla="*/ 237678 h 237678"/>
                <a:gd name="connsiteX23" fmla="*/ 708660 w 1226820"/>
                <a:gd name="connsiteY23" fmla="*/ 237678 h 237678"/>
                <a:gd name="connsiteX24" fmla="*/ 743902 w 1226820"/>
                <a:gd name="connsiteY24" fmla="*/ 237678 h 237678"/>
                <a:gd name="connsiteX25" fmla="*/ 778193 w 1226820"/>
                <a:gd name="connsiteY25" fmla="*/ 237678 h 237678"/>
                <a:gd name="connsiteX26" fmla="*/ 810577 w 1226820"/>
                <a:gd name="connsiteY26" fmla="*/ 237678 h 237678"/>
                <a:gd name="connsiteX27" fmla="*/ 841058 w 1226820"/>
                <a:gd name="connsiteY27" fmla="*/ 237678 h 237678"/>
                <a:gd name="connsiteX28" fmla="*/ 868680 w 1226820"/>
                <a:gd name="connsiteY28" fmla="*/ 237678 h 237678"/>
                <a:gd name="connsiteX29" fmla="*/ 902018 w 1226820"/>
                <a:gd name="connsiteY29" fmla="*/ 237678 h 237678"/>
                <a:gd name="connsiteX30" fmla="*/ 933450 w 1226820"/>
                <a:gd name="connsiteY30" fmla="*/ 237678 h 237678"/>
                <a:gd name="connsiteX31" fmla="*/ 965835 w 1226820"/>
                <a:gd name="connsiteY31" fmla="*/ 237678 h 237678"/>
                <a:gd name="connsiteX32" fmla="*/ 999173 w 1226820"/>
                <a:gd name="connsiteY32" fmla="*/ 237678 h 237678"/>
                <a:gd name="connsiteX33" fmla="*/ 1035368 w 1226820"/>
                <a:gd name="connsiteY33" fmla="*/ 237678 h 237678"/>
                <a:gd name="connsiteX34" fmla="*/ 1073468 w 1226820"/>
                <a:gd name="connsiteY34" fmla="*/ 237678 h 237678"/>
                <a:gd name="connsiteX35" fmla="*/ 1113473 w 1226820"/>
                <a:gd name="connsiteY35" fmla="*/ 237678 h 237678"/>
                <a:gd name="connsiteX36" fmla="*/ 1152525 w 1226820"/>
                <a:gd name="connsiteY36" fmla="*/ 237678 h 237678"/>
                <a:gd name="connsiteX37" fmla="*/ 1185863 w 1226820"/>
                <a:gd name="connsiteY37" fmla="*/ 237678 h 237678"/>
                <a:gd name="connsiteX38" fmla="*/ 1209675 w 1226820"/>
                <a:gd name="connsiteY38" fmla="*/ 237678 h 237678"/>
                <a:gd name="connsiteX39" fmla="*/ 1222058 w 1226820"/>
                <a:gd name="connsiteY39" fmla="*/ 237678 h 237678"/>
                <a:gd name="connsiteX40" fmla="*/ 1225868 w 1226820"/>
                <a:gd name="connsiteY40" fmla="*/ 237678 h 237678"/>
                <a:gd name="connsiteX41" fmla="*/ 1226820 w 1226820"/>
                <a:gd name="connsiteY41" fmla="*/ 237678 h 237678"/>
                <a:gd name="connsiteX42" fmla="*/ 1226820 w 1226820"/>
                <a:gd name="connsiteY42" fmla="*/ 0 h 237678"/>
                <a:gd name="connsiteX43" fmla="*/ 1224915 w 1226820"/>
                <a:gd name="connsiteY43" fmla="*/ 0 h 237678"/>
                <a:gd name="connsiteX44" fmla="*/ 1217295 w 1226820"/>
                <a:gd name="connsiteY44" fmla="*/ 0 h 237678"/>
                <a:gd name="connsiteX45" fmla="*/ 1199198 w 1226820"/>
                <a:gd name="connsiteY45" fmla="*/ 0 h 237678"/>
                <a:gd name="connsiteX46" fmla="*/ 1170623 w 1226820"/>
                <a:gd name="connsiteY46" fmla="*/ 0 h 237678"/>
                <a:gd name="connsiteX47" fmla="*/ 1133475 w 1226820"/>
                <a:gd name="connsiteY47" fmla="*/ 0 h 237678"/>
                <a:gd name="connsiteX48" fmla="*/ 1094423 w 1226820"/>
                <a:gd name="connsiteY48" fmla="*/ 0 h 237678"/>
                <a:gd name="connsiteX49" fmla="*/ 1054418 w 1226820"/>
                <a:gd name="connsiteY49" fmla="*/ 0 h 237678"/>
                <a:gd name="connsiteX50" fmla="*/ 1017270 w 1226820"/>
                <a:gd name="connsiteY50" fmla="*/ 0 h 237678"/>
                <a:gd name="connsiteX51" fmla="*/ 982980 w 1226820"/>
                <a:gd name="connsiteY51" fmla="*/ 0 h 237678"/>
                <a:gd name="connsiteX52" fmla="*/ 949643 w 1226820"/>
                <a:gd name="connsiteY52" fmla="*/ 0 h 237678"/>
                <a:gd name="connsiteX53" fmla="*/ 918210 w 1226820"/>
                <a:gd name="connsiteY53" fmla="*/ 0 h 237678"/>
                <a:gd name="connsiteX54" fmla="*/ 885825 w 1226820"/>
                <a:gd name="connsiteY54" fmla="*/ 0 h 237678"/>
                <a:gd name="connsiteX55" fmla="*/ 868680 w 1226820"/>
                <a:gd name="connsiteY55" fmla="*/ 0 h 237678"/>
                <a:gd name="connsiteX56" fmla="*/ 840105 w 1226820"/>
                <a:gd name="connsiteY56" fmla="*/ 0 h 237678"/>
                <a:gd name="connsiteX57" fmla="*/ 809625 w 1226820"/>
                <a:gd name="connsiteY57" fmla="*/ 0 h 237678"/>
                <a:gd name="connsiteX58" fmla="*/ 777240 w 1226820"/>
                <a:gd name="connsiteY58" fmla="*/ 0 h 237678"/>
                <a:gd name="connsiteX59" fmla="*/ 742950 w 1226820"/>
                <a:gd name="connsiteY59" fmla="*/ 0 h 237678"/>
                <a:gd name="connsiteX60" fmla="*/ 706755 w 1226820"/>
                <a:gd name="connsiteY60" fmla="*/ 0 h 237678"/>
                <a:gd name="connsiteX61" fmla="*/ 669608 w 1226820"/>
                <a:gd name="connsiteY61" fmla="*/ 0 h 237678"/>
                <a:gd name="connsiteX62" fmla="*/ 631508 w 1226820"/>
                <a:gd name="connsiteY62" fmla="*/ 0 h 237678"/>
                <a:gd name="connsiteX63" fmla="*/ 593408 w 1226820"/>
                <a:gd name="connsiteY63" fmla="*/ 0 h 237678"/>
                <a:gd name="connsiteX64" fmla="*/ 555308 w 1226820"/>
                <a:gd name="connsiteY64" fmla="*/ 0 h 237678"/>
                <a:gd name="connsiteX65" fmla="*/ 517208 w 1226820"/>
                <a:gd name="connsiteY65" fmla="*/ 0 h 237678"/>
                <a:gd name="connsiteX66" fmla="*/ 481965 w 1226820"/>
                <a:gd name="connsiteY66" fmla="*/ 0 h 237678"/>
                <a:gd name="connsiteX67" fmla="*/ 447675 w 1226820"/>
                <a:gd name="connsiteY67" fmla="*/ 0 h 237678"/>
                <a:gd name="connsiteX68" fmla="*/ 415290 w 1226820"/>
                <a:gd name="connsiteY68" fmla="*/ 0 h 237678"/>
                <a:gd name="connsiteX69" fmla="*/ 384810 w 1226820"/>
                <a:gd name="connsiteY69" fmla="*/ 0 h 237678"/>
                <a:gd name="connsiteX70" fmla="*/ 357188 w 1226820"/>
                <a:gd name="connsiteY70" fmla="*/ 0 h 237678"/>
                <a:gd name="connsiteX71" fmla="*/ 324803 w 1226820"/>
                <a:gd name="connsiteY71" fmla="*/ 0 h 237678"/>
                <a:gd name="connsiteX72" fmla="*/ 292417 w 1226820"/>
                <a:gd name="connsiteY72" fmla="*/ 0 h 237678"/>
                <a:gd name="connsiteX73" fmla="*/ 260985 w 1226820"/>
                <a:gd name="connsiteY73" fmla="*/ 0 h 237678"/>
                <a:gd name="connsiteX74" fmla="*/ 226695 w 1226820"/>
                <a:gd name="connsiteY74" fmla="*/ 0 h 237678"/>
                <a:gd name="connsiteX75" fmla="*/ 190500 w 1226820"/>
                <a:gd name="connsiteY75" fmla="*/ 0 h 237678"/>
                <a:gd name="connsiteX76" fmla="*/ 152400 w 1226820"/>
                <a:gd name="connsiteY76" fmla="*/ 0 h 237678"/>
                <a:gd name="connsiteX77" fmla="*/ 112395 w 1226820"/>
                <a:gd name="connsiteY77" fmla="*/ 0 h 237678"/>
                <a:gd name="connsiteX78" fmla="*/ 73342 w 1226820"/>
                <a:gd name="connsiteY78" fmla="*/ 0 h 237678"/>
                <a:gd name="connsiteX79" fmla="*/ 40958 w 1226820"/>
                <a:gd name="connsiteY79" fmla="*/ 0 h 237678"/>
                <a:gd name="connsiteX80" fmla="*/ 17145 w 1226820"/>
                <a:gd name="connsiteY80" fmla="*/ 0 h 237678"/>
                <a:gd name="connsiteX81" fmla="*/ 3810 w 1226820"/>
                <a:gd name="connsiteY81" fmla="*/ 0 h 237678"/>
                <a:gd name="connsiteX82" fmla="*/ 0 w 1226820"/>
                <a:gd name="connsiteY82" fmla="*/ 0 h 237678"/>
                <a:gd name="connsiteX83" fmla="*/ 0 w 1226820"/>
                <a:gd name="connsiteY83" fmla="*/ 0 h 237678"/>
                <a:gd name="connsiteX84" fmla="*/ 0 w 1226820"/>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7678">
                  <a:moveTo>
                    <a:pt x="0" y="237678"/>
                  </a:moveTo>
                  <a:lnTo>
                    <a:pt x="953" y="237678"/>
                  </a:lnTo>
                  <a:lnTo>
                    <a:pt x="8573" y="237678"/>
                  </a:lnTo>
                  <a:lnTo>
                    <a:pt x="26670" y="237678"/>
                  </a:lnTo>
                  <a:lnTo>
                    <a:pt x="56198" y="237678"/>
                  </a:lnTo>
                  <a:lnTo>
                    <a:pt x="92392" y="237678"/>
                  </a:lnTo>
                  <a:lnTo>
                    <a:pt x="132398" y="237678"/>
                  </a:lnTo>
                  <a:lnTo>
                    <a:pt x="171450" y="237678"/>
                  </a:lnTo>
                  <a:lnTo>
                    <a:pt x="208598" y="237678"/>
                  </a:lnTo>
                  <a:lnTo>
                    <a:pt x="243840" y="237678"/>
                  </a:lnTo>
                  <a:lnTo>
                    <a:pt x="276225" y="237678"/>
                  </a:lnTo>
                  <a:lnTo>
                    <a:pt x="308610" y="237678"/>
                  </a:lnTo>
                  <a:lnTo>
                    <a:pt x="340995" y="237678"/>
                  </a:lnTo>
                  <a:lnTo>
                    <a:pt x="357188" y="237678"/>
                  </a:lnTo>
                  <a:lnTo>
                    <a:pt x="386715" y="237678"/>
                  </a:lnTo>
                  <a:lnTo>
                    <a:pt x="417195" y="237678"/>
                  </a:lnTo>
                  <a:lnTo>
                    <a:pt x="449580" y="237678"/>
                  </a:lnTo>
                  <a:lnTo>
                    <a:pt x="483870" y="237678"/>
                  </a:lnTo>
                  <a:lnTo>
                    <a:pt x="519113" y="237678"/>
                  </a:lnTo>
                  <a:lnTo>
                    <a:pt x="556260" y="237678"/>
                  </a:lnTo>
                  <a:lnTo>
                    <a:pt x="594360" y="237678"/>
                  </a:lnTo>
                  <a:lnTo>
                    <a:pt x="633413" y="237678"/>
                  </a:lnTo>
                  <a:lnTo>
                    <a:pt x="671513" y="237678"/>
                  </a:lnTo>
                  <a:lnTo>
                    <a:pt x="708660" y="237678"/>
                  </a:lnTo>
                  <a:lnTo>
                    <a:pt x="743902" y="237678"/>
                  </a:lnTo>
                  <a:lnTo>
                    <a:pt x="778193" y="237678"/>
                  </a:lnTo>
                  <a:lnTo>
                    <a:pt x="810577" y="237678"/>
                  </a:lnTo>
                  <a:lnTo>
                    <a:pt x="841058" y="237678"/>
                  </a:lnTo>
                  <a:lnTo>
                    <a:pt x="868680" y="237678"/>
                  </a:lnTo>
                  <a:lnTo>
                    <a:pt x="902018" y="237678"/>
                  </a:lnTo>
                  <a:lnTo>
                    <a:pt x="933450" y="237678"/>
                  </a:lnTo>
                  <a:lnTo>
                    <a:pt x="965835" y="237678"/>
                  </a:lnTo>
                  <a:lnTo>
                    <a:pt x="999173" y="237678"/>
                  </a:lnTo>
                  <a:lnTo>
                    <a:pt x="1035368" y="237678"/>
                  </a:lnTo>
                  <a:lnTo>
                    <a:pt x="1073468" y="237678"/>
                  </a:lnTo>
                  <a:lnTo>
                    <a:pt x="1113473" y="237678"/>
                  </a:lnTo>
                  <a:lnTo>
                    <a:pt x="1152525" y="237678"/>
                  </a:lnTo>
                  <a:lnTo>
                    <a:pt x="1185863" y="237678"/>
                  </a:lnTo>
                  <a:lnTo>
                    <a:pt x="1209675" y="237678"/>
                  </a:lnTo>
                  <a:lnTo>
                    <a:pt x="1222058" y="237678"/>
                  </a:lnTo>
                  <a:lnTo>
                    <a:pt x="1225868" y="237678"/>
                  </a:lnTo>
                  <a:lnTo>
                    <a:pt x="1226820" y="237678"/>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7678"/>
                  </a:lnTo>
                  <a:close/>
                </a:path>
              </a:pathLst>
            </a:custGeom>
            <a:noFill/>
            <a:ln w="9525" cap="flat">
              <a:solidFill>
                <a:srgbClr val="BBBDBF"/>
              </a:solidFill>
              <a:prstDash val="solid"/>
              <a:miter/>
            </a:ln>
          </p:spPr>
          <p:txBody>
            <a:bodyPr rtlCol="0" anchor="ctr"/>
            <a:lstStyle/>
            <a:p>
              <a:endParaRPr lang="en-US" sz="1050"/>
            </a:p>
          </p:txBody>
        </p:sp>
        <p:sp>
          <p:nvSpPr>
            <p:cNvPr id="177" name="Freeform 229">
              <a:extLst>
                <a:ext uri="{FF2B5EF4-FFF2-40B4-BE49-F238E27FC236}">
                  <a16:creationId xmlns:a16="http://schemas.microsoft.com/office/drawing/2014/main" id="{6EA48C55-F1E2-2939-8318-D9ACED3FDB3F}"/>
                </a:ext>
              </a:extLst>
            </p:cNvPr>
            <p:cNvSpPr/>
            <p:nvPr/>
          </p:nvSpPr>
          <p:spPr>
            <a:xfrm>
              <a:off x="2147856" y="6014624"/>
              <a:ext cx="1226820" cy="237678"/>
            </a:xfrm>
            <a:custGeom>
              <a:avLst/>
              <a:gdLst>
                <a:gd name="connsiteX0" fmla="*/ 0 w 1226820"/>
                <a:gd name="connsiteY0" fmla="*/ 237678 h 237678"/>
                <a:gd name="connsiteX1" fmla="*/ 953 w 1226820"/>
                <a:gd name="connsiteY1" fmla="*/ 237678 h 237678"/>
                <a:gd name="connsiteX2" fmla="*/ 8573 w 1226820"/>
                <a:gd name="connsiteY2" fmla="*/ 237678 h 237678"/>
                <a:gd name="connsiteX3" fmla="*/ 26670 w 1226820"/>
                <a:gd name="connsiteY3" fmla="*/ 237678 h 237678"/>
                <a:gd name="connsiteX4" fmla="*/ 56198 w 1226820"/>
                <a:gd name="connsiteY4" fmla="*/ 237678 h 237678"/>
                <a:gd name="connsiteX5" fmla="*/ 92392 w 1226820"/>
                <a:gd name="connsiteY5" fmla="*/ 237678 h 237678"/>
                <a:gd name="connsiteX6" fmla="*/ 132398 w 1226820"/>
                <a:gd name="connsiteY6" fmla="*/ 237678 h 237678"/>
                <a:gd name="connsiteX7" fmla="*/ 171450 w 1226820"/>
                <a:gd name="connsiteY7" fmla="*/ 237678 h 237678"/>
                <a:gd name="connsiteX8" fmla="*/ 208598 w 1226820"/>
                <a:gd name="connsiteY8" fmla="*/ 237678 h 237678"/>
                <a:gd name="connsiteX9" fmla="*/ 243840 w 1226820"/>
                <a:gd name="connsiteY9" fmla="*/ 237678 h 237678"/>
                <a:gd name="connsiteX10" fmla="*/ 276225 w 1226820"/>
                <a:gd name="connsiteY10" fmla="*/ 237678 h 237678"/>
                <a:gd name="connsiteX11" fmla="*/ 308610 w 1226820"/>
                <a:gd name="connsiteY11" fmla="*/ 237678 h 237678"/>
                <a:gd name="connsiteX12" fmla="*/ 340995 w 1226820"/>
                <a:gd name="connsiteY12" fmla="*/ 237678 h 237678"/>
                <a:gd name="connsiteX13" fmla="*/ 357188 w 1226820"/>
                <a:gd name="connsiteY13" fmla="*/ 237678 h 237678"/>
                <a:gd name="connsiteX14" fmla="*/ 386715 w 1226820"/>
                <a:gd name="connsiteY14" fmla="*/ 237678 h 237678"/>
                <a:gd name="connsiteX15" fmla="*/ 417195 w 1226820"/>
                <a:gd name="connsiteY15" fmla="*/ 237678 h 237678"/>
                <a:gd name="connsiteX16" fmla="*/ 449580 w 1226820"/>
                <a:gd name="connsiteY16" fmla="*/ 237678 h 237678"/>
                <a:gd name="connsiteX17" fmla="*/ 483870 w 1226820"/>
                <a:gd name="connsiteY17" fmla="*/ 237678 h 237678"/>
                <a:gd name="connsiteX18" fmla="*/ 519113 w 1226820"/>
                <a:gd name="connsiteY18" fmla="*/ 237678 h 237678"/>
                <a:gd name="connsiteX19" fmla="*/ 556260 w 1226820"/>
                <a:gd name="connsiteY19" fmla="*/ 237678 h 237678"/>
                <a:gd name="connsiteX20" fmla="*/ 594360 w 1226820"/>
                <a:gd name="connsiteY20" fmla="*/ 237678 h 237678"/>
                <a:gd name="connsiteX21" fmla="*/ 633413 w 1226820"/>
                <a:gd name="connsiteY21" fmla="*/ 237678 h 237678"/>
                <a:gd name="connsiteX22" fmla="*/ 671513 w 1226820"/>
                <a:gd name="connsiteY22" fmla="*/ 237678 h 237678"/>
                <a:gd name="connsiteX23" fmla="*/ 708660 w 1226820"/>
                <a:gd name="connsiteY23" fmla="*/ 237678 h 237678"/>
                <a:gd name="connsiteX24" fmla="*/ 743902 w 1226820"/>
                <a:gd name="connsiteY24" fmla="*/ 237678 h 237678"/>
                <a:gd name="connsiteX25" fmla="*/ 778193 w 1226820"/>
                <a:gd name="connsiteY25" fmla="*/ 237678 h 237678"/>
                <a:gd name="connsiteX26" fmla="*/ 810577 w 1226820"/>
                <a:gd name="connsiteY26" fmla="*/ 237678 h 237678"/>
                <a:gd name="connsiteX27" fmla="*/ 841058 w 1226820"/>
                <a:gd name="connsiteY27" fmla="*/ 237678 h 237678"/>
                <a:gd name="connsiteX28" fmla="*/ 868680 w 1226820"/>
                <a:gd name="connsiteY28" fmla="*/ 237678 h 237678"/>
                <a:gd name="connsiteX29" fmla="*/ 902018 w 1226820"/>
                <a:gd name="connsiteY29" fmla="*/ 237678 h 237678"/>
                <a:gd name="connsiteX30" fmla="*/ 933450 w 1226820"/>
                <a:gd name="connsiteY30" fmla="*/ 237678 h 237678"/>
                <a:gd name="connsiteX31" fmla="*/ 965835 w 1226820"/>
                <a:gd name="connsiteY31" fmla="*/ 237678 h 237678"/>
                <a:gd name="connsiteX32" fmla="*/ 999173 w 1226820"/>
                <a:gd name="connsiteY32" fmla="*/ 237678 h 237678"/>
                <a:gd name="connsiteX33" fmla="*/ 1035368 w 1226820"/>
                <a:gd name="connsiteY33" fmla="*/ 237678 h 237678"/>
                <a:gd name="connsiteX34" fmla="*/ 1073468 w 1226820"/>
                <a:gd name="connsiteY34" fmla="*/ 237678 h 237678"/>
                <a:gd name="connsiteX35" fmla="*/ 1113473 w 1226820"/>
                <a:gd name="connsiteY35" fmla="*/ 237678 h 237678"/>
                <a:gd name="connsiteX36" fmla="*/ 1152525 w 1226820"/>
                <a:gd name="connsiteY36" fmla="*/ 237678 h 237678"/>
                <a:gd name="connsiteX37" fmla="*/ 1185863 w 1226820"/>
                <a:gd name="connsiteY37" fmla="*/ 237678 h 237678"/>
                <a:gd name="connsiteX38" fmla="*/ 1209675 w 1226820"/>
                <a:gd name="connsiteY38" fmla="*/ 237678 h 237678"/>
                <a:gd name="connsiteX39" fmla="*/ 1222058 w 1226820"/>
                <a:gd name="connsiteY39" fmla="*/ 237678 h 237678"/>
                <a:gd name="connsiteX40" fmla="*/ 1225868 w 1226820"/>
                <a:gd name="connsiteY40" fmla="*/ 237678 h 237678"/>
                <a:gd name="connsiteX41" fmla="*/ 1226820 w 1226820"/>
                <a:gd name="connsiteY41" fmla="*/ 237678 h 237678"/>
                <a:gd name="connsiteX42" fmla="*/ 1226820 w 1226820"/>
                <a:gd name="connsiteY42" fmla="*/ 0 h 237678"/>
                <a:gd name="connsiteX43" fmla="*/ 1224915 w 1226820"/>
                <a:gd name="connsiteY43" fmla="*/ 0 h 237678"/>
                <a:gd name="connsiteX44" fmla="*/ 1217295 w 1226820"/>
                <a:gd name="connsiteY44" fmla="*/ 0 h 237678"/>
                <a:gd name="connsiteX45" fmla="*/ 1199198 w 1226820"/>
                <a:gd name="connsiteY45" fmla="*/ 0 h 237678"/>
                <a:gd name="connsiteX46" fmla="*/ 1170623 w 1226820"/>
                <a:gd name="connsiteY46" fmla="*/ 0 h 237678"/>
                <a:gd name="connsiteX47" fmla="*/ 1133475 w 1226820"/>
                <a:gd name="connsiteY47" fmla="*/ 0 h 237678"/>
                <a:gd name="connsiteX48" fmla="*/ 1094423 w 1226820"/>
                <a:gd name="connsiteY48" fmla="*/ 0 h 237678"/>
                <a:gd name="connsiteX49" fmla="*/ 1054418 w 1226820"/>
                <a:gd name="connsiteY49" fmla="*/ 0 h 237678"/>
                <a:gd name="connsiteX50" fmla="*/ 1017270 w 1226820"/>
                <a:gd name="connsiteY50" fmla="*/ 0 h 237678"/>
                <a:gd name="connsiteX51" fmla="*/ 982980 w 1226820"/>
                <a:gd name="connsiteY51" fmla="*/ 0 h 237678"/>
                <a:gd name="connsiteX52" fmla="*/ 949643 w 1226820"/>
                <a:gd name="connsiteY52" fmla="*/ 0 h 237678"/>
                <a:gd name="connsiteX53" fmla="*/ 918210 w 1226820"/>
                <a:gd name="connsiteY53" fmla="*/ 0 h 237678"/>
                <a:gd name="connsiteX54" fmla="*/ 885825 w 1226820"/>
                <a:gd name="connsiteY54" fmla="*/ 0 h 237678"/>
                <a:gd name="connsiteX55" fmla="*/ 868680 w 1226820"/>
                <a:gd name="connsiteY55" fmla="*/ 0 h 237678"/>
                <a:gd name="connsiteX56" fmla="*/ 840105 w 1226820"/>
                <a:gd name="connsiteY56" fmla="*/ 0 h 237678"/>
                <a:gd name="connsiteX57" fmla="*/ 809625 w 1226820"/>
                <a:gd name="connsiteY57" fmla="*/ 0 h 237678"/>
                <a:gd name="connsiteX58" fmla="*/ 777240 w 1226820"/>
                <a:gd name="connsiteY58" fmla="*/ 0 h 237678"/>
                <a:gd name="connsiteX59" fmla="*/ 742950 w 1226820"/>
                <a:gd name="connsiteY59" fmla="*/ 0 h 237678"/>
                <a:gd name="connsiteX60" fmla="*/ 706755 w 1226820"/>
                <a:gd name="connsiteY60" fmla="*/ 0 h 237678"/>
                <a:gd name="connsiteX61" fmla="*/ 669608 w 1226820"/>
                <a:gd name="connsiteY61" fmla="*/ 0 h 237678"/>
                <a:gd name="connsiteX62" fmla="*/ 631508 w 1226820"/>
                <a:gd name="connsiteY62" fmla="*/ 0 h 237678"/>
                <a:gd name="connsiteX63" fmla="*/ 593408 w 1226820"/>
                <a:gd name="connsiteY63" fmla="*/ 0 h 237678"/>
                <a:gd name="connsiteX64" fmla="*/ 555308 w 1226820"/>
                <a:gd name="connsiteY64" fmla="*/ 0 h 237678"/>
                <a:gd name="connsiteX65" fmla="*/ 517208 w 1226820"/>
                <a:gd name="connsiteY65" fmla="*/ 0 h 237678"/>
                <a:gd name="connsiteX66" fmla="*/ 481965 w 1226820"/>
                <a:gd name="connsiteY66" fmla="*/ 0 h 237678"/>
                <a:gd name="connsiteX67" fmla="*/ 447675 w 1226820"/>
                <a:gd name="connsiteY67" fmla="*/ 0 h 237678"/>
                <a:gd name="connsiteX68" fmla="*/ 415290 w 1226820"/>
                <a:gd name="connsiteY68" fmla="*/ 0 h 237678"/>
                <a:gd name="connsiteX69" fmla="*/ 384810 w 1226820"/>
                <a:gd name="connsiteY69" fmla="*/ 0 h 237678"/>
                <a:gd name="connsiteX70" fmla="*/ 357188 w 1226820"/>
                <a:gd name="connsiteY70" fmla="*/ 0 h 237678"/>
                <a:gd name="connsiteX71" fmla="*/ 324803 w 1226820"/>
                <a:gd name="connsiteY71" fmla="*/ 0 h 237678"/>
                <a:gd name="connsiteX72" fmla="*/ 292417 w 1226820"/>
                <a:gd name="connsiteY72" fmla="*/ 0 h 237678"/>
                <a:gd name="connsiteX73" fmla="*/ 260985 w 1226820"/>
                <a:gd name="connsiteY73" fmla="*/ 0 h 237678"/>
                <a:gd name="connsiteX74" fmla="*/ 226695 w 1226820"/>
                <a:gd name="connsiteY74" fmla="*/ 0 h 237678"/>
                <a:gd name="connsiteX75" fmla="*/ 190500 w 1226820"/>
                <a:gd name="connsiteY75" fmla="*/ 0 h 237678"/>
                <a:gd name="connsiteX76" fmla="*/ 152400 w 1226820"/>
                <a:gd name="connsiteY76" fmla="*/ 0 h 237678"/>
                <a:gd name="connsiteX77" fmla="*/ 112395 w 1226820"/>
                <a:gd name="connsiteY77" fmla="*/ 0 h 237678"/>
                <a:gd name="connsiteX78" fmla="*/ 73342 w 1226820"/>
                <a:gd name="connsiteY78" fmla="*/ 0 h 237678"/>
                <a:gd name="connsiteX79" fmla="*/ 40958 w 1226820"/>
                <a:gd name="connsiteY79" fmla="*/ 0 h 237678"/>
                <a:gd name="connsiteX80" fmla="*/ 17145 w 1226820"/>
                <a:gd name="connsiteY80" fmla="*/ 0 h 237678"/>
                <a:gd name="connsiteX81" fmla="*/ 3810 w 1226820"/>
                <a:gd name="connsiteY81" fmla="*/ 0 h 237678"/>
                <a:gd name="connsiteX82" fmla="*/ 0 w 1226820"/>
                <a:gd name="connsiteY82" fmla="*/ 0 h 237678"/>
                <a:gd name="connsiteX83" fmla="*/ 0 w 1226820"/>
                <a:gd name="connsiteY83" fmla="*/ 0 h 237678"/>
                <a:gd name="connsiteX84" fmla="*/ 0 w 1226820"/>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7678">
                  <a:moveTo>
                    <a:pt x="0" y="237678"/>
                  </a:moveTo>
                  <a:lnTo>
                    <a:pt x="953" y="237678"/>
                  </a:lnTo>
                  <a:lnTo>
                    <a:pt x="8573" y="237678"/>
                  </a:lnTo>
                  <a:lnTo>
                    <a:pt x="26670" y="237678"/>
                  </a:lnTo>
                  <a:lnTo>
                    <a:pt x="56198" y="237678"/>
                  </a:lnTo>
                  <a:lnTo>
                    <a:pt x="92392" y="237678"/>
                  </a:lnTo>
                  <a:lnTo>
                    <a:pt x="132398" y="237678"/>
                  </a:lnTo>
                  <a:lnTo>
                    <a:pt x="171450" y="237678"/>
                  </a:lnTo>
                  <a:lnTo>
                    <a:pt x="208598" y="237678"/>
                  </a:lnTo>
                  <a:lnTo>
                    <a:pt x="243840" y="237678"/>
                  </a:lnTo>
                  <a:lnTo>
                    <a:pt x="276225" y="237678"/>
                  </a:lnTo>
                  <a:lnTo>
                    <a:pt x="308610" y="237678"/>
                  </a:lnTo>
                  <a:lnTo>
                    <a:pt x="340995" y="237678"/>
                  </a:lnTo>
                  <a:lnTo>
                    <a:pt x="357188" y="237678"/>
                  </a:lnTo>
                  <a:lnTo>
                    <a:pt x="386715" y="237678"/>
                  </a:lnTo>
                  <a:lnTo>
                    <a:pt x="417195" y="237678"/>
                  </a:lnTo>
                  <a:lnTo>
                    <a:pt x="449580" y="237678"/>
                  </a:lnTo>
                  <a:lnTo>
                    <a:pt x="483870" y="237678"/>
                  </a:lnTo>
                  <a:lnTo>
                    <a:pt x="519113" y="237678"/>
                  </a:lnTo>
                  <a:lnTo>
                    <a:pt x="556260" y="237678"/>
                  </a:lnTo>
                  <a:lnTo>
                    <a:pt x="594360" y="237678"/>
                  </a:lnTo>
                  <a:lnTo>
                    <a:pt x="633413" y="237678"/>
                  </a:lnTo>
                  <a:lnTo>
                    <a:pt x="671513" y="237678"/>
                  </a:lnTo>
                  <a:lnTo>
                    <a:pt x="708660" y="237678"/>
                  </a:lnTo>
                  <a:lnTo>
                    <a:pt x="743902" y="237678"/>
                  </a:lnTo>
                  <a:lnTo>
                    <a:pt x="778193" y="237678"/>
                  </a:lnTo>
                  <a:lnTo>
                    <a:pt x="810577" y="237678"/>
                  </a:lnTo>
                  <a:lnTo>
                    <a:pt x="841058" y="237678"/>
                  </a:lnTo>
                  <a:lnTo>
                    <a:pt x="868680" y="237678"/>
                  </a:lnTo>
                  <a:lnTo>
                    <a:pt x="902018" y="237678"/>
                  </a:lnTo>
                  <a:lnTo>
                    <a:pt x="933450" y="237678"/>
                  </a:lnTo>
                  <a:lnTo>
                    <a:pt x="965835" y="237678"/>
                  </a:lnTo>
                  <a:lnTo>
                    <a:pt x="999173" y="237678"/>
                  </a:lnTo>
                  <a:lnTo>
                    <a:pt x="1035368" y="237678"/>
                  </a:lnTo>
                  <a:lnTo>
                    <a:pt x="1073468" y="237678"/>
                  </a:lnTo>
                  <a:lnTo>
                    <a:pt x="1113473" y="237678"/>
                  </a:lnTo>
                  <a:lnTo>
                    <a:pt x="1152525" y="237678"/>
                  </a:lnTo>
                  <a:lnTo>
                    <a:pt x="1185863" y="237678"/>
                  </a:lnTo>
                  <a:lnTo>
                    <a:pt x="1209675" y="237678"/>
                  </a:lnTo>
                  <a:lnTo>
                    <a:pt x="1222058" y="237678"/>
                  </a:lnTo>
                  <a:lnTo>
                    <a:pt x="1225868" y="237678"/>
                  </a:lnTo>
                  <a:lnTo>
                    <a:pt x="1226820" y="237678"/>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7678"/>
                  </a:lnTo>
                  <a:close/>
                </a:path>
              </a:pathLst>
            </a:custGeom>
            <a:solidFill>
              <a:srgbClr val="BBBDBF">
                <a:alpha val="60000"/>
              </a:srgbClr>
            </a:solidFill>
            <a:ln w="9525" cap="flat">
              <a:noFill/>
              <a:prstDash val="solid"/>
              <a:miter/>
            </a:ln>
          </p:spPr>
          <p:txBody>
            <a:bodyPr rtlCol="0" anchor="ctr"/>
            <a:lstStyle/>
            <a:p>
              <a:endParaRPr lang="en-US" sz="1050"/>
            </a:p>
          </p:txBody>
        </p:sp>
        <p:sp>
          <p:nvSpPr>
            <p:cNvPr id="178" name="Freeform 230">
              <a:extLst>
                <a:ext uri="{FF2B5EF4-FFF2-40B4-BE49-F238E27FC236}">
                  <a16:creationId xmlns:a16="http://schemas.microsoft.com/office/drawing/2014/main" id="{A89DD014-8687-1268-38B2-37213136B114}"/>
                </a:ext>
              </a:extLst>
            </p:cNvPr>
            <p:cNvSpPr/>
            <p:nvPr/>
          </p:nvSpPr>
          <p:spPr>
            <a:xfrm>
              <a:off x="2147856" y="6014624"/>
              <a:ext cx="1226820" cy="237678"/>
            </a:xfrm>
            <a:custGeom>
              <a:avLst/>
              <a:gdLst>
                <a:gd name="connsiteX0" fmla="*/ 0 w 1226820"/>
                <a:gd name="connsiteY0" fmla="*/ 237678 h 237678"/>
                <a:gd name="connsiteX1" fmla="*/ 953 w 1226820"/>
                <a:gd name="connsiteY1" fmla="*/ 237678 h 237678"/>
                <a:gd name="connsiteX2" fmla="*/ 8573 w 1226820"/>
                <a:gd name="connsiteY2" fmla="*/ 237678 h 237678"/>
                <a:gd name="connsiteX3" fmla="*/ 26670 w 1226820"/>
                <a:gd name="connsiteY3" fmla="*/ 237678 h 237678"/>
                <a:gd name="connsiteX4" fmla="*/ 56198 w 1226820"/>
                <a:gd name="connsiteY4" fmla="*/ 237678 h 237678"/>
                <a:gd name="connsiteX5" fmla="*/ 92392 w 1226820"/>
                <a:gd name="connsiteY5" fmla="*/ 237678 h 237678"/>
                <a:gd name="connsiteX6" fmla="*/ 132398 w 1226820"/>
                <a:gd name="connsiteY6" fmla="*/ 237678 h 237678"/>
                <a:gd name="connsiteX7" fmla="*/ 171450 w 1226820"/>
                <a:gd name="connsiteY7" fmla="*/ 237678 h 237678"/>
                <a:gd name="connsiteX8" fmla="*/ 208598 w 1226820"/>
                <a:gd name="connsiteY8" fmla="*/ 237678 h 237678"/>
                <a:gd name="connsiteX9" fmla="*/ 243840 w 1226820"/>
                <a:gd name="connsiteY9" fmla="*/ 237678 h 237678"/>
                <a:gd name="connsiteX10" fmla="*/ 276225 w 1226820"/>
                <a:gd name="connsiteY10" fmla="*/ 237678 h 237678"/>
                <a:gd name="connsiteX11" fmla="*/ 308610 w 1226820"/>
                <a:gd name="connsiteY11" fmla="*/ 237678 h 237678"/>
                <a:gd name="connsiteX12" fmla="*/ 340995 w 1226820"/>
                <a:gd name="connsiteY12" fmla="*/ 237678 h 237678"/>
                <a:gd name="connsiteX13" fmla="*/ 357188 w 1226820"/>
                <a:gd name="connsiteY13" fmla="*/ 237678 h 237678"/>
                <a:gd name="connsiteX14" fmla="*/ 386715 w 1226820"/>
                <a:gd name="connsiteY14" fmla="*/ 237678 h 237678"/>
                <a:gd name="connsiteX15" fmla="*/ 417195 w 1226820"/>
                <a:gd name="connsiteY15" fmla="*/ 237678 h 237678"/>
                <a:gd name="connsiteX16" fmla="*/ 449580 w 1226820"/>
                <a:gd name="connsiteY16" fmla="*/ 237678 h 237678"/>
                <a:gd name="connsiteX17" fmla="*/ 483870 w 1226820"/>
                <a:gd name="connsiteY17" fmla="*/ 237678 h 237678"/>
                <a:gd name="connsiteX18" fmla="*/ 519113 w 1226820"/>
                <a:gd name="connsiteY18" fmla="*/ 237678 h 237678"/>
                <a:gd name="connsiteX19" fmla="*/ 556260 w 1226820"/>
                <a:gd name="connsiteY19" fmla="*/ 237678 h 237678"/>
                <a:gd name="connsiteX20" fmla="*/ 594360 w 1226820"/>
                <a:gd name="connsiteY20" fmla="*/ 237678 h 237678"/>
                <a:gd name="connsiteX21" fmla="*/ 633413 w 1226820"/>
                <a:gd name="connsiteY21" fmla="*/ 237678 h 237678"/>
                <a:gd name="connsiteX22" fmla="*/ 671513 w 1226820"/>
                <a:gd name="connsiteY22" fmla="*/ 237678 h 237678"/>
                <a:gd name="connsiteX23" fmla="*/ 708660 w 1226820"/>
                <a:gd name="connsiteY23" fmla="*/ 237678 h 237678"/>
                <a:gd name="connsiteX24" fmla="*/ 743902 w 1226820"/>
                <a:gd name="connsiteY24" fmla="*/ 237678 h 237678"/>
                <a:gd name="connsiteX25" fmla="*/ 778193 w 1226820"/>
                <a:gd name="connsiteY25" fmla="*/ 237678 h 237678"/>
                <a:gd name="connsiteX26" fmla="*/ 810577 w 1226820"/>
                <a:gd name="connsiteY26" fmla="*/ 237678 h 237678"/>
                <a:gd name="connsiteX27" fmla="*/ 841058 w 1226820"/>
                <a:gd name="connsiteY27" fmla="*/ 237678 h 237678"/>
                <a:gd name="connsiteX28" fmla="*/ 868680 w 1226820"/>
                <a:gd name="connsiteY28" fmla="*/ 237678 h 237678"/>
                <a:gd name="connsiteX29" fmla="*/ 902018 w 1226820"/>
                <a:gd name="connsiteY29" fmla="*/ 237678 h 237678"/>
                <a:gd name="connsiteX30" fmla="*/ 933450 w 1226820"/>
                <a:gd name="connsiteY30" fmla="*/ 237678 h 237678"/>
                <a:gd name="connsiteX31" fmla="*/ 965835 w 1226820"/>
                <a:gd name="connsiteY31" fmla="*/ 237678 h 237678"/>
                <a:gd name="connsiteX32" fmla="*/ 999173 w 1226820"/>
                <a:gd name="connsiteY32" fmla="*/ 237678 h 237678"/>
                <a:gd name="connsiteX33" fmla="*/ 1035368 w 1226820"/>
                <a:gd name="connsiteY33" fmla="*/ 237678 h 237678"/>
                <a:gd name="connsiteX34" fmla="*/ 1073468 w 1226820"/>
                <a:gd name="connsiteY34" fmla="*/ 237678 h 237678"/>
                <a:gd name="connsiteX35" fmla="*/ 1113473 w 1226820"/>
                <a:gd name="connsiteY35" fmla="*/ 237678 h 237678"/>
                <a:gd name="connsiteX36" fmla="*/ 1152525 w 1226820"/>
                <a:gd name="connsiteY36" fmla="*/ 237678 h 237678"/>
                <a:gd name="connsiteX37" fmla="*/ 1185863 w 1226820"/>
                <a:gd name="connsiteY37" fmla="*/ 237678 h 237678"/>
                <a:gd name="connsiteX38" fmla="*/ 1209675 w 1226820"/>
                <a:gd name="connsiteY38" fmla="*/ 237678 h 237678"/>
                <a:gd name="connsiteX39" fmla="*/ 1222058 w 1226820"/>
                <a:gd name="connsiteY39" fmla="*/ 237678 h 237678"/>
                <a:gd name="connsiteX40" fmla="*/ 1225868 w 1226820"/>
                <a:gd name="connsiteY40" fmla="*/ 237678 h 237678"/>
                <a:gd name="connsiteX41" fmla="*/ 1226820 w 1226820"/>
                <a:gd name="connsiteY41" fmla="*/ 237678 h 237678"/>
                <a:gd name="connsiteX42" fmla="*/ 1226820 w 1226820"/>
                <a:gd name="connsiteY42" fmla="*/ 0 h 237678"/>
                <a:gd name="connsiteX43" fmla="*/ 1224915 w 1226820"/>
                <a:gd name="connsiteY43" fmla="*/ 0 h 237678"/>
                <a:gd name="connsiteX44" fmla="*/ 1217295 w 1226820"/>
                <a:gd name="connsiteY44" fmla="*/ 0 h 237678"/>
                <a:gd name="connsiteX45" fmla="*/ 1199198 w 1226820"/>
                <a:gd name="connsiteY45" fmla="*/ 0 h 237678"/>
                <a:gd name="connsiteX46" fmla="*/ 1170623 w 1226820"/>
                <a:gd name="connsiteY46" fmla="*/ 0 h 237678"/>
                <a:gd name="connsiteX47" fmla="*/ 1133475 w 1226820"/>
                <a:gd name="connsiteY47" fmla="*/ 0 h 237678"/>
                <a:gd name="connsiteX48" fmla="*/ 1094423 w 1226820"/>
                <a:gd name="connsiteY48" fmla="*/ 0 h 237678"/>
                <a:gd name="connsiteX49" fmla="*/ 1054418 w 1226820"/>
                <a:gd name="connsiteY49" fmla="*/ 0 h 237678"/>
                <a:gd name="connsiteX50" fmla="*/ 1017270 w 1226820"/>
                <a:gd name="connsiteY50" fmla="*/ 0 h 237678"/>
                <a:gd name="connsiteX51" fmla="*/ 982980 w 1226820"/>
                <a:gd name="connsiteY51" fmla="*/ 0 h 237678"/>
                <a:gd name="connsiteX52" fmla="*/ 949643 w 1226820"/>
                <a:gd name="connsiteY52" fmla="*/ 0 h 237678"/>
                <a:gd name="connsiteX53" fmla="*/ 918210 w 1226820"/>
                <a:gd name="connsiteY53" fmla="*/ 0 h 237678"/>
                <a:gd name="connsiteX54" fmla="*/ 885825 w 1226820"/>
                <a:gd name="connsiteY54" fmla="*/ 0 h 237678"/>
                <a:gd name="connsiteX55" fmla="*/ 868680 w 1226820"/>
                <a:gd name="connsiteY55" fmla="*/ 0 h 237678"/>
                <a:gd name="connsiteX56" fmla="*/ 840105 w 1226820"/>
                <a:gd name="connsiteY56" fmla="*/ 0 h 237678"/>
                <a:gd name="connsiteX57" fmla="*/ 809625 w 1226820"/>
                <a:gd name="connsiteY57" fmla="*/ 0 h 237678"/>
                <a:gd name="connsiteX58" fmla="*/ 777240 w 1226820"/>
                <a:gd name="connsiteY58" fmla="*/ 0 h 237678"/>
                <a:gd name="connsiteX59" fmla="*/ 742950 w 1226820"/>
                <a:gd name="connsiteY59" fmla="*/ 0 h 237678"/>
                <a:gd name="connsiteX60" fmla="*/ 706755 w 1226820"/>
                <a:gd name="connsiteY60" fmla="*/ 0 h 237678"/>
                <a:gd name="connsiteX61" fmla="*/ 669608 w 1226820"/>
                <a:gd name="connsiteY61" fmla="*/ 0 h 237678"/>
                <a:gd name="connsiteX62" fmla="*/ 631508 w 1226820"/>
                <a:gd name="connsiteY62" fmla="*/ 0 h 237678"/>
                <a:gd name="connsiteX63" fmla="*/ 593408 w 1226820"/>
                <a:gd name="connsiteY63" fmla="*/ 0 h 237678"/>
                <a:gd name="connsiteX64" fmla="*/ 555308 w 1226820"/>
                <a:gd name="connsiteY64" fmla="*/ 0 h 237678"/>
                <a:gd name="connsiteX65" fmla="*/ 517208 w 1226820"/>
                <a:gd name="connsiteY65" fmla="*/ 0 h 237678"/>
                <a:gd name="connsiteX66" fmla="*/ 481965 w 1226820"/>
                <a:gd name="connsiteY66" fmla="*/ 0 h 237678"/>
                <a:gd name="connsiteX67" fmla="*/ 447675 w 1226820"/>
                <a:gd name="connsiteY67" fmla="*/ 0 h 237678"/>
                <a:gd name="connsiteX68" fmla="*/ 415290 w 1226820"/>
                <a:gd name="connsiteY68" fmla="*/ 0 h 237678"/>
                <a:gd name="connsiteX69" fmla="*/ 384810 w 1226820"/>
                <a:gd name="connsiteY69" fmla="*/ 0 h 237678"/>
                <a:gd name="connsiteX70" fmla="*/ 357188 w 1226820"/>
                <a:gd name="connsiteY70" fmla="*/ 0 h 237678"/>
                <a:gd name="connsiteX71" fmla="*/ 324803 w 1226820"/>
                <a:gd name="connsiteY71" fmla="*/ 0 h 237678"/>
                <a:gd name="connsiteX72" fmla="*/ 292417 w 1226820"/>
                <a:gd name="connsiteY72" fmla="*/ 0 h 237678"/>
                <a:gd name="connsiteX73" fmla="*/ 260985 w 1226820"/>
                <a:gd name="connsiteY73" fmla="*/ 0 h 237678"/>
                <a:gd name="connsiteX74" fmla="*/ 226695 w 1226820"/>
                <a:gd name="connsiteY74" fmla="*/ 0 h 237678"/>
                <a:gd name="connsiteX75" fmla="*/ 190500 w 1226820"/>
                <a:gd name="connsiteY75" fmla="*/ 0 h 237678"/>
                <a:gd name="connsiteX76" fmla="*/ 152400 w 1226820"/>
                <a:gd name="connsiteY76" fmla="*/ 0 h 237678"/>
                <a:gd name="connsiteX77" fmla="*/ 112395 w 1226820"/>
                <a:gd name="connsiteY77" fmla="*/ 0 h 237678"/>
                <a:gd name="connsiteX78" fmla="*/ 73342 w 1226820"/>
                <a:gd name="connsiteY78" fmla="*/ 0 h 237678"/>
                <a:gd name="connsiteX79" fmla="*/ 40958 w 1226820"/>
                <a:gd name="connsiteY79" fmla="*/ 0 h 237678"/>
                <a:gd name="connsiteX80" fmla="*/ 17145 w 1226820"/>
                <a:gd name="connsiteY80" fmla="*/ 0 h 237678"/>
                <a:gd name="connsiteX81" fmla="*/ 3810 w 1226820"/>
                <a:gd name="connsiteY81" fmla="*/ 0 h 237678"/>
                <a:gd name="connsiteX82" fmla="*/ 0 w 1226820"/>
                <a:gd name="connsiteY82" fmla="*/ 0 h 237678"/>
                <a:gd name="connsiteX83" fmla="*/ 0 w 1226820"/>
                <a:gd name="connsiteY83" fmla="*/ 0 h 237678"/>
                <a:gd name="connsiteX84" fmla="*/ 0 w 1226820"/>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7678">
                  <a:moveTo>
                    <a:pt x="0" y="237678"/>
                  </a:moveTo>
                  <a:lnTo>
                    <a:pt x="953" y="237678"/>
                  </a:lnTo>
                  <a:lnTo>
                    <a:pt x="8573" y="237678"/>
                  </a:lnTo>
                  <a:lnTo>
                    <a:pt x="26670" y="237678"/>
                  </a:lnTo>
                  <a:lnTo>
                    <a:pt x="56198" y="237678"/>
                  </a:lnTo>
                  <a:lnTo>
                    <a:pt x="92392" y="237678"/>
                  </a:lnTo>
                  <a:lnTo>
                    <a:pt x="132398" y="237678"/>
                  </a:lnTo>
                  <a:lnTo>
                    <a:pt x="171450" y="237678"/>
                  </a:lnTo>
                  <a:lnTo>
                    <a:pt x="208598" y="237678"/>
                  </a:lnTo>
                  <a:lnTo>
                    <a:pt x="243840" y="237678"/>
                  </a:lnTo>
                  <a:lnTo>
                    <a:pt x="276225" y="237678"/>
                  </a:lnTo>
                  <a:lnTo>
                    <a:pt x="308610" y="237678"/>
                  </a:lnTo>
                  <a:lnTo>
                    <a:pt x="340995" y="237678"/>
                  </a:lnTo>
                  <a:lnTo>
                    <a:pt x="357188" y="237678"/>
                  </a:lnTo>
                  <a:lnTo>
                    <a:pt x="386715" y="237678"/>
                  </a:lnTo>
                  <a:lnTo>
                    <a:pt x="417195" y="237678"/>
                  </a:lnTo>
                  <a:lnTo>
                    <a:pt x="449580" y="237678"/>
                  </a:lnTo>
                  <a:lnTo>
                    <a:pt x="483870" y="237678"/>
                  </a:lnTo>
                  <a:lnTo>
                    <a:pt x="519113" y="237678"/>
                  </a:lnTo>
                  <a:lnTo>
                    <a:pt x="556260" y="237678"/>
                  </a:lnTo>
                  <a:lnTo>
                    <a:pt x="594360" y="237678"/>
                  </a:lnTo>
                  <a:lnTo>
                    <a:pt x="633413" y="237678"/>
                  </a:lnTo>
                  <a:lnTo>
                    <a:pt x="671513" y="237678"/>
                  </a:lnTo>
                  <a:lnTo>
                    <a:pt x="708660" y="237678"/>
                  </a:lnTo>
                  <a:lnTo>
                    <a:pt x="743902" y="237678"/>
                  </a:lnTo>
                  <a:lnTo>
                    <a:pt x="778193" y="237678"/>
                  </a:lnTo>
                  <a:lnTo>
                    <a:pt x="810577" y="237678"/>
                  </a:lnTo>
                  <a:lnTo>
                    <a:pt x="841058" y="237678"/>
                  </a:lnTo>
                  <a:lnTo>
                    <a:pt x="868680" y="237678"/>
                  </a:lnTo>
                  <a:lnTo>
                    <a:pt x="902018" y="237678"/>
                  </a:lnTo>
                  <a:lnTo>
                    <a:pt x="933450" y="237678"/>
                  </a:lnTo>
                  <a:lnTo>
                    <a:pt x="965835" y="237678"/>
                  </a:lnTo>
                  <a:lnTo>
                    <a:pt x="999173" y="237678"/>
                  </a:lnTo>
                  <a:lnTo>
                    <a:pt x="1035368" y="237678"/>
                  </a:lnTo>
                  <a:lnTo>
                    <a:pt x="1073468" y="237678"/>
                  </a:lnTo>
                  <a:lnTo>
                    <a:pt x="1113473" y="237678"/>
                  </a:lnTo>
                  <a:lnTo>
                    <a:pt x="1152525" y="237678"/>
                  </a:lnTo>
                  <a:lnTo>
                    <a:pt x="1185863" y="237678"/>
                  </a:lnTo>
                  <a:lnTo>
                    <a:pt x="1209675" y="237678"/>
                  </a:lnTo>
                  <a:lnTo>
                    <a:pt x="1222058" y="237678"/>
                  </a:lnTo>
                  <a:lnTo>
                    <a:pt x="1225868" y="237678"/>
                  </a:lnTo>
                  <a:lnTo>
                    <a:pt x="1226820" y="237678"/>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7678"/>
                  </a:lnTo>
                  <a:close/>
                </a:path>
              </a:pathLst>
            </a:custGeom>
            <a:noFill/>
            <a:ln w="9525" cap="flat">
              <a:solidFill>
                <a:srgbClr val="BBBDBF"/>
              </a:solidFill>
              <a:prstDash val="solid"/>
              <a:miter/>
            </a:ln>
          </p:spPr>
          <p:txBody>
            <a:bodyPr rtlCol="0" anchor="ctr"/>
            <a:lstStyle/>
            <a:p>
              <a:endParaRPr lang="en-US" sz="1050"/>
            </a:p>
          </p:txBody>
        </p:sp>
        <p:sp>
          <p:nvSpPr>
            <p:cNvPr id="179" name="Freeform 231">
              <a:extLst>
                <a:ext uri="{FF2B5EF4-FFF2-40B4-BE49-F238E27FC236}">
                  <a16:creationId xmlns:a16="http://schemas.microsoft.com/office/drawing/2014/main" id="{232C2F12-56F1-64FD-436F-4C89D25193DD}"/>
                </a:ext>
              </a:extLst>
            </p:cNvPr>
            <p:cNvSpPr/>
            <p:nvPr/>
          </p:nvSpPr>
          <p:spPr>
            <a:xfrm>
              <a:off x="3987133" y="2214624"/>
              <a:ext cx="1226819" cy="475356"/>
            </a:xfrm>
            <a:custGeom>
              <a:avLst/>
              <a:gdLst>
                <a:gd name="connsiteX0" fmla="*/ 0 w 1226819"/>
                <a:gd name="connsiteY0" fmla="*/ 475357 h 475356"/>
                <a:gd name="connsiteX1" fmla="*/ 1905 w 1226819"/>
                <a:gd name="connsiteY1" fmla="*/ 475357 h 475356"/>
                <a:gd name="connsiteX2" fmla="*/ 9525 w 1226819"/>
                <a:gd name="connsiteY2" fmla="*/ 475357 h 475356"/>
                <a:gd name="connsiteX3" fmla="*/ 27623 w 1226819"/>
                <a:gd name="connsiteY3" fmla="*/ 474406 h 475356"/>
                <a:gd name="connsiteX4" fmla="*/ 56198 w 1226819"/>
                <a:gd name="connsiteY4" fmla="*/ 473455 h 475356"/>
                <a:gd name="connsiteX5" fmla="*/ 92393 w 1226819"/>
                <a:gd name="connsiteY5" fmla="*/ 471554 h 475356"/>
                <a:gd name="connsiteX6" fmla="*/ 132398 w 1226819"/>
                <a:gd name="connsiteY6" fmla="*/ 469652 h 475356"/>
                <a:gd name="connsiteX7" fmla="*/ 171450 w 1226819"/>
                <a:gd name="connsiteY7" fmla="*/ 465849 h 475356"/>
                <a:gd name="connsiteX8" fmla="*/ 208598 w 1226819"/>
                <a:gd name="connsiteY8" fmla="*/ 462997 h 475356"/>
                <a:gd name="connsiteX9" fmla="*/ 243840 w 1226819"/>
                <a:gd name="connsiteY9" fmla="*/ 458244 h 475356"/>
                <a:gd name="connsiteX10" fmla="*/ 276225 w 1226819"/>
                <a:gd name="connsiteY10" fmla="*/ 453490 h 475356"/>
                <a:gd name="connsiteX11" fmla="*/ 307658 w 1226819"/>
                <a:gd name="connsiteY11" fmla="*/ 447786 h 475356"/>
                <a:gd name="connsiteX12" fmla="*/ 340043 w 1226819"/>
                <a:gd name="connsiteY12" fmla="*/ 440180 h 475356"/>
                <a:gd name="connsiteX13" fmla="*/ 358140 w 1226819"/>
                <a:gd name="connsiteY13" fmla="*/ 435427 h 475356"/>
                <a:gd name="connsiteX14" fmla="*/ 386715 w 1226819"/>
                <a:gd name="connsiteY14" fmla="*/ 427821 h 475356"/>
                <a:gd name="connsiteX15" fmla="*/ 416243 w 1226819"/>
                <a:gd name="connsiteY15" fmla="*/ 419264 h 475356"/>
                <a:gd name="connsiteX16" fmla="*/ 447675 w 1226819"/>
                <a:gd name="connsiteY16" fmla="*/ 409757 h 475356"/>
                <a:gd name="connsiteX17" fmla="*/ 481013 w 1226819"/>
                <a:gd name="connsiteY17" fmla="*/ 399299 h 475356"/>
                <a:gd name="connsiteX18" fmla="*/ 516255 w 1226819"/>
                <a:gd name="connsiteY18" fmla="*/ 388842 h 475356"/>
                <a:gd name="connsiteX19" fmla="*/ 552450 w 1226819"/>
                <a:gd name="connsiteY19" fmla="*/ 376482 h 475356"/>
                <a:gd name="connsiteX20" fmla="*/ 589598 w 1226819"/>
                <a:gd name="connsiteY20" fmla="*/ 364123 h 475356"/>
                <a:gd name="connsiteX21" fmla="*/ 626745 w 1226819"/>
                <a:gd name="connsiteY21" fmla="*/ 351764 h 475356"/>
                <a:gd name="connsiteX22" fmla="*/ 663893 w 1226819"/>
                <a:gd name="connsiteY22" fmla="*/ 340355 h 475356"/>
                <a:gd name="connsiteX23" fmla="*/ 701040 w 1226819"/>
                <a:gd name="connsiteY23" fmla="*/ 327996 h 475356"/>
                <a:gd name="connsiteX24" fmla="*/ 736283 w 1226819"/>
                <a:gd name="connsiteY24" fmla="*/ 316587 h 475356"/>
                <a:gd name="connsiteX25" fmla="*/ 769620 w 1226819"/>
                <a:gd name="connsiteY25" fmla="*/ 306130 h 475356"/>
                <a:gd name="connsiteX26" fmla="*/ 802005 w 1226819"/>
                <a:gd name="connsiteY26" fmla="*/ 296622 h 475356"/>
                <a:gd name="connsiteX27" fmla="*/ 832485 w 1226819"/>
                <a:gd name="connsiteY27" fmla="*/ 287115 h 475356"/>
                <a:gd name="connsiteX28" fmla="*/ 861060 w 1226819"/>
                <a:gd name="connsiteY28" fmla="*/ 279510 h 475356"/>
                <a:gd name="connsiteX29" fmla="*/ 869633 w 1226819"/>
                <a:gd name="connsiteY29" fmla="*/ 277608 h 475356"/>
                <a:gd name="connsiteX30" fmla="*/ 902018 w 1226819"/>
                <a:gd name="connsiteY30" fmla="*/ 269052 h 475356"/>
                <a:gd name="connsiteX31" fmla="*/ 934403 w 1226819"/>
                <a:gd name="connsiteY31" fmla="*/ 262397 h 475356"/>
                <a:gd name="connsiteX32" fmla="*/ 965835 w 1226819"/>
                <a:gd name="connsiteY32" fmla="*/ 256693 h 475356"/>
                <a:gd name="connsiteX33" fmla="*/ 999173 w 1226819"/>
                <a:gd name="connsiteY33" fmla="*/ 252890 h 475356"/>
                <a:gd name="connsiteX34" fmla="*/ 1035368 w 1226819"/>
                <a:gd name="connsiteY34" fmla="*/ 249087 h 475356"/>
                <a:gd name="connsiteX35" fmla="*/ 1073468 w 1226819"/>
                <a:gd name="connsiteY35" fmla="*/ 245284 h 475356"/>
                <a:gd name="connsiteX36" fmla="*/ 1113473 w 1226819"/>
                <a:gd name="connsiteY36" fmla="*/ 242432 h 475356"/>
                <a:gd name="connsiteX37" fmla="*/ 1152525 w 1226819"/>
                <a:gd name="connsiteY37" fmla="*/ 240530 h 475356"/>
                <a:gd name="connsiteX38" fmla="*/ 1185863 w 1226819"/>
                <a:gd name="connsiteY38" fmla="*/ 239580 h 475356"/>
                <a:gd name="connsiteX39" fmla="*/ 1209675 w 1226819"/>
                <a:gd name="connsiteY39" fmla="*/ 238629 h 475356"/>
                <a:gd name="connsiteX40" fmla="*/ 1223010 w 1226819"/>
                <a:gd name="connsiteY40" fmla="*/ 237678 h 475356"/>
                <a:gd name="connsiteX41" fmla="*/ 1226820 w 1226819"/>
                <a:gd name="connsiteY41" fmla="*/ 237678 h 475356"/>
                <a:gd name="connsiteX42" fmla="*/ 1226820 w 1226819"/>
                <a:gd name="connsiteY42" fmla="*/ 237678 h 475356"/>
                <a:gd name="connsiteX43" fmla="*/ 1226820 w 1226819"/>
                <a:gd name="connsiteY43" fmla="*/ 0 h 475356"/>
                <a:gd name="connsiteX44" fmla="*/ 1225868 w 1226819"/>
                <a:gd name="connsiteY44" fmla="*/ 0 h 475356"/>
                <a:gd name="connsiteX45" fmla="*/ 1218248 w 1226819"/>
                <a:gd name="connsiteY45" fmla="*/ 951 h 475356"/>
                <a:gd name="connsiteX46" fmla="*/ 1200150 w 1226819"/>
                <a:gd name="connsiteY46" fmla="*/ 951 h 475356"/>
                <a:gd name="connsiteX47" fmla="*/ 1171575 w 1226819"/>
                <a:gd name="connsiteY47" fmla="*/ 1901 h 475356"/>
                <a:gd name="connsiteX48" fmla="*/ 1135380 w 1226819"/>
                <a:gd name="connsiteY48" fmla="*/ 3803 h 475356"/>
                <a:gd name="connsiteX49" fmla="*/ 1095375 w 1226819"/>
                <a:gd name="connsiteY49" fmla="*/ 6655 h 475356"/>
                <a:gd name="connsiteX50" fmla="*/ 1056323 w 1226819"/>
                <a:gd name="connsiteY50" fmla="*/ 9507 h 475356"/>
                <a:gd name="connsiteX51" fmla="*/ 1019175 w 1226819"/>
                <a:gd name="connsiteY51" fmla="*/ 12359 h 475356"/>
                <a:gd name="connsiteX52" fmla="*/ 983932 w 1226819"/>
                <a:gd name="connsiteY52" fmla="*/ 17113 h 475356"/>
                <a:gd name="connsiteX53" fmla="*/ 951548 w 1226819"/>
                <a:gd name="connsiteY53" fmla="*/ 21866 h 475356"/>
                <a:gd name="connsiteX54" fmla="*/ 920115 w 1226819"/>
                <a:gd name="connsiteY54" fmla="*/ 28521 h 475356"/>
                <a:gd name="connsiteX55" fmla="*/ 887730 w 1226819"/>
                <a:gd name="connsiteY55" fmla="*/ 35176 h 475356"/>
                <a:gd name="connsiteX56" fmla="*/ 869633 w 1226819"/>
                <a:gd name="connsiteY56" fmla="*/ 39930 h 475356"/>
                <a:gd name="connsiteX57" fmla="*/ 841058 w 1226819"/>
                <a:gd name="connsiteY57" fmla="*/ 47536 h 475356"/>
                <a:gd name="connsiteX58" fmla="*/ 811530 w 1226819"/>
                <a:gd name="connsiteY58" fmla="*/ 56092 h 475356"/>
                <a:gd name="connsiteX59" fmla="*/ 780098 w 1226819"/>
                <a:gd name="connsiteY59" fmla="*/ 65599 h 475356"/>
                <a:gd name="connsiteX60" fmla="*/ 746760 w 1226819"/>
                <a:gd name="connsiteY60" fmla="*/ 76057 h 475356"/>
                <a:gd name="connsiteX61" fmla="*/ 711518 w 1226819"/>
                <a:gd name="connsiteY61" fmla="*/ 86515 h 475356"/>
                <a:gd name="connsiteX62" fmla="*/ 675323 w 1226819"/>
                <a:gd name="connsiteY62" fmla="*/ 98874 h 475356"/>
                <a:gd name="connsiteX63" fmla="*/ 638175 w 1226819"/>
                <a:gd name="connsiteY63" fmla="*/ 111233 h 475356"/>
                <a:gd name="connsiteX64" fmla="*/ 601028 w 1226819"/>
                <a:gd name="connsiteY64" fmla="*/ 123593 h 475356"/>
                <a:gd name="connsiteX65" fmla="*/ 562928 w 1226819"/>
                <a:gd name="connsiteY65" fmla="*/ 135952 h 475356"/>
                <a:gd name="connsiteX66" fmla="*/ 526733 w 1226819"/>
                <a:gd name="connsiteY66" fmla="*/ 147361 h 475356"/>
                <a:gd name="connsiteX67" fmla="*/ 491490 w 1226819"/>
                <a:gd name="connsiteY67" fmla="*/ 158769 h 475356"/>
                <a:gd name="connsiteX68" fmla="*/ 457200 w 1226819"/>
                <a:gd name="connsiteY68" fmla="*/ 169227 h 475356"/>
                <a:gd name="connsiteX69" fmla="*/ 425768 w 1226819"/>
                <a:gd name="connsiteY69" fmla="*/ 179685 h 475356"/>
                <a:gd name="connsiteX70" fmla="*/ 395288 w 1226819"/>
                <a:gd name="connsiteY70" fmla="*/ 188241 h 475356"/>
                <a:gd name="connsiteX71" fmla="*/ 366713 w 1226819"/>
                <a:gd name="connsiteY71" fmla="*/ 195847 h 475356"/>
                <a:gd name="connsiteX72" fmla="*/ 358140 w 1226819"/>
                <a:gd name="connsiteY72" fmla="*/ 197748 h 475356"/>
                <a:gd name="connsiteX73" fmla="*/ 325755 w 1226819"/>
                <a:gd name="connsiteY73" fmla="*/ 206305 h 475356"/>
                <a:gd name="connsiteX74" fmla="*/ 293370 w 1226819"/>
                <a:gd name="connsiteY74" fmla="*/ 212960 h 475356"/>
                <a:gd name="connsiteX75" fmla="*/ 261938 w 1226819"/>
                <a:gd name="connsiteY75" fmla="*/ 218664 h 475356"/>
                <a:gd name="connsiteX76" fmla="*/ 227648 w 1226819"/>
                <a:gd name="connsiteY76" fmla="*/ 223418 h 475356"/>
                <a:gd name="connsiteX77" fmla="*/ 192405 w 1226819"/>
                <a:gd name="connsiteY77" fmla="*/ 227220 h 475356"/>
                <a:gd name="connsiteX78" fmla="*/ 153353 w 1226819"/>
                <a:gd name="connsiteY78" fmla="*/ 230073 h 475356"/>
                <a:gd name="connsiteX79" fmla="*/ 114300 w 1226819"/>
                <a:gd name="connsiteY79" fmla="*/ 232925 h 475356"/>
                <a:gd name="connsiteX80" fmla="*/ 75248 w 1226819"/>
                <a:gd name="connsiteY80" fmla="*/ 234826 h 475356"/>
                <a:gd name="connsiteX81" fmla="*/ 41910 w 1226819"/>
                <a:gd name="connsiteY81" fmla="*/ 236728 h 475356"/>
                <a:gd name="connsiteX82" fmla="*/ 18098 w 1226819"/>
                <a:gd name="connsiteY82" fmla="*/ 237678 h 475356"/>
                <a:gd name="connsiteX83" fmla="*/ 4763 w 1226819"/>
                <a:gd name="connsiteY83" fmla="*/ 237678 h 475356"/>
                <a:gd name="connsiteX84" fmla="*/ 953 w 1226819"/>
                <a:gd name="connsiteY84" fmla="*/ 237678 h 475356"/>
                <a:gd name="connsiteX85" fmla="*/ 0 w 1226819"/>
                <a:gd name="connsiteY85" fmla="*/ 237678 h 475356"/>
                <a:gd name="connsiteX86" fmla="*/ 0 w 1226819"/>
                <a:gd name="connsiteY86" fmla="*/ 475357 h 475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26819" h="475356">
                  <a:moveTo>
                    <a:pt x="0" y="475357"/>
                  </a:moveTo>
                  <a:lnTo>
                    <a:pt x="1905" y="475357"/>
                  </a:lnTo>
                  <a:lnTo>
                    <a:pt x="9525" y="475357"/>
                  </a:lnTo>
                  <a:lnTo>
                    <a:pt x="27623" y="474406"/>
                  </a:lnTo>
                  <a:lnTo>
                    <a:pt x="56198" y="473455"/>
                  </a:lnTo>
                  <a:lnTo>
                    <a:pt x="92393" y="471554"/>
                  </a:lnTo>
                  <a:lnTo>
                    <a:pt x="132398" y="469652"/>
                  </a:lnTo>
                  <a:lnTo>
                    <a:pt x="171450" y="465849"/>
                  </a:lnTo>
                  <a:lnTo>
                    <a:pt x="208598" y="462997"/>
                  </a:lnTo>
                  <a:lnTo>
                    <a:pt x="243840" y="458244"/>
                  </a:lnTo>
                  <a:lnTo>
                    <a:pt x="276225" y="453490"/>
                  </a:lnTo>
                  <a:lnTo>
                    <a:pt x="307658" y="447786"/>
                  </a:lnTo>
                  <a:lnTo>
                    <a:pt x="340043" y="440180"/>
                  </a:lnTo>
                  <a:lnTo>
                    <a:pt x="358140" y="435427"/>
                  </a:lnTo>
                  <a:lnTo>
                    <a:pt x="386715" y="427821"/>
                  </a:lnTo>
                  <a:lnTo>
                    <a:pt x="416243" y="419264"/>
                  </a:lnTo>
                  <a:lnTo>
                    <a:pt x="447675" y="409757"/>
                  </a:lnTo>
                  <a:lnTo>
                    <a:pt x="481013" y="399299"/>
                  </a:lnTo>
                  <a:lnTo>
                    <a:pt x="516255" y="388842"/>
                  </a:lnTo>
                  <a:lnTo>
                    <a:pt x="552450" y="376482"/>
                  </a:lnTo>
                  <a:lnTo>
                    <a:pt x="589598" y="364123"/>
                  </a:lnTo>
                  <a:lnTo>
                    <a:pt x="626745" y="351764"/>
                  </a:lnTo>
                  <a:lnTo>
                    <a:pt x="663893" y="340355"/>
                  </a:lnTo>
                  <a:lnTo>
                    <a:pt x="701040" y="327996"/>
                  </a:lnTo>
                  <a:lnTo>
                    <a:pt x="736283" y="316587"/>
                  </a:lnTo>
                  <a:lnTo>
                    <a:pt x="769620" y="306130"/>
                  </a:lnTo>
                  <a:lnTo>
                    <a:pt x="802005" y="296622"/>
                  </a:lnTo>
                  <a:lnTo>
                    <a:pt x="832485" y="287115"/>
                  </a:lnTo>
                  <a:lnTo>
                    <a:pt x="861060" y="279510"/>
                  </a:lnTo>
                  <a:lnTo>
                    <a:pt x="869633" y="277608"/>
                  </a:lnTo>
                  <a:lnTo>
                    <a:pt x="902018" y="269052"/>
                  </a:lnTo>
                  <a:lnTo>
                    <a:pt x="934403" y="262397"/>
                  </a:lnTo>
                  <a:lnTo>
                    <a:pt x="965835" y="256693"/>
                  </a:lnTo>
                  <a:lnTo>
                    <a:pt x="999173" y="252890"/>
                  </a:lnTo>
                  <a:lnTo>
                    <a:pt x="1035368" y="249087"/>
                  </a:lnTo>
                  <a:lnTo>
                    <a:pt x="1073468" y="245284"/>
                  </a:lnTo>
                  <a:lnTo>
                    <a:pt x="1113473" y="242432"/>
                  </a:lnTo>
                  <a:lnTo>
                    <a:pt x="1152525" y="240530"/>
                  </a:lnTo>
                  <a:lnTo>
                    <a:pt x="1185863" y="239580"/>
                  </a:lnTo>
                  <a:lnTo>
                    <a:pt x="1209675" y="238629"/>
                  </a:lnTo>
                  <a:lnTo>
                    <a:pt x="1223010" y="237678"/>
                  </a:lnTo>
                  <a:lnTo>
                    <a:pt x="1226820" y="237678"/>
                  </a:lnTo>
                  <a:lnTo>
                    <a:pt x="1226820" y="237678"/>
                  </a:lnTo>
                  <a:lnTo>
                    <a:pt x="1226820" y="0"/>
                  </a:lnTo>
                  <a:lnTo>
                    <a:pt x="1225868" y="0"/>
                  </a:lnTo>
                  <a:lnTo>
                    <a:pt x="1218248" y="951"/>
                  </a:lnTo>
                  <a:lnTo>
                    <a:pt x="1200150" y="951"/>
                  </a:lnTo>
                  <a:lnTo>
                    <a:pt x="1171575" y="1901"/>
                  </a:lnTo>
                  <a:lnTo>
                    <a:pt x="1135380" y="3803"/>
                  </a:lnTo>
                  <a:lnTo>
                    <a:pt x="1095375" y="6655"/>
                  </a:lnTo>
                  <a:lnTo>
                    <a:pt x="1056323" y="9507"/>
                  </a:lnTo>
                  <a:lnTo>
                    <a:pt x="1019175" y="12359"/>
                  </a:lnTo>
                  <a:lnTo>
                    <a:pt x="983932" y="17113"/>
                  </a:lnTo>
                  <a:lnTo>
                    <a:pt x="951548" y="21866"/>
                  </a:lnTo>
                  <a:lnTo>
                    <a:pt x="920115" y="28521"/>
                  </a:lnTo>
                  <a:lnTo>
                    <a:pt x="887730" y="35176"/>
                  </a:lnTo>
                  <a:lnTo>
                    <a:pt x="869633" y="39930"/>
                  </a:lnTo>
                  <a:lnTo>
                    <a:pt x="841058" y="47536"/>
                  </a:lnTo>
                  <a:lnTo>
                    <a:pt x="811530" y="56092"/>
                  </a:lnTo>
                  <a:lnTo>
                    <a:pt x="780098" y="65599"/>
                  </a:lnTo>
                  <a:lnTo>
                    <a:pt x="746760" y="76057"/>
                  </a:lnTo>
                  <a:lnTo>
                    <a:pt x="711518" y="86515"/>
                  </a:lnTo>
                  <a:lnTo>
                    <a:pt x="675323" y="98874"/>
                  </a:lnTo>
                  <a:lnTo>
                    <a:pt x="638175" y="111233"/>
                  </a:lnTo>
                  <a:lnTo>
                    <a:pt x="601028" y="123593"/>
                  </a:lnTo>
                  <a:lnTo>
                    <a:pt x="562928" y="135952"/>
                  </a:lnTo>
                  <a:lnTo>
                    <a:pt x="526733" y="147361"/>
                  </a:lnTo>
                  <a:lnTo>
                    <a:pt x="491490" y="158769"/>
                  </a:lnTo>
                  <a:lnTo>
                    <a:pt x="457200" y="169227"/>
                  </a:lnTo>
                  <a:lnTo>
                    <a:pt x="425768" y="179685"/>
                  </a:lnTo>
                  <a:lnTo>
                    <a:pt x="395288" y="188241"/>
                  </a:lnTo>
                  <a:lnTo>
                    <a:pt x="366713" y="195847"/>
                  </a:lnTo>
                  <a:lnTo>
                    <a:pt x="358140" y="197748"/>
                  </a:lnTo>
                  <a:lnTo>
                    <a:pt x="325755" y="206305"/>
                  </a:lnTo>
                  <a:lnTo>
                    <a:pt x="293370" y="212960"/>
                  </a:lnTo>
                  <a:lnTo>
                    <a:pt x="261938" y="218664"/>
                  </a:lnTo>
                  <a:lnTo>
                    <a:pt x="227648" y="223418"/>
                  </a:lnTo>
                  <a:lnTo>
                    <a:pt x="192405" y="227220"/>
                  </a:lnTo>
                  <a:lnTo>
                    <a:pt x="153353" y="230073"/>
                  </a:lnTo>
                  <a:lnTo>
                    <a:pt x="114300" y="232925"/>
                  </a:lnTo>
                  <a:lnTo>
                    <a:pt x="75248" y="234826"/>
                  </a:lnTo>
                  <a:lnTo>
                    <a:pt x="41910" y="236728"/>
                  </a:lnTo>
                  <a:lnTo>
                    <a:pt x="18098" y="237678"/>
                  </a:lnTo>
                  <a:lnTo>
                    <a:pt x="4763" y="237678"/>
                  </a:lnTo>
                  <a:lnTo>
                    <a:pt x="953" y="237678"/>
                  </a:lnTo>
                  <a:lnTo>
                    <a:pt x="0" y="237678"/>
                  </a:lnTo>
                  <a:lnTo>
                    <a:pt x="0" y="475357"/>
                  </a:lnTo>
                  <a:close/>
                </a:path>
              </a:pathLst>
            </a:custGeom>
            <a:solidFill>
              <a:srgbClr val="C1D42F">
                <a:alpha val="60000"/>
              </a:srgbClr>
            </a:solidFill>
            <a:ln w="9525" cap="flat">
              <a:noFill/>
              <a:prstDash val="solid"/>
              <a:miter/>
            </a:ln>
          </p:spPr>
          <p:txBody>
            <a:bodyPr rtlCol="0" anchor="ctr"/>
            <a:lstStyle/>
            <a:p>
              <a:endParaRPr lang="en-US" sz="1050"/>
            </a:p>
          </p:txBody>
        </p:sp>
        <p:sp>
          <p:nvSpPr>
            <p:cNvPr id="180" name="Freeform 232">
              <a:extLst>
                <a:ext uri="{FF2B5EF4-FFF2-40B4-BE49-F238E27FC236}">
                  <a16:creationId xmlns:a16="http://schemas.microsoft.com/office/drawing/2014/main" id="{B78B3C61-4ACC-DF8E-7D85-A6D6FC94E5B1}"/>
                </a:ext>
              </a:extLst>
            </p:cNvPr>
            <p:cNvSpPr/>
            <p:nvPr/>
          </p:nvSpPr>
          <p:spPr>
            <a:xfrm>
              <a:off x="3987133" y="2214624"/>
              <a:ext cx="1226819" cy="475356"/>
            </a:xfrm>
            <a:custGeom>
              <a:avLst/>
              <a:gdLst>
                <a:gd name="connsiteX0" fmla="*/ 0 w 1226819"/>
                <a:gd name="connsiteY0" fmla="*/ 475357 h 475356"/>
                <a:gd name="connsiteX1" fmla="*/ 1905 w 1226819"/>
                <a:gd name="connsiteY1" fmla="*/ 475357 h 475356"/>
                <a:gd name="connsiteX2" fmla="*/ 9525 w 1226819"/>
                <a:gd name="connsiteY2" fmla="*/ 475357 h 475356"/>
                <a:gd name="connsiteX3" fmla="*/ 27623 w 1226819"/>
                <a:gd name="connsiteY3" fmla="*/ 474406 h 475356"/>
                <a:gd name="connsiteX4" fmla="*/ 56198 w 1226819"/>
                <a:gd name="connsiteY4" fmla="*/ 473455 h 475356"/>
                <a:gd name="connsiteX5" fmla="*/ 92393 w 1226819"/>
                <a:gd name="connsiteY5" fmla="*/ 471554 h 475356"/>
                <a:gd name="connsiteX6" fmla="*/ 132398 w 1226819"/>
                <a:gd name="connsiteY6" fmla="*/ 469652 h 475356"/>
                <a:gd name="connsiteX7" fmla="*/ 171450 w 1226819"/>
                <a:gd name="connsiteY7" fmla="*/ 465849 h 475356"/>
                <a:gd name="connsiteX8" fmla="*/ 208598 w 1226819"/>
                <a:gd name="connsiteY8" fmla="*/ 462997 h 475356"/>
                <a:gd name="connsiteX9" fmla="*/ 243840 w 1226819"/>
                <a:gd name="connsiteY9" fmla="*/ 458244 h 475356"/>
                <a:gd name="connsiteX10" fmla="*/ 276225 w 1226819"/>
                <a:gd name="connsiteY10" fmla="*/ 453490 h 475356"/>
                <a:gd name="connsiteX11" fmla="*/ 307658 w 1226819"/>
                <a:gd name="connsiteY11" fmla="*/ 447786 h 475356"/>
                <a:gd name="connsiteX12" fmla="*/ 340043 w 1226819"/>
                <a:gd name="connsiteY12" fmla="*/ 440180 h 475356"/>
                <a:gd name="connsiteX13" fmla="*/ 358140 w 1226819"/>
                <a:gd name="connsiteY13" fmla="*/ 435427 h 475356"/>
                <a:gd name="connsiteX14" fmla="*/ 386715 w 1226819"/>
                <a:gd name="connsiteY14" fmla="*/ 427821 h 475356"/>
                <a:gd name="connsiteX15" fmla="*/ 416243 w 1226819"/>
                <a:gd name="connsiteY15" fmla="*/ 419264 h 475356"/>
                <a:gd name="connsiteX16" fmla="*/ 447675 w 1226819"/>
                <a:gd name="connsiteY16" fmla="*/ 409757 h 475356"/>
                <a:gd name="connsiteX17" fmla="*/ 481013 w 1226819"/>
                <a:gd name="connsiteY17" fmla="*/ 399299 h 475356"/>
                <a:gd name="connsiteX18" fmla="*/ 516255 w 1226819"/>
                <a:gd name="connsiteY18" fmla="*/ 388842 h 475356"/>
                <a:gd name="connsiteX19" fmla="*/ 552450 w 1226819"/>
                <a:gd name="connsiteY19" fmla="*/ 376482 h 475356"/>
                <a:gd name="connsiteX20" fmla="*/ 589598 w 1226819"/>
                <a:gd name="connsiteY20" fmla="*/ 364123 h 475356"/>
                <a:gd name="connsiteX21" fmla="*/ 626745 w 1226819"/>
                <a:gd name="connsiteY21" fmla="*/ 351764 h 475356"/>
                <a:gd name="connsiteX22" fmla="*/ 663893 w 1226819"/>
                <a:gd name="connsiteY22" fmla="*/ 340355 h 475356"/>
                <a:gd name="connsiteX23" fmla="*/ 701040 w 1226819"/>
                <a:gd name="connsiteY23" fmla="*/ 327996 h 475356"/>
                <a:gd name="connsiteX24" fmla="*/ 736283 w 1226819"/>
                <a:gd name="connsiteY24" fmla="*/ 316587 h 475356"/>
                <a:gd name="connsiteX25" fmla="*/ 769620 w 1226819"/>
                <a:gd name="connsiteY25" fmla="*/ 306130 h 475356"/>
                <a:gd name="connsiteX26" fmla="*/ 802005 w 1226819"/>
                <a:gd name="connsiteY26" fmla="*/ 296622 h 475356"/>
                <a:gd name="connsiteX27" fmla="*/ 832485 w 1226819"/>
                <a:gd name="connsiteY27" fmla="*/ 287115 h 475356"/>
                <a:gd name="connsiteX28" fmla="*/ 861060 w 1226819"/>
                <a:gd name="connsiteY28" fmla="*/ 279510 h 475356"/>
                <a:gd name="connsiteX29" fmla="*/ 869633 w 1226819"/>
                <a:gd name="connsiteY29" fmla="*/ 277608 h 475356"/>
                <a:gd name="connsiteX30" fmla="*/ 902018 w 1226819"/>
                <a:gd name="connsiteY30" fmla="*/ 269052 h 475356"/>
                <a:gd name="connsiteX31" fmla="*/ 934403 w 1226819"/>
                <a:gd name="connsiteY31" fmla="*/ 262397 h 475356"/>
                <a:gd name="connsiteX32" fmla="*/ 965835 w 1226819"/>
                <a:gd name="connsiteY32" fmla="*/ 256693 h 475356"/>
                <a:gd name="connsiteX33" fmla="*/ 999173 w 1226819"/>
                <a:gd name="connsiteY33" fmla="*/ 252890 h 475356"/>
                <a:gd name="connsiteX34" fmla="*/ 1035368 w 1226819"/>
                <a:gd name="connsiteY34" fmla="*/ 249087 h 475356"/>
                <a:gd name="connsiteX35" fmla="*/ 1073468 w 1226819"/>
                <a:gd name="connsiteY35" fmla="*/ 245284 h 475356"/>
                <a:gd name="connsiteX36" fmla="*/ 1113473 w 1226819"/>
                <a:gd name="connsiteY36" fmla="*/ 242432 h 475356"/>
                <a:gd name="connsiteX37" fmla="*/ 1152525 w 1226819"/>
                <a:gd name="connsiteY37" fmla="*/ 240530 h 475356"/>
                <a:gd name="connsiteX38" fmla="*/ 1185863 w 1226819"/>
                <a:gd name="connsiteY38" fmla="*/ 239580 h 475356"/>
                <a:gd name="connsiteX39" fmla="*/ 1209675 w 1226819"/>
                <a:gd name="connsiteY39" fmla="*/ 238629 h 475356"/>
                <a:gd name="connsiteX40" fmla="*/ 1223010 w 1226819"/>
                <a:gd name="connsiteY40" fmla="*/ 237678 h 475356"/>
                <a:gd name="connsiteX41" fmla="*/ 1226820 w 1226819"/>
                <a:gd name="connsiteY41" fmla="*/ 237678 h 475356"/>
                <a:gd name="connsiteX42" fmla="*/ 1226820 w 1226819"/>
                <a:gd name="connsiteY42" fmla="*/ 237678 h 475356"/>
                <a:gd name="connsiteX43" fmla="*/ 1226820 w 1226819"/>
                <a:gd name="connsiteY43" fmla="*/ 0 h 475356"/>
                <a:gd name="connsiteX44" fmla="*/ 1225868 w 1226819"/>
                <a:gd name="connsiteY44" fmla="*/ 0 h 475356"/>
                <a:gd name="connsiteX45" fmla="*/ 1218248 w 1226819"/>
                <a:gd name="connsiteY45" fmla="*/ 951 h 475356"/>
                <a:gd name="connsiteX46" fmla="*/ 1200150 w 1226819"/>
                <a:gd name="connsiteY46" fmla="*/ 951 h 475356"/>
                <a:gd name="connsiteX47" fmla="*/ 1171575 w 1226819"/>
                <a:gd name="connsiteY47" fmla="*/ 1901 h 475356"/>
                <a:gd name="connsiteX48" fmla="*/ 1135380 w 1226819"/>
                <a:gd name="connsiteY48" fmla="*/ 3803 h 475356"/>
                <a:gd name="connsiteX49" fmla="*/ 1095375 w 1226819"/>
                <a:gd name="connsiteY49" fmla="*/ 6655 h 475356"/>
                <a:gd name="connsiteX50" fmla="*/ 1056323 w 1226819"/>
                <a:gd name="connsiteY50" fmla="*/ 9507 h 475356"/>
                <a:gd name="connsiteX51" fmla="*/ 1019175 w 1226819"/>
                <a:gd name="connsiteY51" fmla="*/ 12359 h 475356"/>
                <a:gd name="connsiteX52" fmla="*/ 983932 w 1226819"/>
                <a:gd name="connsiteY52" fmla="*/ 17113 h 475356"/>
                <a:gd name="connsiteX53" fmla="*/ 951548 w 1226819"/>
                <a:gd name="connsiteY53" fmla="*/ 21866 h 475356"/>
                <a:gd name="connsiteX54" fmla="*/ 920115 w 1226819"/>
                <a:gd name="connsiteY54" fmla="*/ 28521 h 475356"/>
                <a:gd name="connsiteX55" fmla="*/ 887730 w 1226819"/>
                <a:gd name="connsiteY55" fmla="*/ 35176 h 475356"/>
                <a:gd name="connsiteX56" fmla="*/ 869633 w 1226819"/>
                <a:gd name="connsiteY56" fmla="*/ 39930 h 475356"/>
                <a:gd name="connsiteX57" fmla="*/ 841058 w 1226819"/>
                <a:gd name="connsiteY57" fmla="*/ 47536 h 475356"/>
                <a:gd name="connsiteX58" fmla="*/ 811530 w 1226819"/>
                <a:gd name="connsiteY58" fmla="*/ 56092 h 475356"/>
                <a:gd name="connsiteX59" fmla="*/ 780098 w 1226819"/>
                <a:gd name="connsiteY59" fmla="*/ 65599 h 475356"/>
                <a:gd name="connsiteX60" fmla="*/ 746760 w 1226819"/>
                <a:gd name="connsiteY60" fmla="*/ 76057 h 475356"/>
                <a:gd name="connsiteX61" fmla="*/ 711518 w 1226819"/>
                <a:gd name="connsiteY61" fmla="*/ 86515 h 475356"/>
                <a:gd name="connsiteX62" fmla="*/ 675323 w 1226819"/>
                <a:gd name="connsiteY62" fmla="*/ 98874 h 475356"/>
                <a:gd name="connsiteX63" fmla="*/ 638175 w 1226819"/>
                <a:gd name="connsiteY63" fmla="*/ 111233 h 475356"/>
                <a:gd name="connsiteX64" fmla="*/ 601028 w 1226819"/>
                <a:gd name="connsiteY64" fmla="*/ 123593 h 475356"/>
                <a:gd name="connsiteX65" fmla="*/ 562928 w 1226819"/>
                <a:gd name="connsiteY65" fmla="*/ 135952 h 475356"/>
                <a:gd name="connsiteX66" fmla="*/ 526733 w 1226819"/>
                <a:gd name="connsiteY66" fmla="*/ 147361 h 475356"/>
                <a:gd name="connsiteX67" fmla="*/ 491490 w 1226819"/>
                <a:gd name="connsiteY67" fmla="*/ 158769 h 475356"/>
                <a:gd name="connsiteX68" fmla="*/ 457200 w 1226819"/>
                <a:gd name="connsiteY68" fmla="*/ 169227 h 475356"/>
                <a:gd name="connsiteX69" fmla="*/ 425768 w 1226819"/>
                <a:gd name="connsiteY69" fmla="*/ 179685 h 475356"/>
                <a:gd name="connsiteX70" fmla="*/ 395288 w 1226819"/>
                <a:gd name="connsiteY70" fmla="*/ 188241 h 475356"/>
                <a:gd name="connsiteX71" fmla="*/ 366713 w 1226819"/>
                <a:gd name="connsiteY71" fmla="*/ 195847 h 475356"/>
                <a:gd name="connsiteX72" fmla="*/ 358140 w 1226819"/>
                <a:gd name="connsiteY72" fmla="*/ 197748 h 475356"/>
                <a:gd name="connsiteX73" fmla="*/ 325755 w 1226819"/>
                <a:gd name="connsiteY73" fmla="*/ 206305 h 475356"/>
                <a:gd name="connsiteX74" fmla="*/ 293370 w 1226819"/>
                <a:gd name="connsiteY74" fmla="*/ 212960 h 475356"/>
                <a:gd name="connsiteX75" fmla="*/ 261938 w 1226819"/>
                <a:gd name="connsiteY75" fmla="*/ 218664 h 475356"/>
                <a:gd name="connsiteX76" fmla="*/ 227648 w 1226819"/>
                <a:gd name="connsiteY76" fmla="*/ 223418 h 475356"/>
                <a:gd name="connsiteX77" fmla="*/ 192405 w 1226819"/>
                <a:gd name="connsiteY77" fmla="*/ 227220 h 475356"/>
                <a:gd name="connsiteX78" fmla="*/ 153353 w 1226819"/>
                <a:gd name="connsiteY78" fmla="*/ 230073 h 475356"/>
                <a:gd name="connsiteX79" fmla="*/ 114300 w 1226819"/>
                <a:gd name="connsiteY79" fmla="*/ 232925 h 475356"/>
                <a:gd name="connsiteX80" fmla="*/ 75248 w 1226819"/>
                <a:gd name="connsiteY80" fmla="*/ 234826 h 475356"/>
                <a:gd name="connsiteX81" fmla="*/ 41910 w 1226819"/>
                <a:gd name="connsiteY81" fmla="*/ 236728 h 475356"/>
                <a:gd name="connsiteX82" fmla="*/ 18098 w 1226819"/>
                <a:gd name="connsiteY82" fmla="*/ 237678 h 475356"/>
                <a:gd name="connsiteX83" fmla="*/ 4763 w 1226819"/>
                <a:gd name="connsiteY83" fmla="*/ 237678 h 475356"/>
                <a:gd name="connsiteX84" fmla="*/ 953 w 1226819"/>
                <a:gd name="connsiteY84" fmla="*/ 237678 h 475356"/>
                <a:gd name="connsiteX85" fmla="*/ 0 w 1226819"/>
                <a:gd name="connsiteY85" fmla="*/ 237678 h 475356"/>
                <a:gd name="connsiteX86" fmla="*/ 0 w 1226819"/>
                <a:gd name="connsiteY86" fmla="*/ 475357 h 475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26819" h="475356">
                  <a:moveTo>
                    <a:pt x="0" y="475357"/>
                  </a:moveTo>
                  <a:lnTo>
                    <a:pt x="1905" y="475357"/>
                  </a:lnTo>
                  <a:lnTo>
                    <a:pt x="9525" y="475357"/>
                  </a:lnTo>
                  <a:lnTo>
                    <a:pt x="27623" y="474406"/>
                  </a:lnTo>
                  <a:lnTo>
                    <a:pt x="56198" y="473455"/>
                  </a:lnTo>
                  <a:lnTo>
                    <a:pt x="92393" y="471554"/>
                  </a:lnTo>
                  <a:lnTo>
                    <a:pt x="132398" y="469652"/>
                  </a:lnTo>
                  <a:lnTo>
                    <a:pt x="171450" y="465849"/>
                  </a:lnTo>
                  <a:lnTo>
                    <a:pt x="208598" y="462997"/>
                  </a:lnTo>
                  <a:lnTo>
                    <a:pt x="243840" y="458244"/>
                  </a:lnTo>
                  <a:lnTo>
                    <a:pt x="276225" y="453490"/>
                  </a:lnTo>
                  <a:lnTo>
                    <a:pt x="307658" y="447786"/>
                  </a:lnTo>
                  <a:lnTo>
                    <a:pt x="340043" y="440180"/>
                  </a:lnTo>
                  <a:lnTo>
                    <a:pt x="358140" y="435427"/>
                  </a:lnTo>
                  <a:lnTo>
                    <a:pt x="386715" y="427821"/>
                  </a:lnTo>
                  <a:lnTo>
                    <a:pt x="416243" y="419264"/>
                  </a:lnTo>
                  <a:lnTo>
                    <a:pt x="447675" y="409757"/>
                  </a:lnTo>
                  <a:lnTo>
                    <a:pt x="481013" y="399299"/>
                  </a:lnTo>
                  <a:lnTo>
                    <a:pt x="516255" y="388842"/>
                  </a:lnTo>
                  <a:lnTo>
                    <a:pt x="552450" y="376482"/>
                  </a:lnTo>
                  <a:lnTo>
                    <a:pt x="589598" y="364123"/>
                  </a:lnTo>
                  <a:lnTo>
                    <a:pt x="626745" y="351764"/>
                  </a:lnTo>
                  <a:lnTo>
                    <a:pt x="663893" y="340355"/>
                  </a:lnTo>
                  <a:lnTo>
                    <a:pt x="701040" y="327996"/>
                  </a:lnTo>
                  <a:lnTo>
                    <a:pt x="736283" y="316587"/>
                  </a:lnTo>
                  <a:lnTo>
                    <a:pt x="769620" y="306130"/>
                  </a:lnTo>
                  <a:lnTo>
                    <a:pt x="802005" y="296622"/>
                  </a:lnTo>
                  <a:lnTo>
                    <a:pt x="832485" y="287115"/>
                  </a:lnTo>
                  <a:lnTo>
                    <a:pt x="861060" y="279510"/>
                  </a:lnTo>
                  <a:lnTo>
                    <a:pt x="869633" y="277608"/>
                  </a:lnTo>
                  <a:lnTo>
                    <a:pt x="902018" y="269052"/>
                  </a:lnTo>
                  <a:lnTo>
                    <a:pt x="934403" y="262397"/>
                  </a:lnTo>
                  <a:lnTo>
                    <a:pt x="965835" y="256693"/>
                  </a:lnTo>
                  <a:lnTo>
                    <a:pt x="999173" y="252890"/>
                  </a:lnTo>
                  <a:lnTo>
                    <a:pt x="1035368" y="249087"/>
                  </a:lnTo>
                  <a:lnTo>
                    <a:pt x="1073468" y="245284"/>
                  </a:lnTo>
                  <a:lnTo>
                    <a:pt x="1113473" y="242432"/>
                  </a:lnTo>
                  <a:lnTo>
                    <a:pt x="1152525" y="240530"/>
                  </a:lnTo>
                  <a:lnTo>
                    <a:pt x="1185863" y="239580"/>
                  </a:lnTo>
                  <a:lnTo>
                    <a:pt x="1209675" y="238629"/>
                  </a:lnTo>
                  <a:lnTo>
                    <a:pt x="1223010" y="237678"/>
                  </a:lnTo>
                  <a:lnTo>
                    <a:pt x="1226820" y="237678"/>
                  </a:lnTo>
                  <a:lnTo>
                    <a:pt x="1226820" y="237678"/>
                  </a:lnTo>
                  <a:lnTo>
                    <a:pt x="1226820" y="0"/>
                  </a:lnTo>
                  <a:lnTo>
                    <a:pt x="1225868" y="0"/>
                  </a:lnTo>
                  <a:lnTo>
                    <a:pt x="1218248" y="951"/>
                  </a:lnTo>
                  <a:lnTo>
                    <a:pt x="1200150" y="951"/>
                  </a:lnTo>
                  <a:lnTo>
                    <a:pt x="1171575" y="1901"/>
                  </a:lnTo>
                  <a:lnTo>
                    <a:pt x="1135380" y="3803"/>
                  </a:lnTo>
                  <a:lnTo>
                    <a:pt x="1095375" y="6655"/>
                  </a:lnTo>
                  <a:lnTo>
                    <a:pt x="1056323" y="9507"/>
                  </a:lnTo>
                  <a:lnTo>
                    <a:pt x="1019175" y="12359"/>
                  </a:lnTo>
                  <a:lnTo>
                    <a:pt x="983932" y="17113"/>
                  </a:lnTo>
                  <a:lnTo>
                    <a:pt x="951548" y="21866"/>
                  </a:lnTo>
                  <a:lnTo>
                    <a:pt x="920115" y="28521"/>
                  </a:lnTo>
                  <a:lnTo>
                    <a:pt x="887730" y="35176"/>
                  </a:lnTo>
                  <a:lnTo>
                    <a:pt x="869633" y="39930"/>
                  </a:lnTo>
                  <a:lnTo>
                    <a:pt x="841058" y="47536"/>
                  </a:lnTo>
                  <a:lnTo>
                    <a:pt x="811530" y="56092"/>
                  </a:lnTo>
                  <a:lnTo>
                    <a:pt x="780098" y="65599"/>
                  </a:lnTo>
                  <a:lnTo>
                    <a:pt x="746760" y="76057"/>
                  </a:lnTo>
                  <a:lnTo>
                    <a:pt x="711518" y="86515"/>
                  </a:lnTo>
                  <a:lnTo>
                    <a:pt x="675323" y="98874"/>
                  </a:lnTo>
                  <a:lnTo>
                    <a:pt x="638175" y="111233"/>
                  </a:lnTo>
                  <a:lnTo>
                    <a:pt x="601028" y="123593"/>
                  </a:lnTo>
                  <a:lnTo>
                    <a:pt x="562928" y="135952"/>
                  </a:lnTo>
                  <a:lnTo>
                    <a:pt x="526733" y="147361"/>
                  </a:lnTo>
                  <a:lnTo>
                    <a:pt x="491490" y="158769"/>
                  </a:lnTo>
                  <a:lnTo>
                    <a:pt x="457200" y="169227"/>
                  </a:lnTo>
                  <a:lnTo>
                    <a:pt x="425768" y="179685"/>
                  </a:lnTo>
                  <a:lnTo>
                    <a:pt x="395288" y="188241"/>
                  </a:lnTo>
                  <a:lnTo>
                    <a:pt x="366713" y="195847"/>
                  </a:lnTo>
                  <a:lnTo>
                    <a:pt x="358140" y="197748"/>
                  </a:lnTo>
                  <a:lnTo>
                    <a:pt x="325755" y="206305"/>
                  </a:lnTo>
                  <a:lnTo>
                    <a:pt x="293370" y="212960"/>
                  </a:lnTo>
                  <a:lnTo>
                    <a:pt x="261938" y="218664"/>
                  </a:lnTo>
                  <a:lnTo>
                    <a:pt x="227648" y="223418"/>
                  </a:lnTo>
                  <a:lnTo>
                    <a:pt x="192405" y="227220"/>
                  </a:lnTo>
                  <a:lnTo>
                    <a:pt x="153353" y="230073"/>
                  </a:lnTo>
                  <a:lnTo>
                    <a:pt x="114300" y="232925"/>
                  </a:lnTo>
                  <a:lnTo>
                    <a:pt x="75248" y="234826"/>
                  </a:lnTo>
                  <a:lnTo>
                    <a:pt x="41910" y="236728"/>
                  </a:lnTo>
                  <a:lnTo>
                    <a:pt x="18098" y="237678"/>
                  </a:lnTo>
                  <a:lnTo>
                    <a:pt x="4763" y="237678"/>
                  </a:lnTo>
                  <a:lnTo>
                    <a:pt x="953" y="237678"/>
                  </a:lnTo>
                  <a:lnTo>
                    <a:pt x="0" y="237678"/>
                  </a:lnTo>
                  <a:lnTo>
                    <a:pt x="0" y="475357"/>
                  </a:lnTo>
                  <a:close/>
                </a:path>
              </a:pathLst>
            </a:custGeom>
            <a:noFill/>
            <a:ln w="9525" cap="flat">
              <a:solidFill>
                <a:srgbClr val="C1D42F"/>
              </a:solidFill>
              <a:prstDash val="solid"/>
              <a:miter/>
            </a:ln>
          </p:spPr>
          <p:txBody>
            <a:bodyPr rtlCol="0" anchor="ctr"/>
            <a:lstStyle/>
            <a:p>
              <a:endParaRPr lang="en-US" sz="1050"/>
            </a:p>
          </p:txBody>
        </p:sp>
        <p:sp>
          <p:nvSpPr>
            <p:cNvPr id="181" name="Freeform 233">
              <a:extLst>
                <a:ext uri="{FF2B5EF4-FFF2-40B4-BE49-F238E27FC236}">
                  <a16:creationId xmlns:a16="http://schemas.microsoft.com/office/drawing/2014/main" id="{A424FAFA-B886-841F-0EB7-185BFDEB4DC3}"/>
                </a:ext>
              </a:extLst>
            </p:cNvPr>
            <p:cNvSpPr/>
            <p:nvPr/>
          </p:nvSpPr>
          <p:spPr>
            <a:xfrm>
              <a:off x="3987133" y="2689980"/>
              <a:ext cx="1226819" cy="237678"/>
            </a:xfrm>
            <a:custGeom>
              <a:avLst/>
              <a:gdLst>
                <a:gd name="connsiteX0" fmla="*/ 0 w 1226819"/>
                <a:gd name="connsiteY0" fmla="*/ 237678 h 237678"/>
                <a:gd name="connsiteX1" fmla="*/ 1905 w 1226819"/>
                <a:gd name="connsiteY1" fmla="*/ 237678 h 237678"/>
                <a:gd name="connsiteX2" fmla="*/ 9525 w 1226819"/>
                <a:gd name="connsiteY2" fmla="*/ 237678 h 237678"/>
                <a:gd name="connsiteX3" fmla="*/ 27623 w 1226819"/>
                <a:gd name="connsiteY3" fmla="*/ 237678 h 237678"/>
                <a:gd name="connsiteX4" fmla="*/ 56198 w 1226819"/>
                <a:gd name="connsiteY4" fmla="*/ 237678 h 237678"/>
                <a:gd name="connsiteX5" fmla="*/ 93345 w 1226819"/>
                <a:gd name="connsiteY5" fmla="*/ 237678 h 237678"/>
                <a:gd name="connsiteX6" fmla="*/ 132398 w 1226819"/>
                <a:gd name="connsiteY6" fmla="*/ 237678 h 237678"/>
                <a:gd name="connsiteX7" fmla="*/ 172403 w 1226819"/>
                <a:gd name="connsiteY7" fmla="*/ 237678 h 237678"/>
                <a:gd name="connsiteX8" fmla="*/ 209550 w 1226819"/>
                <a:gd name="connsiteY8" fmla="*/ 237678 h 237678"/>
                <a:gd name="connsiteX9" fmla="*/ 244793 w 1226819"/>
                <a:gd name="connsiteY9" fmla="*/ 237678 h 237678"/>
                <a:gd name="connsiteX10" fmla="*/ 277178 w 1226819"/>
                <a:gd name="connsiteY10" fmla="*/ 237678 h 237678"/>
                <a:gd name="connsiteX11" fmla="*/ 308610 w 1226819"/>
                <a:gd name="connsiteY11" fmla="*/ 237678 h 237678"/>
                <a:gd name="connsiteX12" fmla="*/ 340995 w 1226819"/>
                <a:gd name="connsiteY12" fmla="*/ 237678 h 237678"/>
                <a:gd name="connsiteX13" fmla="*/ 358140 w 1226819"/>
                <a:gd name="connsiteY13" fmla="*/ 237678 h 237678"/>
                <a:gd name="connsiteX14" fmla="*/ 386715 w 1226819"/>
                <a:gd name="connsiteY14" fmla="*/ 237678 h 237678"/>
                <a:gd name="connsiteX15" fmla="*/ 417195 w 1226819"/>
                <a:gd name="connsiteY15" fmla="*/ 237678 h 237678"/>
                <a:gd name="connsiteX16" fmla="*/ 449580 w 1226819"/>
                <a:gd name="connsiteY16" fmla="*/ 237678 h 237678"/>
                <a:gd name="connsiteX17" fmla="*/ 483870 w 1226819"/>
                <a:gd name="connsiteY17" fmla="*/ 237678 h 237678"/>
                <a:gd name="connsiteX18" fmla="*/ 520065 w 1226819"/>
                <a:gd name="connsiteY18" fmla="*/ 237678 h 237678"/>
                <a:gd name="connsiteX19" fmla="*/ 557213 w 1226819"/>
                <a:gd name="connsiteY19" fmla="*/ 237678 h 237678"/>
                <a:gd name="connsiteX20" fmla="*/ 595313 w 1226819"/>
                <a:gd name="connsiteY20" fmla="*/ 237678 h 237678"/>
                <a:gd name="connsiteX21" fmla="*/ 634365 w 1226819"/>
                <a:gd name="connsiteY21" fmla="*/ 237678 h 237678"/>
                <a:gd name="connsiteX22" fmla="*/ 672465 w 1226819"/>
                <a:gd name="connsiteY22" fmla="*/ 237678 h 237678"/>
                <a:gd name="connsiteX23" fmla="*/ 709613 w 1226819"/>
                <a:gd name="connsiteY23" fmla="*/ 237678 h 237678"/>
                <a:gd name="connsiteX24" fmla="*/ 744855 w 1226819"/>
                <a:gd name="connsiteY24" fmla="*/ 237678 h 237678"/>
                <a:gd name="connsiteX25" fmla="*/ 779145 w 1226819"/>
                <a:gd name="connsiteY25" fmla="*/ 237678 h 237678"/>
                <a:gd name="connsiteX26" fmla="*/ 811530 w 1226819"/>
                <a:gd name="connsiteY26" fmla="*/ 237678 h 237678"/>
                <a:gd name="connsiteX27" fmla="*/ 842010 w 1226819"/>
                <a:gd name="connsiteY27" fmla="*/ 237678 h 237678"/>
                <a:gd name="connsiteX28" fmla="*/ 869633 w 1226819"/>
                <a:gd name="connsiteY28" fmla="*/ 237678 h 237678"/>
                <a:gd name="connsiteX29" fmla="*/ 902018 w 1226819"/>
                <a:gd name="connsiteY29" fmla="*/ 237678 h 237678"/>
                <a:gd name="connsiteX30" fmla="*/ 934403 w 1226819"/>
                <a:gd name="connsiteY30" fmla="*/ 237678 h 237678"/>
                <a:gd name="connsiteX31" fmla="*/ 966788 w 1226819"/>
                <a:gd name="connsiteY31" fmla="*/ 237678 h 237678"/>
                <a:gd name="connsiteX32" fmla="*/ 1000125 w 1226819"/>
                <a:gd name="connsiteY32" fmla="*/ 237678 h 237678"/>
                <a:gd name="connsiteX33" fmla="*/ 1036320 w 1226819"/>
                <a:gd name="connsiteY33" fmla="*/ 237678 h 237678"/>
                <a:gd name="connsiteX34" fmla="*/ 1074420 w 1226819"/>
                <a:gd name="connsiteY34" fmla="*/ 237678 h 237678"/>
                <a:gd name="connsiteX35" fmla="*/ 1114425 w 1226819"/>
                <a:gd name="connsiteY35" fmla="*/ 237678 h 237678"/>
                <a:gd name="connsiteX36" fmla="*/ 1153478 w 1226819"/>
                <a:gd name="connsiteY36" fmla="*/ 237678 h 237678"/>
                <a:gd name="connsiteX37" fmla="*/ 1186815 w 1226819"/>
                <a:gd name="connsiteY37" fmla="*/ 237678 h 237678"/>
                <a:gd name="connsiteX38" fmla="*/ 1210628 w 1226819"/>
                <a:gd name="connsiteY38" fmla="*/ 237678 h 237678"/>
                <a:gd name="connsiteX39" fmla="*/ 1223010 w 1226819"/>
                <a:gd name="connsiteY39" fmla="*/ 237678 h 237678"/>
                <a:gd name="connsiteX40" fmla="*/ 1226820 w 1226819"/>
                <a:gd name="connsiteY40" fmla="*/ 237678 h 237678"/>
                <a:gd name="connsiteX41" fmla="*/ 1226820 w 1226819"/>
                <a:gd name="connsiteY41" fmla="*/ 237678 h 237678"/>
                <a:gd name="connsiteX42" fmla="*/ 1226820 w 1226819"/>
                <a:gd name="connsiteY42" fmla="*/ 0 h 237678"/>
                <a:gd name="connsiteX43" fmla="*/ 1225868 w 1226819"/>
                <a:gd name="connsiteY43" fmla="*/ 0 h 237678"/>
                <a:gd name="connsiteX44" fmla="*/ 1218248 w 1226819"/>
                <a:gd name="connsiteY44" fmla="*/ 0 h 237678"/>
                <a:gd name="connsiteX45" fmla="*/ 1200150 w 1226819"/>
                <a:gd name="connsiteY45" fmla="*/ 0 h 237678"/>
                <a:gd name="connsiteX46" fmla="*/ 1170623 w 1226819"/>
                <a:gd name="connsiteY46" fmla="*/ 0 h 237678"/>
                <a:gd name="connsiteX47" fmla="*/ 1134428 w 1226819"/>
                <a:gd name="connsiteY47" fmla="*/ 0 h 237678"/>
                <a:gd name="connsiteX48" fmla="*/ 1095375 w 1226819"/>
                <a:gd name="connsiteY48" fmla="*/ 0 h 237678"/>
                <a:gd name="connsiteX49" fmla="*/ 1055370 w 1226819"/>
                <a:gd name="connsiteY49" fmla="*/ 0 h 237678"/>
                <a:gd name="connsiteX50" fmla="*/ 1018223 w 1226819"/>
                <a:gd name="connsiteY50" fmla="*/ 0 h 237678"/>
                <a:gd name="connsiteX51" fmla="*/ 982980 w 1226819"/>
                <a:gd name="connsiteY51" fmla="*/ 0 h 237678"/>
                <a:gd name="connsiteX52" fmla="*/ 950595 w 1226819"/>
                <a:gd name="connsiteY52" fmla="*/ 0 h 237678"/>
                <a:gd name="connsiteX53" fmla="*/ 918210 w 1226819"/>
                <a:gd name="connsiteY53" fmla="*/ 0 h 237678"/>
                <a:gd name="connsiteX54" fmla="*/ 886778 w 1226819"/>
                <a:gd name="connsiteY54" fmla="*/ 0 h 237678"/>
                <a:gd name="connsiteX55" fmla="*/ 869633 w 1226819"/>
                <a:gd name="connsiteY55" fmla="*/ 0 h 237678"/>
                <a:gd name="connsiteX56" fmla="*/ 840105 w 1226819"/>
                <a:gd name="connsiteY56" fmla="*/ 0 h 237678"/>
                <a:gd name="connsiteX57" fmla="*/ 809625 w 1226819"/>
                <a:gd name="connsiteY57" fmla="*/ 0 h 237678"/>
                <a:gd name="connsiteX58" fmla="*/ 777240 w 1226819"/>
                <a:gd name="connsiteY58" fmla="*/ 0 h 237678"/>
                <a:gd name="connsiteX59" fmla="*/ 743903 w 1226819"/>
                <a:gd name="connsiteY59" fmla="*/ 0 h 237678"/>
                <a:gd name="connsiteX60" fmla="*/ 707708 w 1226819"/>
                <a:gd name="connsiteY60" fmla="*/ 0 h 237678"/>
                <a:gd name="connsiteX61" fmla="*/ 670560 w 1226819"/>
                <a:gd name="connsiteY61" fmla="*/ 0 h 237678"/>
                <a:gd name="connsiteX62" fmla="*/ 632460 w 1226819"/>
                <a:gd name="connsiteY62" fmla="*/ 0 h 237678"/>
                <a:gd name="connsiteX63" fmla="*/ 593408 w 1226819"/>
                <a:gd name="connsiteY63" fmla="*/ 0 h 237678"/>
                <a:gd name="connsiteX64" fmla="*/ 555308 w 1226819"/>
                <a:gd name="connsiteY64" fmla="*/ 0 h 237678"/>
                <a:gd name="connsiteX65" fmla="*/ 518160 w 1226819"/>
                <a:gd name="connsiteY65" fmla="*/ 0 h 237678"/>
                <a:gd name="connsiteX66" fmla="*/ 482918 w 1226819"/>
                <a:gd name="connsiteY66" fmla="*/ 0 h 237678"/>
                <a:gd name="connsiteX67" fmla="*/ 448628 w 1226819"/>
                <a:gd name="connsiteY67" fmla="*/ 0 h 237678"/>
                <a:gd name="connsiteX68" fmla="*/ 416243 w 1226819"/>
                <a:gd name="connsiteY68" fmla="*/ 0 h 237678"/>
                <a:gd name="connsiteX69" fmla="*/ 385763 w 1226819"/>
                <a:gd name="connsiteY69" fmla="*/ 0 h 237678"/>
                <a:gd name="connsiteX70" fmla="*/ 358140 w 1226819"/>
                <a:gd name="connsiteY70" fmla="*/ 0 h 237678"/>
                <a:gd name="connsiteX71" fmla="*/ 325755 w 1226819"/>
                <a:gd name="connsiteY71" fmla="*/ 0 h 237678"/>
                <a:gd name="connsiteX72" fmla="*/ 293370 w 1226819"/>
                <a:gd name="connsiteY72" fmla="*/ 0 h 237678"/>
                <a:gd name="connsiteX73" fmla="*/ 260985 w 1226819"/>
                <a:gd name="connsiteY73" fmla="*/ 0 h 237678"/>
                <a:gd name="connsiteX74" fmla="*/ 227648 w 1226819"/>
                <a:gd name="connsiteY74" fmla="*/ 0 h 237678"/>
                <a:gd name="connsiteX75" fmla="*/ 191453 w 1226819"/>
                <a:gd name="connsiteY75" fmla="*/ 0 h 237678"/>
                <a:gd name="connsiteX76" fmla="*/ 153353 w 1226819"/>
                <a:gd name="connsiteY76" fmla="*/ 0 h 237678"/>
                <a:gd name="connsiteX77" fmla="*/ 113348 w 1226819"/>
                <a:gd name="connsiteY77" fmla="*/ 0 h 237678"/>
                <a:gd name="connsiteX78" fmla="*/ 74295 w 1226819"/>
                <a:gd name="connsiteY78" fmla="*/ 0 h 237678"/>
                <a:gd name="connsiteX79" fmla="*/ 40958 w 1226819"/>
                <a:gd name="connsiteY79" fmla="*/ 0 h 237678"/>
                <a:gd name="connsiteX80" fmla="*/ 17145 w 1226819"/>
                <a:gd name="connsiteY80" fmla="*/ 0 h 237678"/>
                <a:gd name="connsiteX81" fmla="*/ 4763 w 1226819"/>
                <a:gd name="connsiteY81" fmla="*/ 0 h 237678"/>
                <a:gd name="connsiteX82" fmla="*/ 953 w 1226819"/>
                <a:gd name="connsiteY82" fmla="*/ 0 h 237678"/>
                <a:gd name="connsiteX83" fmla="*/ 0 w 1226819"/>
                <a:gd name="connsiteY83" fmla="*/ 0 h 237678"/>
                <a:gd name="connsiteX84" fmla="*/ 0 w 1226819"/>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7678">
                  <a:moveTo>
                    <a:pt x="0" y="237678"/>
                  </a:moveTo>
                  <a:lnTo>
                    <a:pt x="1905" y="237678"/>
                  </a:lnTo>
                  <a:lnTo>
                    <a:pt x="9525" y="237678"/>
                  </a:lnTo>
                  <a:lnTo>
                    <a:pt x="27623" y="237678"/>
                  </a:lnTo>
                  <a:lnTo>
                    <a:pt x="56198" y="237678"/>
                  </a:lnTo>
                  <a:lnTo>
                    <a:pt x="93345" y="237678"/>
                  </a:lnTo>
                  <a:lnTo>
                    <a:pt x="132398" y="237678"/>
                  </a:lnTo>
                  <a:lnTo>
                    <a:pt x="172403" y="237678"/>
                  </a:lnTo>
                  <a:lnTo>
                    <a:pt x="209550" y="237678"/>
                  </a:lnTo>
                  <a:lnTo>
                    <a:pt x="244793" y="237678"/>
                  </a:lnTo>
                  <a:lnTo>
                    <a:pt x="277178" y="237678"/>
                  </a:lnTo>
                  <a:lnTo>
                    <a:pt x="308610" y="237678"/>
                  </a:lnTo>
                  <a:lnTo>
                    <a:pt x="340995" y="237678"/>
                  </a:lnTo>
                  <a:lnTo>
                    <a:pt x="358140" y="237678"/>
                  </a:lnTo>
                  <a:lnTo>
                    <a:pt x="386715" y="237678"/>
                  </a:lnTo>
                  <a:lnTo>
                    <a:pt x="417195" y="237678"/>
                  </a:lnTo>
                  <a:lnTo>
                    <a:pt x="449580" y="237678"/>
                  </a:lnTo>
                  <a:lnTo>
                    <a:pt x="483870" y="237678"/>
                  </a:lnTo>
                  <a:lnTo>
                    <a:pt x="520065" y="237678"/>
                  </a:lnTo>
                  <a:lnTo>
                    <a:pt x="557213" y="237678"/>
                  </a:lnTo>
                  <a:lnTo>
                    <a:pt x="595313" y="237678"/>
                  </a:lnTo>
                  <a:lnTo>
                    <a:pt x="634365" y="237678"/>
                  </a:lnTo>
                  <a:lnTo>
                    <a:pt x="672465" y="237678"/>
                  </a:lnTo>
                  <a:lnTo>
                    <a:pt x="709613" y="237678"/>
                  </a:lnTo>
                  <a:lnTo>
                    <a:pt x="744855" y="237678"/>
                  </a:lnTo>
                  <a:lnTo>
                    <a:pt x="779145" y="237678"/>
                  </a:lnTo>
                  <a:lnTo>
                    <a:pt x="811530" y="237678"/>
                  </a:lnTo>
                  <a:lnTo>
                    <a:pt x="842010" y="237678"/>
                  </a:lnTo>
                  <a:lnTo>
                    <a:pt x="869633" y="237678"/>
                  </a:lnTo>
                  <a:lnTo>
                    <a:pt x="902018" y="237678"/>
                  </a:lnTo>
                  <a:lnTo>
                    <a:pt x="934403" y="237678"/>
                  </a:lnTo>
                  <a:lnTo>
                    <a:pt x="966788" y="237678"/>
                  </a:lnTo>
                  <a:lnTo>
                    <a:pt x="1000125" y="237678"/>
                  </a:lnTo>
                  <a:lnTo>
                    <a:pt x="1036320" y="237678"/>
                  </a:lnTo>
                  <a:lnTo>
                    <a:pt x="1074420" y="237678"/>
                  </a:lnTo>
                  <a:lnTo>
                    <a:pt x="1114425" y="237678"/>
                  </a:lnTo>
                  <a:lnTo>
                    <a:pt x="1153478" y="237678"/>
                  </a:lnTo>
                  <a:lnTo>
                    <a:pt x="1186815" y="237678"/>
                  </a:lnTo>
                  <a:lnTo>
                    <a:pt x="1210628" y="237678"/>
                  </a:lnTo>
                  <a:lnTo>
                    <a:pt x="1223010" y="237678"/>
                  </a:lnTo>
                  <a:lnTo>
                    <a:pt x="1226820" y="237678"/>
                  </a:lnTo>
                  <a:lnTo>
                    <a:pt x="1226820" y="23767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7678"/>
                  </a:lnTo>
                  <a:close/>
                </a:path>
              </a:pathLst>
            </a:custGeom>
            <a:solidFill>
              <a:srgbClr val="C1D42F">
                <a:alpha val="60000"/>
              </a:srgbClr>
            </a:solidFill>
            <a:ln w="9525" cap="flat">
              <a:noFill/>
              <a:prstDash val="solid"/>
              <a:miter/>
            </a:ln>
          </p:spPr>
          <p:txBody>
            <a:bodyPr rtlCol="0" anchor="ctr"/>
            <a:lstStyle/>
            <a:p>
              <a:endParaRPr lang="en-US" sz="1050"/>
            </a:p>
          </p:txBody>
        </p:sp>
        <p:sp>
          <p:nvSpPr>
            <p:cNvPr id="182" name="Freeform 234">
              <a:extLst>
                <a:ext uri="{FF2B5EF4-FFF2-40B4-BE49-F238E27FC236}">
                  <a16:creationId xmlns:a16="http://schemas.microsoft.com/office/drawing/2014/main" id="{79B187ED-AC9D-457A-2113-0F19FA5958DB}"/>
                </a:ext>
              </a:extLst>
            </p:cNvPr>
            <p:cNvSpPr/>
            <p:nvPr/>
          </p:nvSpPr>
          <p:spPr>
            <a:xfrm>
              <a:off x="3987133" y="2689980"/>
              <a:ext cx="1226819" cy="237678"/>
            </a:xfrm>
            <a:custGeom>
              <a:avLst/>
              <a:gdLst>
                <a:gd name="connsiteX0" fmla="*/ 0 w 1226819"/>
                <a:gd name="connsiteY0" fmla="*/ 237678 h 237678"/>
                <a:gd name="connsiteX1" fmla="*/ 1905 w 1226819"/>
                <a:gd name="connsiteY1" fmla="*/ 237678 h 237678"/>
                <a:gd name="connsiteX2" fmla="*/ 9525 w 1226819"/>
                <a:gd name="connsiteY2" fmla="*/ 237678 h 237678"/>
                <a:gd name="connsiteX3" fmla="*/ 27623 w 1226819"/>
                <a:gd name="connsiteY3" fmla="*/ 237678 h 237678"/>
                <a:gd name="connsiteX4" fmla="*/ 56198 w 1226819"/>
                <a:gd name="connsiteY4" fmla="*/ 237678 h 237678"/>
                <a:gd name="connsiteX5" fmla="*/ 93345 w 1226819"/>
                <a:gd name="connsiteY5" fmla="*/ 237678 h 237678"/>
                <a:gd name="connsiteX6" fmla="*/ 132398 w 1226819"/>
                <a:gd name="connsiteY6" fmla="*/ 237678 h 237678"/>
                <a:gd name="connsiteX7" fmla="*/ 172403 w 1226819"/>
                <a:gd name="connsiteY7" fmla="*/ 237678 h 237678"/>
                <a:gd name="connsiteX8" fmla="*/ 209550 w 1226819"/>
                <a:gd name="connsiteY8" fmla="*/ 237678 h 237678"/>
                <a:gd name="connsiteX9" fmla="*/ 244793 w 1226819"/>
                <a:gd name="connsiteY9" fmla="*/ 237678 h 237678"/>
                <a:gd name="connsiteX10" fmla="*/ 277178 w 1226819"/>
                <a:gd name="connsiteY10" fmla="*/ 237678 h 237678"/>
                <a:gd name="connsiteX11" fmla="*/ 308610 w 1226819"/>
                <a:gd name="connsiteY11" fmla="*/ 237678 h 237678"/>
                <a:gd name="connsiteX12" fmla="*/ 340995 w 1226819"/>
                <a:gd name="connsiteY12" fmla="*/ 237678 h 237678"/>
                <a:gd name="connsiteX13" fmla="*/ 358140 w 1226819"/>
                <a:gd name="connsiteY13" fmla="*/ 237678 h 237678"/>
                <a:gd name="connsiteX14" fmla="*/ 386715 w 1226819"/>
                <a:gd name="connsiteY14" fmla="*/ 237678 h 237678"/>
                <a:gd name="connsiteX15" fmla="*/ 417195 w 1226819"/>
                <a:gd name="connsiteY15" fmla="*/ 237678 h 237678"/>
                <a:gd name="connsiteX16" fmla="*/ 449580 w 1226819"/>
                <a:gd name="connsiteY16" fmla="*/ 237678 h 237678"/>
                <a:gd name="connsiteX17" fmla="*/ 483870 w 1226819"/>
                <a:gd name="connsiteY17" fmla="*/ 237678 h 237678"/>
                <a:gd name="connsiteX18" fmla="*/ 520065 w 1226819"/>
                <a:gd name="connsiteY18" fmla="*/ 237678 h 237678"/>
                <a:gd name="connsiteX19" fmla="*/ 557213 w 1226819"/>
                <a:gd name="connsiteY19" fmla="*/ 237678 h 237678"/>
                <a:gd name="connsiteX20" fmla="*/ 595313 w 1226819"/>
                <a:gd name="connsiteY20" fmla="*/ 237678 h 237678"/>
                <a:gd name="connsiteX21" fmla="*/ 634365 w 1226819"/>
                <a:gd name="connsiteY21" fmla="*/ 237678 h 237678"/>
                <a:gd name="connsiteX22" fmla="*/ 672465 w 1226819"/>
                <a:gd name="connsiteY22" fmla="*/ 237678 h 237678"/>
                <a:gd name="connsiteX23" fmla="*/ 709613 w 1226819"/>
                <a:gd name="connsiteY23" fmla="*/ 237678 h 237678"/>
                <a:gd name="connsiteX24" fmla="*/ 744855 w 1226819"/>
                <a:gd name="connsiteY24" fmla="*/ 237678 h 237678"/>
                <a:gd name="connsiteX25" fmla="*/ 779145 w 1226819"/>
                <a:gd name="connsiteY25" fmla="*/ 237678 h 237678"/>
                <a:gd name="connsiteX26" fmla="*/ 811530 w 1226819"/>
                <a:gd name="connsiteY26" fmla="*/ 237678 h 237678"/>
                <a:gd name="connsiteX27" fmla="*/ 842010 w 1226819"/>
                <a:gd name="connsiteY27" fmla="*/ 237678 h 237678"/>
                <a:gd name="connsiteX28" fmla="*/ 869633 w 1226819"/>
                <a:gd name="connsiteY28" fmla="*/ 237678 h 237678"/>
                <a:gd name="connsiteX29" fmla="*/ 902018 w 1226819"/>
                <a:gd name="connsiteY29" fmla="*/ 237678 h 237678"/>
                <a:gd name="connsiteX30" fmla="*/ 934403 w 1226819"/>
                <a:gd name="connsiteY30" fmla="*/ 237678 h 237678"/>
                <a:gd name="connsiteX31" fmla="*/ 966788 w 1226819"/>
                <a:gd name="connsiteY31" fmla="*/ 237678 h 237678"/>
                <a:gd name="connsiteX32" fmla="*/ 1000125 w 1226819"/>
                <a:gd name="connsiteY32" fmla="*/ 237678 h 237678"/>
                <a:gd name="connsiteX33" fmla="*/ 1036320 w 1226819"/>
                <a:gd name="connsiteY33" fmla="*/ 237678 h 237678"/>
                <a:gd name="connsiteX34" fmla="*/ 1074420 w 1226819"/>
                <a:gd name="connsiteY34" fmla="*/ 237678 h 237678"/>
                <a:gd name="connsiteX35" fmla="*/ 1114425 w 1226819"/>
                <a:gd name="connsiteY35" fmla="*/ 237678 h 237678"/>
                <a:gd name="connsiteX36" fmla="*/ 1153478 w 1226819"/>
                <a:gd name="connsiteY36" fmla="*/ 237678 h 237678"/>
                <a:gd name="connsiteX37" fmla="*/ 1186815 w 1226819"/>
                <a:gd name="connsiteY37" fmla="*/ 237678 h 237678"/>
                <a:gd name="connsiteX38" fmla="*/ 1210628 w 1226819"/>
                <a:gd name="connsiteY38" fmla="*/ 237678 h 237678"/>
                <a:gd name="connsiteX39" fmla="*/ 1223010 w 1226819"/>
                <a:gd name="connsiteY39" fmla="*/ 237678 h 237678"/>
                <a:gd name="connsiteX40" fmla="*/ 1226820 w 1226819"/>
                <a:gd name="connsiteY40" fmla="*/ 237678 h 237678"/>
                <a:gd name="connsiteX41" fmla="*/ 1226820 w 1226819"/>
                <a:gd name="connsiteY41" fmla="*/ 237678 h 237678"/>
                <a:gd name="connsiteX42" fmla="*/ 1226820 w 1226819"/>
                <a:gd name="connsiteY42" fmla="*/ 0 h 237678"/>
                <a:gd name="connsiteX43" fmla="*/ 1225868 w 1226819"/>
                <a:gd name="connsiteY43" fmla="*/ 0 h 237678"/>
                <a:gd name="connsiteX44" fmla="*/ 1218248 w 1226819"/>
                <a:gd name="connsiteY44" fmla="*/ 0 h 237678"/>
                <a:gd name="connsiteX45" fmla="*/ 1200150 w 1226819"/>
                <a:gd name="connsiteY45" fmla="*/ 0 h 237678"/>
                <a:gd name="connsiteX46" fmla="*/ 1170623 w 1226819"/>
                <a:gd name="connsiteY46" fmla="*/ 0 h 237678"/>
                <a:gd name="connsiteX47" fmla="*/ 1134428 w 1226819"/>
                <a:gd name="connsiteY47" fmla="*/ 0 h 237678"/>
                <a:gd name="connsiteX48" fmla="*/ 1095375 w 1226819"/>
                <a:gd name="connsiteY48" fmla="*/ 0 h 237678"/>
                <a:gd name="connsiteX49" fmla="*/ 1055370 w 1226819"/>
                <a:gd name="connsiteY49" fmla="*/ 0 h 237678"/>
                <a:gd name="connsiteX50" fmla="*/ 1018223 w 1226819"/>
                <a:gd name="connsiteY50" fmla="*/ 0 h 237678"/>
                <a:gd name="connsiteX51" fmla="*/ 982980 w 1226819"/>
                <a:gd name="connsiteY51" fmla="*/ 0 h 237678"/>
                <a:gd name="connsiteX52" fmla="*/ 950595 w 1226819"/>
                <a:gd name="connsiteY52" fmla="*/ 0 h 237678"/>
                <a:gd name="connsiteX53" fmla="*/ 918210 w 1226819"/>
                <a:gd name="connsiteY53" fmla="*/ 0 h 237678"/>
                <a:gd name="connsiteX54" fmla="*/ 886778 w 1226819"/>
                <a:gd name="connsiteY54" fmla="*/ 0 h 237678"/>
                <a:gd name="connsiteX55" fmla="*/ 869633 w 1226819"/>
                <a:gd name="connsiteY55" fmla="*/ 0 h 237678"/>
                <a:gd name="connsiteX56" fmla="*/ 840105 w 1226819"/>
                <a:gd name="connsiteY56" fmla="*/ 0 h 237678"/>
                <a:gd name="connsiteX57" fmla="*/ 809625 w 1226819"/>
                <a:gd name="connsiteY57" fmla="*/ 0 h 237678"/>
                <a:gd name="connsiteX58" fmla="*/ 777240 w 1226819"/>
                <a:gd name="connsiteY58" fmla="*/ 0 h 237678"/>
                <a:gd name="connsiteX59" fmla="*/ 743903 w 1226819"/>
                <a:gd name="connsiteY59" fmla="*/ 0 h 237678"/>
                <a:gd name="connsiteX60" fmla="*/ 707708 w 1226819"/>
                <a:gd name="connsiteY60" fmla="*/ 0 h 237678"/>
                <a:gd name="connsiteX61" fmla="*/ 670560 w 1226819"/>
                <a:gd name="connsiteY61" fmla="*/ 0 h 237678"/>
                <a:gd name="connsiteX62" fmla="*/ 632460 w 1226819"/>
                <a:gd name="connsiteY62" fmla="*/ 0 h 237678"/>
                <a:gd name="connsiteX63" fmla="*/ 593408 w 1226819"/>
                <a:gd name="connsiteY63" fmla="*/ 0 h 237678"/>
                <a:gd name="connsiteX64" fmla="*/ 555308 w 1226819"/>
                <a:gd name="connsiteY64" fmla="*/ 0 h 237678"/>
                <a:gd name="connsiteX65" fmla="*/ 518160 w 1226819"/>
                <a:gd name="connsiteY65" fmla="*/ 0 h 237678"/>
                <a:gd name="connsiteX66" fmla="*/ 482918 w 1226819"/>
                <a:gd name="connsiteY66" fmla="*/ 0 h 237678"/>
                <a:gd name="connsiteX67" fmla="*/ 448628 w 1226819"/>
                <a:gd name="connsiteY67" fmla="*/ 0 h 237678"/>
                <a:gd name="connsiteX68" fmla="*/ 416243 w 1226819"/>
                <a:gd name="connsiteY68" fmla="*/ 0 h 237678"/>
                <a:gd name="connsiteX69" fmla="*/ 385763 w 1226819"/>
                <a:gd name="connsiteY69" fmla="*/ 0 h 237678"/>
                <a:gd name="connsiteX70" fmla="*/ 358140 w 1226819"/>
                <a:gd name="connsiteY70" fmla="*/ 0 h 237678"/>
                <a:gd name="connsiteX71" fmla="*/ 325755 w 1226819"/>
                <a:gd name="connsiteY71" fmla="*/ 0 h 237678"/>
                <a:gd name="connsiteX72" fmla="*/ 293370 w 1226819"/>
                <a:gd name="connsiteY72" fmla="*/ 0 h 237678"/>
                <a:gd name="connsiteX73" fmla="*/ 260985 w 1226819"/>
                <a:gd name="connsiteY73" fmla="*/ 0 h 237678"/>
                <a:gd name="connsiteX74" fmla="*/ 227648 w 1226819"/>
                <a:gd name="connsiteY74" fmla="*/ 0 h 237678"/>
                <a:gd name="connsiteX75" fmla="*/ 191453 w 1226819"/>
                <a:gd name="connsiteY75" fmla="*/ 0 h 237678"/>
                <a:gd name="connsiteX76" fmla="*/ 153353 w 1226819"/>
                <a:gd name="connsiteY76" fmla="*/ 0 h 237678"/>
                <a:gd name="connsiteX77" fmla="*/ 113348 w 1226819"/>
                <a:gd name="connsiteY77" fmla="*/ 0 h 237678"/>
                <a:gd name="connsiteX78" fmla="*/ 74295 w 1226819"/>
                <a:gd name="connsiteY78" fmla="*/ 0 h 237678"/>
                <a:gd name="connsiteX79" fmla="*/ 40958 w 1226819"/>
                <a:gd name="connsiteY79" fmla="*/ 0 h 237678"/>
                <a:gd name="connsiteX80" fmla="*/ 17145 w 1226819"/>
                <a:gd name="connsiteY80" fmla="*/ 0 h 237678"/>
                <a:gd name="connsiteX81" fmla="*/ 4763 w 1226819"/>
                <a:gd name="connsiteY81" fmla="*/ 0 h 237678"/>
                <a:gd name="connsiteX82" fmla="*/ 953 w 1226819"/>
                <a:gd name="connsiteY82" fmla="*/ 0 h 237678"/>
                <a:gd name="connsiteX83" fmla="*/ 0 w 1226819"/>
                <a:gd name="connsiteY83" fmla="*/ 0 h 237678"/>
                <a:gd name="connsiteX84" fmla="*/ 0 w 1226819"/>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7678">
                  <a:moveTo>
                    <a:pt x="0" y="237678"/>
                  </a:moveTo>
                  <a:lnTo>
                    <a:pt x="1905" y="237678"/>
                  </a:lnTo>
                  <a:lnTo>
                    <a:pt x="9525" y="237678"/>
                  </a:lnTo>
                  <a:lnTo>
                    <a:pt x="27623" y="237678"/>
                  </a:lnTo>
                  <a:lnTo>
                    <a:pt x="56198" y="237678"/>
                  </a:lnTo>
                  <a:lnTo>
                    <a:pt x="93345" y="237678"/>
                  </a:lnTo>
                  <a:lnTo>
                    <a:pt x="132398" y="237678"/>
                  </a:lnTo>
                  <a:lnTo>
                    <a:pt x="172403" y="237678"/>
                  </a:lnTo>
                  <a:lnTo>
                    <a:pt x="209550" y="237678"/>
                  </a:lnTo>
                  <a:lnTo>
                    <a:pt x="244793" y="237678"/>
                  </a:lnTo>
                  <a:lnTo>
                    <a:pt x="277178" y="237678"/>
                  </a:lnTo>
                  <a:lnTo>
                    <a:pt x="308610" y="237678"/>
                  </a:lnTo>
                  <a:lnTo>
                    <a:pt x="340995" y="237678"/>
                  </a:lnTo>
                  <a:lnTo>
                    <a:pt x="358140" y="237678"/>
                  </a:lnTo>
                  <a:lnTo>
                    <a:pt x="386715" y="237678"/>
                  </a:lnTo>
                  <a:lnTo>
                    <a:pt x="417195" y="237678"/>
                  </a:lnTo>
                  <a:lnTo>
                    <a:pt x="449580" y="237678"/>
                  </a:lnTo>
                  <a:lnTo>
                    <a:pt x="483870" y="237678"/>
                  </a:lnTo>
                  <a:lnTo>
                    <a:pt x="520065" y="237678"/>
                  </a:lnTo>
                  <a:lnTo>
                    <a:pt x="557213" y="237678"/>
                  </a:lnTo>
                  <a:lnTo>
                    <a:pt x="595313" y="237678"/>
                  </a:lnTo>
                  <a:lnTo>
                    <a:pt x="634365" y="237678"/>
                  </a:lnTo>
                  <a:lnTo>
                    <a:pt x="672465" y="237678"/>
                  </a:lnTo>
                  <a:lnTo>
                    <a:pt x="709613" y="237678"/>
                  </a:lnTo>
                  <a:lnTo>
                    <a:pt x="744855" y="237678"/>
                  </a:lnTo>
                  <a:lnTo>
                    <a:pt x="779145" y="237678"/>
                  </a:lnTo>
                  <a:lnTo>
                    <a:pt x="811530" y="237678"/>
                  </a:lnTo>
                  <a:lnTo>
                    <a:pt x="842010" y="237678"/>
                  </a:lnTo>
                  <a:lnTo>
                    <a:pt x="869633" y="237678"/>
                  </a:lnTo>
                  <a:lnTo>
                    <a:pt x="902018" y="237678"/>
                  </a:lnTo>
                  <a:lnTo>
                    <a:pt x="934403" y="237678"/>
                  </a:lnTo>
                  <a:lnTo>
                    <a:pt x="966788" y="237678"/>
                  </a:lnTo>
                  <a:lnTo>
                    <a:pt x="1000125" y="237678"/>
                  </a:lnTo>
                  <a:lnTo>
                    <a:pt x="1036320" y="237678"/>
                  </a:lnTo>
                  <a:lnTo>
                    <a:pt x="1074420" y="237678"/>
                  </a:lnTo>
                  <a:lnTo>
                    <a:pt x="1114425" y="237678"/>
                  </a:lnTo>
                  <a:lnTo>
                    <a:pt x="1153478" y="237678"/>
                  </a:lnTo>
                  <a:lnTo>
                    <a:pt x="1186815" y="237678"/>
                  </a:lnTo>
                  <a:lnTo>
                    <a:pt x="1210628" y="237678"/>
                  </a:lnTo>
                  <a:lnTo>
                    <a:pt x="1223010" y="237678"/>
                  </a:lnTo>
                  <a:lnTo>
                    <a:pt x="1226820" y="237678"/>
                  </a:lnTo>
                  <a:lnTo>
                    <a:pt x="1226820" y="23767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7678"/>
                  </a:lnTo>
                  <a:close/>
                </a:path>
              </a:pathLst>
            </a:custGeom>
            <a:noFill/>
            <a:ln w="9525" cap="flat">
              <a:solidFill>
                <a:srgbClr val="C1D42F"/>
              </a:solidFill>
              <a:prstDash val="solid"/>
              <a:miter/>
            </a:ln>
          </p:spPr>
          <p:txBody>
            <a:bodyPr rtlCol="0" anchor="ctr"/>
            <a:lstStyle/>
            <a:p>
              <a:endParaRPr lang="en-US" sz="1050"/>
            </a:p>
          </p:txBody>
        </p:sp>
        <p:sp>
          <p:nvSpPr>
            <p:cNvPr id="183" name="Freeform 235">
              <a:extLst>
                <a:ext uri="{FF2B5EF4-FFF2-40B4-BE49-F238E27FC236}">
                  <a16:creationId xmlns:a16="http://schemas.microsoft.com/office/drawing/2014/main" id="{19385817-5A15-C957-D52A-64FD35BE43BA}"/>
                </a:ext>
              </a:extLst>
            </p:cNvPr>
            <p:cNvSpPr/>
            <p:nvPr/>
          </p:nvSpPr>
          <p:spPr>
            <a:xfrm>
              <a:off x="3987133" y="2927659"/>
              <a:ext cx="1226819" cy="237678"/>
            </a:xfrm>
            <a:custGeom>
              <a:avLst/>
              <a:gdLst>
                <a:gd name="connsiteX0" fmla="*/ 0 w 1226819"/>
                <a:gd name="connsiteY0" fmla="*/ 237678 h 237678"/>
                <a:gd name="connsiteX1" fmla="*/ 1905 w 1226819"/>
                <a:gd name="connsiteY1" fmla="*/ 237678 h 237678"/>
                <a:gd name="connsiteX2" fmla="*/ 9525 w 1226819"/>
                <a:gd name="connsiteY2" fmla="*/ 237678 h 237678"/>
                <a:gd name="connsiteX3" fmla="*/ 27623 w 1226819"/>
                <a:gd name="connsiteY3" fmla="*/ 237678 h 237678"/>
                <a:gd name="connsiteX4" fmla="*/ 56198 w 1226819"/>
                <a:gd name="connsiteY4" fmla="*/ 237678 h 237678"/>
                <a:gd name="connsiteX5" fmla="*/ 93345 w 1226819"/>
                <a:gd name="connsiteY5" fmla="*/ 237678 h 237678"/>
                <a:gd name="connsiteX6" fmla="*/ 132398 w 1226819"/>
                <a:gd name="connsiteY6" fmla="*/ 237678 h 237678"/>
                <a:gd name="connsiteX7" fmla="*/ 172403 w 1226819"/>
                <a:gd name="connsiteY7" fmla="*/ 237678 h 237678"/>
                <a:gd name="connsiteX8" fmla="*/ 209550 w 1226819"/>
                <a:gd name="connsiteY8" fmla="*/ 237678 h 237678"/>
                <a:gd name="connsiteX9" fmla="*/ 244793 w 1226819"/>
                <a:gd name="connsiteY9" fmla="*/ 237678 h 237678"/>
                <a:gd name="connsiteX10" fmla="*/ 277178 w 1226819"/>
                <a:gd name="connsiteY10" fmla="*/ 237678 h 237678"/>
                <a:gd name="connsiteX11" fmla="*/ 308610 w 1226819"/>
                <a:gd name="connsiteY11" fmla="*/ 237678 h 237678"/>
                <a:gd name="connsiteX12" fmla="*/ 340995 w 1226819"/>
                <a:gd name="connsiteY12" fmla="*/ 237678 h 237678"/>
                <a:gd name="connsiteX13" fmla="*/ 358140 w 1226819"/>
                <a:gd name="connsiteY13" fmla="*/ 237678 h 237678"/>
                <a:gd name="connsiteX14" fmla="*/ 386715 w 1226819"/>
                <a:gd name="connsiteY14" fmla="*/ 237678 h 237678"/>
                <a:gd name="connsiteX15" fmla="*/ 417195 w 1226819"/>
                <a:gd name="connsiteY15" fmla="*/ 237678 h 237678"/>
                <a:gd name="connsiteX16" fmla="*/ 449580 w 1226819"/>
                <a:gd name="connsiteY16" fmla="*/ 237678 h 237678"/>
                <a:gd name="connsiteX17" fmla="*/ 483870 w 1226819"/>
                <a:gd name="connsiteY17" fmla="*/ 237678 h 237678"/>
                <a:gd name="connsiteX18" fmla="*/ 520065 w 1226819"/>
                <a:gd name="connsiteY18" fmla="*/ 237678 h 237678"/>
                <a:gd name="connsiteX19" fmla="*/ 557213 w 1226819"/>
                <a:gd name="connsiteY19" fmla="*/ 237678 h 237678"/>
                <a:gd name="connsiteX20" fmla="*/ 595313 w 1226819"/>
                <a:gd name="connsiteY20" fmla="*/ 237678 h 237678"/>
                <a:gd name="connsiteX21" fmla="*/ 634365 w 1226819"/>
                <a:gd name="connsiteY21" fmla="*/ 237678 h 237678"/>
                <a:gd name="connsiteX22" fmla="*/ 672465 w 1226819"/>
                <a:gd name="connsiteY22" fmla="*/ 237678 h 237678"/>
                <a:gd name="connsiteX23" fmla="*/ 709613 w 1226819"/>
                <a:gd name="connsiteY23" fmla="*/ 237678 h 237678"/>
                <a:gd name="connsiteX24" fmla="*/ 744855 w 1226819"/>
                <a:gd name="connsiteY24" fmla="*/ 237678 h 237678"/>
                <a:gd name="connsiteX25" fmla="*/ 779145 w 1226819"/>
                <a:gd name="connsiteY25" fmla="*/ 237678 h 237678"/>
                <a:gd name="connsiteX26" fmla="*/ 811530 w 1226819"/>
                <a:gd name="connsiteY26" fmla="*/ 237678 h 237678"/>
                <a:gd name="connsiteX27" fmla="*/ 842010 w 1226819"/>
                <a:gd name="connsiteY27" fmla="*/ 237678 h 237678"/>
                <a:gd name="connsiteX28" fmla="*/ 869633 w 1226819"/>
                <a:gd name="connsiteY28" fmla="*/ 237678 h 237678"/>
                <a:gd name="connsiteX29" fmla="*/ 902018 w 1226819"/>
                <a:gd name="connsiteY29" fmla="*/ 237678 h 237678"/>
                <a:gd name="connsiteX30" fmla="*/ 934403 w 1226819"/>
                <a:gd name="connsiteY30" fmla="*/ 237678 h 237678"/>
                <a:gd name="connsiteX31" fmla="*/ 966788 w 1226819"/>
                <a:gd name="connsiteY31" fmla="*/ 237678 h 237678"/>
                <a:gd name="connsiteX32" fmla="*/ 1000125 w 1226819"/>
                <a:gd name="connsiteY32" fmla="*/ 237678 h 237678"/>
                <a:gd name="connsiteX33" fmla="*/ 1036320 w 1226819"/>
                <a:gd name="connsiteY33" fmla="*/ 237678 h 237678"/>
                <a:gd name="connsiteX34" fmla="*/ 1074420 w 1226819"/>
                <a:gd name="connsiteY34" fmla="*/ 237678 h 237678"/>
                <a:gd name="connsiteX35" fmla="*/ 1114425 w 1226819"/>
                <a:gd name="connsiteY35" fmla="*/ 237678 h 237678"/>
                <a:gd name="connsiteX36" fmla="*/ 1153478 w 1226819"/>
                <a:gd name="connsiteY36" fmla="*/ 237678 h 237678"/>
                <a:gd name="connsiteX37" fmla="*/ 1186815 w 1226819"/>
                <a:gd name="connsiteY37" fmla="*/ 237678 h 237678"/>
                <a:gd name="connsiteX38" fmla="*/ 1210628 w 1226819"/>
                <a:gd name="connsiteY38" fmla="*/ 237678 h 237678"/>
                <a:gd name="connsiteX39" fmla="*/ 1223010 w 1226819"/>
                <a:gd name="connsiteY39" fmla="*/ 237678 h 237678"/>
                <a:gd name="connsiteX40" fmla="*/ 1226820 w 1226819"/>
                <a:gd name="connsiteY40" fmla="*/ 237678 h 237678"/>
                <a:gd name="connsiteX41" fmla="*/ 1226820 w 1226819"/>
                <a:gd name="connsiteY41" fmla="*/ 237678 h 237678"/>
                <a:gd name="connsiteX42" fmla="*/ 1226820 w 1226819"/>
                <a:gd name="connsiteY42" fmla="*/ 0 h 237678"/>
                <a:gd name="connsiteX43" fmla="*/ 1225868 w 1226819"/>
                <a:gd name="connsiteY43" fmla="*/ 0 h 237678"/>
                <a:gd name="connsiteX44" fmla="*/ 1218248 w 1226819"/>
                <a:gd name="connsiteY44" fmla="*/ 0 h 237678"/>
                <a:gd name="connsiteX45" fmla="*/ 1200150 w 1226819"/>
                <a:gd name="connsiteY45" fmla="*/ 0 h 237678"/>
                <a:gd name="connsiteX46" fmla="*/ 1170623 w 1226819"/>
                <a:gd name="connsiteY46" fmla="*/ 0 h 237678"/>
                <a:gd name="connsiteX47" fmla="*/ 1134428 w 1226819"/>
                <a:gd name="connsiteY47" fmla="*/ 0 h 237678"/>
                <a:gd name="connsiteX48" fmla="*/ 1095375 w 1226819"/>
                <a:gd name="connsiteY48" fmla="*/ 0 h 237678"/>
                <a:gd name="connsiteX49" fmla="*/ 1055370 w 1226819"/>
                <a:gd name="connsiteY49" fmla="*/ 0 h 237678"/>
                <a:gd name="connsiteX50" fmla="*/ 1018223 w 1226819"/>
                <a:gd name="connsiteY50" fmla="*/ 0 h 237678"/>
                <a:gd name="connsiteX51" fmla="*/ 982980 w 1226819"/>
                <a:gd name="connsiteY51" fmla="*/ 0 h 237678"/>
                <a:gd name="connsiteX52" fmla="*/ 950595 w 1226819"/>
                <a:gd name="connsiteY52" fmla="*/ 0 h 237678"/>
                <a:gd name="connsiteX53" fmla="*/ 918210 w 1226819"/>
                <a:gd name="connsiteY53" fmla="*/ 0 h 237678"/>
                <a:gd name="connsiteX54" fmla="*/ 886778 w 1226819"/>
                <a:gd name="connsiteY54" fmla="*/ 0 h 237678"/>
                <a:gd name="connsiteX55" fmla="*/ 869633 w 1226819"/>
                <a:gd name="connsiteY55" fmla="*/ 0 h 237678"/>
                <a:gd name="connsiteX56" fmla="*/ 840105 w 1226819"/>
                <a:gd name="connsiteY56" fmla="*/ 0 h 237678"/>
                <a:gd name="connsiteX57" fmla="*/ 809625 w 1226819"/>
                <a:gd name="connsiteY57" fmla="*/ 0 h 237678"/>
                <a:gd name="connsiteX58" fmla="*/ 777240 w 1226819"/>
                <a:gd name="connsiteY58" fmla="*/ 0 h 237678"/>
                <a:gd name="connsiteX59" fmla="*/ 743903 w 1226819"/>
                <a:gd name="connsiteY59" fmla="*/ 0 h 237678"/>
                <a:gd name="connsiteX60" fmla="*/ 707708 w 1226819"/>
                <a:gd name="connsiteY60" fmla="*/ 0 h 237678"/>
                <a:gd name="connsiteX61" fmla="*/ 670560 w 1226819"/>
                <a:gd name="connsiteY61" fmla="*/ 0 h 237678"/>
                <a:gd name="connsiteX62" fmla="*/ 632460 w 1226819"/>
                <a:gd name="connsiteY62" fmla="*/ 0 h 237678"/>
                <a:gd name="connsiteX63" fmla="*/ 593408 w 1226819"/>
                <a:gd name="connsiteY63" fmla="*/ 0 h 237678"/>
                <a:gd name="connsiteX64" fmla="*/ 555308 w 1226819"/>
                <a:gd name="connsiteY64" fmla="*/ 0 h 237678"/>
                <a:gd name="connsiteX65" fmla="*/ 518160 w 1226819"/>
                <a:gd name="connsiteY65" fmla="*/ 0 h 237678"/>
                <a:gd name="connsiteX66" fmla="*/ 482918 w 1226819"/>
                <a:gd name="connsiteY66" fmla="*/ 0 h 237678"/>
                <a:gd name="connsiteX67" fmla="*/ 448628 w 1226819"/>
                <a:gd name="connsiteY67" fmla="*/ 0 h 237678"/>
                <a:gd name="connsiteX68" fmla="*/ 416243 w 1226819"/>
                <a:gd name="connsiteY68" fmla="*/ 0 h 237678"/>
                <a:gd name="connsiteX69" fmla="*/ 385763 w 1226819"/>
                <a:gd name="connsiteY69" fmla="*/ 0 h 237678"/>
                <a:gd name="connsiteX70" fmla="*/ 358140 w 1226819"/>
                <a:gd name="connsiteY70" fmla="*/ 0 h 237678"/>
                <a:gd name="connsiteX71" fmla="*/ 325755 w 1226819"/>
                <a:gd name="connsiteY71" fmla="*/ 0 h 237678"/>
                <a:gd name="connsiteX72" fmla="*/ 293370 w 1226819"/>
                <a:gd name="connsiteY72" fmla="*/ 0 h 237678"/>
                <a:gd name="connsiteX73" fmla="*/ 260985 w 1226819"/>
                <a:gd name="connsiteY73" fmla="*/ 0 h 237678"/>
                <a:gd name="connsiteX74" fmla="*/ 227648 w 1226819"/>
                <a:gd name="connsiteY74" fmla="*/ 0 h 237678"/>
                <a:gd name="connsiteX75" fmla="*/ 191453 w 1226819"/>
                <a:gd name="connsiteY75" fmla="*/ 0 h 237678"/>
                <a:gd name="connsiteX76" fmla="*/ 153353 w 1226819"/>
                <a:gd name="connsiteY76" fmla="*/ 0 h 237678"/>
                <a:gd name="connsiteX77" fmla="*/ 113348 w 1226819"/>
                <a:gd name="connsiteY77" fmla="*/ 0 h 237678"/>
                <a:gd name="connsiteX78" fmla="*/ 74295 w 1226819"/>
                <a:gd name="connsiteY78" fmla="*/ 0 h 237678"/>
                <a:gd name="connsiteX79" fmla="*/ 40958 w 1226819"/>
                <a:gd name="connsiteY79" fmla="*/ 0 h 237678"/>
                <a:gd name="connsiteX80" fmla="*/ 17145 w 1226819"/>
                <a:gd name="connsiteY80" fmla="*/ 0 h 237678"/>
                <a:gd name="connsiteX81" fmla="*/ 4763 w 1226819"/>
                <a:gd name="connsiteY81" fmla="*/ 0 h 237678"/>
                <a:gd name="connsiteX82" fmla="*/ 953 w 1226819"/>
                <a:gd name="connsiteY82" fmla="*/ 0 h 237678"/>
                <a:gd name="connsiteX83" fmla="*/ 0 w 1226819"/>
                <a:gd name="connsiteY83" fmla="*/ 0 h 237678"/>
                <a:gd name="connsiteX84" fmla="*/ 0 w 1226819"/>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7678">
                  <a:moveTo>
                    <a:pt x="0" y="237678"/>
                  </a:moveTo>
                  <a:lnTo>
                    <a:pt x="1905" y="237678"/>
                  </a:lnTo>
                  <a:lnTo>
                    <a:pt x="9525" y="237678"/>
                  </a:lnTo>
                  <a:lnTo>
                    <a:pt x="27623" y="237678"/>
                  </a:lnTo>
                  <a:lnTo>
                    <a:pt x="56198" y="237678"/>
                  </a:lnTo>
                  <a:lnTo>
                    <a:pt x="93345" y="237678"/>
                  </a:lnTo>
                  <a:lnTo>
                    <a:pt x="132398" y="237678"/>
                  </a:lnTo>
                  <a:lnTo>
                    <a:pt x="172403" y="237678"/>
                  </a:lnTo>
                  <a:lnTo>
                    <a:pt x="209550" y="237678"/>
                  </a:lnTo>
                  <a:lnTo>
                    <a:pt x="244793" y="237678"/>
                  </a:lnTo>
                  <a:lnTo>
                    <a:pt x="277178" y="237678"/>
                  </a:lnTo>
                  <a:lnTo>
                    <a:pt x="308610" y="237678"/>
                  </a:lnTo>
                  <a:lnTo>
                    <a:pt x="340995" y="237678"/>
                  </a:lnTo>
                  <a:lnTo>
                    <a:pt x="358140" y="237678"/>
                  </a:lnTo>
                  <a:lnTo>
                    <a:pt x="386715" y="237678"/>
                  </a:lnTo>
                  <a:lnTo>
                    <a:pt x="417195" y="237678"/>
                  </a:lnTo>
                  <a:lnTo>
                    <a:pt x="449580" y="237678"/>
                  </a:lnTo>
                  <a:lnTo>
                    <a:pt x="483870" y="237678"/>
                  </a:lnTo>
                  <a:lnTo>
                    <a:pt x="520065" y="237678"/>
                  </a:lnTo>
                  <a:lnTo>
                    <a:pt x="557213" y="237678"/>
                  </a:lnTo>
                  <a:lnTo>
                    <a:pt x="595313" y="237678"/>
                  </a:lnTo>
                  <a:lnTo>
                    <a:pt x="634365" y="237678"/>
                  </a:lnTo>
                  <a:lnTo>
                    <a:pt x="672465" y="237678"/>
                  </a:lnTo>
                  <a:lnTo>
                    <a:pt x="709613" y="237678"/>
                  </a:lnTo>
                  <a:lnTo>
                    <a:pt x="744855" y="237678"/>
                  </a:lnTo>
                  <a:lnTo>
                    <a:pt x="779145" y="237678"/>
                  </a:lnTo>
                  <a:lnTo>
                    <a:pt x="811530" y="237678"/>
                  </a:lnTo>
                  <a:lnTo>
                    <a:pt x="842010" y="237678"/>
                  </a:lnTo>
                  <a:lnTo>
                    <a:pt x="869633" y="237678"/>
                  </a:lnTo>
                  <a:lnTo>
                    <a:pt x="902018" y="237678"/>
                  </a:lnTo>
                  <a:lnTo>
                    <a:pt x="934403" y="237678"/>
                  </a:lnTo>
                  <a:lnTo>
                    <a:pt x="966788" y="237678"/>
                  </a:lnTo>
                  <a:lnTo>
                    <a:pt x="1000125" y="237678"/>
                  </a:lnTo>
                  <a:lnTo>
                    <a:pt x="1036320" y="237678"/>
                  </a:lnTo>
                  <a:lnTo>
                    <a:pt x="1074420" y="237678"/>
                  </a:lnTo>
                  <a:lnTo>
                    <a:pt x="1114425" y="237678"/>
                  </a:lnTo>
                  <a:lnTo>
                    <a:pt x="1153478" y="237678"/>
                  </a:lnTo>
                  <a:lnTo>
                    <a:pt x="1186815" y="237678"/>
                  </a:lnTo>
                  <a:lnTo>
                    <a:pt x="1210628" y="237678"/>
                  </a:lnTo>
                  <a:lnTo>
                    <a:pt x="1223010" y="237678"/>
                  </a:lnTo>
                  <a:lnTo>
                    <a:pt x="1226820" y="237678"/>
                  </a:lnTo>
                  <a:lnTo>
                    <a:pt x="1226820" y="23767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7678"/>
                  </a:lnTo>
                  <a:close/>
                </a:path>
              </a:pathLst>
            </a:custGeom>
            <a:solidFill>
              <a:srgbClr val="BBBDBF">
                <a:alpha val="60000"/>
              </a:srgbClr>
            </a:solidFill>
            <a:ln w="9525" cap="flat">
              <a:noFill/>
              <a:prstDash val="solid"/>
              <a:miter/>
            </a:ln>
          </p:spPr>
          <p:txBody>
            <a:bodyPr rtlCol="0" anchor="ctr"/>
            <a:lstStyle/>
            <a:p>
              <a:endParaRPr lang="en-US" sz="1050"/>
            </a:p>
          </p:txBody>
        </p:sp>
        <p:sp>
          <p:nvSpPr>
            <p:cNvPr id="184" name="Freeform 236">
              <a:extLst>
                <a:ext uri="{FF2B5EF4-FFF2-40B4-BE49-F238E27FC236}">
                  <a16:creationId xmlns:a16="http://schemas.microsoft.com/office/drawing/2014/main" id="{2958F12B-6C7F-AB0F-100D-848591FE4CA8}"/>
                </a:ext>
              </a:extLst>
            </p:cNvPr>
            <p:cNvSpPr/>
            <p:nvPr/>
          </p:nvSpPr>
          <p:spPr>
            <a:xfrm>
              <a:off x="3987133" y="2927659"/>
              <a:ext cx="1226819" cy="237678"/>
            </a:xfrm>
            <a:custGeom>
              <a:avLst/>
              <a:gdLst>
                <a:gd name="connsiteX0" fmla="*/ 0 w 1226819"/>
                <a:gd name="connsiteY0" fmla="*/ 237678 h 237678"/>
                <a:gd name="connsiteX1" fmla="*/ 1905 w 1226819"/>
                <a:gd name="connsiteY1" fmla="*/ 237678 h 237678"/>
                <a:gd name="connsiteX2" fmla="*/ 9525 w 1226819"/>
                <a:gd name="connsiteY2" fmla="*/ 237678 h 237678"/>
                <a:gd name="connsiteX3" fmla="*/ 27623 w 1226819"/>
                <a:gd name="connsiteY3" fmla="*/ 237678 h 237678"/>
                <a:gd name="connsiteX4" fmla="*/ 56198 w 1226819"/>
                <a:gd name="connsiteY4" fmla="*/ 237678 h 237678"/>
                <a:gd name="connsiteX5" fmla="*/ 93345 w 1226819"/>
                <a:gd name="connsiteY5" fmla="*/ 237678 h 237678"/>
                <a:gd name="connsiteX6" fmla="*/ 132398 w 1226819"/>
                <a:gd name="connsiteY6" fmla="*/ 237678 h 237678"/>
                <a:gd name="connsiteX7" fmla="*/ 172403 w 1226819"/>
                <a:gd name="connsiteY7" fmla="*/ 237678 h 237678"/>
                <a:gd name="connsiteX8" fmla="*/ 209550 w 1226819"/>
                <a:gd name="connsiteY8" fmla="*/ 237678 h 237678"/>
                <a:gd name="connsiteX9" fmla="*/ 244793 w 1226819"/>
                <a:gd name="connsiteY9" fmla="*/ 237678 h 237678"/>
                <a:gd name="connsiteX10" fmla="*/ 277178 w 1226819"/>
                <a:gd name="connsiteY10" fmla="*/ 237678 h 237678"/>
                <a:gd name="connsiteX11" fmla="*/ 308610 w 1226819"/>
                <a:gd name="connsiteY11" fmla="*/ 237678 h 237678"/>
                <a:gd name="connsiteX12" fmla="*/ 340995 w 1226819"/>
                <a:gd name="connsiteY12" fmla="*/ 237678 h 237678"/>
                <a:gd name="connsiteX13" fmla="*/ 358140 w 1226819"/>
                <a:gd name="connsiteY13" fmla="*/ 237678 h 237678"/>
                <a:gd name="connsiteX14" fmla="*/ 386715 w 1226819"/>
                <a:gd name="connsiteY14" fmla="*/ 237678 h 237678"/>
                <a:gd name="connsiteX15" fmla="*/ 417195 w 1226819"/>
                <a:gd name="connsiteY15" fmla="*/ 237678 h 237678"/>
                <a:gd name="connsiteX16" fmla="*/ 449580 w 1226819"/>
                <a:gd name="connsiteY16" fmla="*/ 237678 h 237678"/>
                <a:gd name="connsiteX17" fmla="*/ 483870 w 1226819"/>
                <a:gd name="connsiteY17" fmla="*/ 237678 h 237678"/>
                <a:gd name="connsiteX18" fmla="*/ 520065 w 1226819"/>
                <a:gd name="connsiteY18" fmla="*/ 237678 h 237678"/>
                <a:gd name="connsiteX19" fmla="*/ 557213 w 1226819"/>
                <a:gd name="connsiteY19" fmla="*/ 237678 h 237678"/>
                <a:gd name="connsiteX20" fmla="*/ 595313 w 1226819"/>
                <a:gd name="connsiteY20" fmla="*/ 237678 h 237678"/>
                <a:gd name="connsiteX21" fmla="*/ 634365 w 1226819"/>
                <a:gd name="connsiteY21" fmla="*/ 237678 h 237678"/>
                <a:gd name="connsiteX22" fmla="*/ 672465 w 1226819"/>
                <a:gd name="connsiteY22" fmla="*/ 237678 h 237678"/>
                <a:gd name="connsiteX23" fmla="*/ 709613 w 1226819"/>
                <a:gd name="connsiteY23" fmla="*/ 237678 h 237678"/>
                <a:gd name="connsiteX24" fmla="*/ 744855 w 1226819"/>
                <a:gd name="connsiteY24" fmla="*/ 237678 h 237678"/>
                <a:gd name="connsiteX25" fmla="*/ 779145 w 1226819"/>
                <a:gd name="connsiteY25" fmla="*/ 237678 h 237678"/>
                <a:gd name="connsiteX26" fmla="*/ 811530 w 1226819"/>
                <a:gd name="connsiteY26" fmla="*/ 237678 h 237678"/>
                <a:gd name="connsiteX27" fmla="*/ 842010 w 1226819"/>
                <a:gd name="connsiteY27" fmla="*/ 237678 h 237678"/>
                <a:gd name="connsiteX28" fmla="*/ 869633 w 1226819"/>
                <a:gd name="connsiteY28" fmla="*/ 237678 h 237678"/>
                <a:gd name="connsiteX29" fmla="*/ 902018 w 1226819"/>
                <a:gd name="connsiteY29" fmla="*/ 237678 h 237678"/>
                <a:gd name="connsiteX30" fmla="*/ 934403 w 1226819"/>
                <a:gd name="connsiteY30" fmla="*/ 237678 h 237678"/>
                <a:gd name="connsiteX31" fmla="*/ 966788 w 1226819"/>
                <a:gd name="connsiteY31" fmla="*/ 237678 h 237678"/>
                <a:gd name="connsiteX32" fmla="*/ 1000125 w 1226819"/>
                <a:gd name="connsiteY32" fmla="*/ 237678 h 237678"/>
                <a:gd name="connsiteX33" fmla="*/ 1036320 w 1226819"/>
                <a:gd name="connsiteY33" fmla="*/ 237678 h 237678"/>
                <a:gd name="connsiteX34" fmla="*/ 1074420 w 1226819"/>
                <a:gd name="connsiteY34" fmla="*/ 237678 h 237678"/>
                <a:gd name="connsiteX35" fmla="*/ 1114425 w 1226819"/>
                <a:gd name="connsiteY35" fmla="*/ 237678 h 237678"/>
                <a:gd name="connsiteX36" fmla="*/ 1153478 w 1226819"/>
                <a:gd name="connsiteY36" fmla="*/ 237678 h 237678"/>
                <a:gd name="connsiteX37" fmla="*/ 1186815 w 1226819"/>
                <a:gd name="connsiteY37" fmla="*/ 237678 h 237678"/>
                <a:gd name="connsiteX38" fmla="*/ 1210628 w 1226819"/>
                <a:gd name="connsiteY38" fmla="*/ 237678 h 237678"/>
                <a:gd name="connsiteX39" fmla="*/ 1223010 w 1226819"/>
                <a:gd name="connsiteY39" fmla="*/ 237678 h 237678"/>
                <a:gd name="connsiteX40" fmla="*/ 1226820 w 1226819"/>
                <a:gd name="connsiteY40" fmla="*/ 237678 h 237678"/>
                <a:gd name="connsiteX41" fmla="*/ 1226820 w 1226819"/>
                <a:gd name="connsiteY41" fmla="*/ 237678 h 237678"/>
                <a:gd name="connsiteX42" fmla="*/ 1226820 w 1226819"/>
                <a:gd name="connsiteY42" fmla="*/ 0 h 237678"/>
                <a:gd name="connsiteX43" fmla="*/ 1225868 w 1226819"/>
                <a:gd name="connsiteY43" fmla="*/ 0 h 237678"/>
                <a:gd name="connsiteX44" fmla="*/ 1218248 w 1226819"/>
                <a:gd name="connsiteY44" fmla="*/ 0 h 237678"/>
                <a:gd name="connsiteX45" fmla="*/ 1200150 w 1226819"/>
                <a:gd name="connsiteY45" fmla="*/ 0 h 237678"/>
                <a:gd name="connsiteX46" fmla="*/ 1170623 w 1226819"/>
                <a:gd name="connsiteY46" fmla="*/ 0 h 237678"/>
                <a:gd name="connsiteX47" fmla="*/ 1134428 w 1226819"/>
                <a:gd name="connsiteY47" fmla="*/ 0 h 237678"/>
                <a:gd name="connsiteX48" fmla="*/ 1095375 w 1226819"/>
                <a:gd name="connsiteY48" fmla="*/ 0 h 237678"/>
                <a:gd name="connsiteX49" fmla="*/ 1055370 w 1226819"/>
                <a:gd name="connsiteY49" fmla="*/ 0 h 237678"/>
                <a:gd name="connsiteX50" fmla="*/ 1018223 w 1226819"/>
                <a:gd name="connsiteY50" fmla="*/ 0 h 237678"/>
                <a:gd name="connsiteX51" fmla="*/ 982980 w 1226819"/>
                <a:gd name="connsiteY51" fmla="*/ 0 h 237678"/>
                <a:gd name="connsiteX52" fmla="*/ 950595 w 1226819"/>
                <a:gd name="connsiteY52" fmla="*/ 0 h 237678"/>
                <a:gd name="connsiteX53" fmla="*/ 918210 w 1226819"/>
                <a:gd name="connsiteY53" fmla="*/ 0 h 237678"/>
                <a:gd name="connsiteX54" fmla="*/ 886778 w 1226819"/>
                <a:gd name="connsiteY54" fmla="*/ 0 h 237678"/>
                <a:gd name="connsiteX55" fmla="*/ 869633 w 1226819"/>
                <a:gd name="connsiteY55" fmla="*/ 0 h 237678"/>
                <a:gd name="connsiteX56" fmla="*/ 840105 w 1226819"/>
                <a:gd name="connsiteY56" fmla="*/ 0 h 237678"/>
                <a:gd name="connsiteX57" fmla="*/ 809625 w 1226819"/>
                <a:gd name="connsiteY57" fmla="*/ 0 h 237678"/>
                <a:gd name="connsiteX58" fmla="*/ 777240 w 1226819"/>
                <a:gd name="connsiteY58" fmla="*/ 0 h 237678"/>
                <a:gd name="connsiteX59" fmla="*/ 743903 w 1226819"/>
                <a:gd name="connsiteY59" fmla="*/ 0 h 237678"/>
                <a:gd name="connsiteX60" fmla="*/ 707708 w 1226819"/>
                <a:gd name="connsiteY60" fmla="*/ 0 h 237678"/>
                <a:gd name="connsiteX61" fmla="*/ 670560 w 1226819"/>
                <a:gd name="connsiteY61" fmla="*/ 0 h 237678"/>
                <a:gd name="connsiteX62" fmla="*/ 632460 w 1226819"/>
                <a:gd name="connsiteY62" fmla="*/ 0 h 237678"/>
                <a:gd name="connsiteX63" fmla="*/ 593408 w 1226819"/>
                <a:gd name="connsiteY63" fmla="*/ 0 h 237678"/>
                <a:gd name="connsiteX64" fmla="*/ 555308 w 1226819"/>
                <a:gd name="connsiteY64" fmla="*/ 0 h 237678"/>
                <a:gd name="connsiteX65" fmla="*/ 518160 w 1226819"/>
                <a:gd name="connsiteY65" fmla="*/ 0 h 237678"/>
                <a:gd name="connsiteX66" fmla="*/ 482918 w 1226819"/>
                <a:gd name="connsiteY66" fmla="*/ 0 h 237678"/>
                <a:gd name="connsiteX67" fmla="*/ 448628 w 1226819"/>
                <a:gd name="connsiteY67" fmla="*/ 0 h 237678"/>
                <a:gd name="connsiteX68" fmla="*/ 416243 w 1226819"/>
                <a:gd name="connsiteY68" fmla="*/ 0 h 237678"/>
                <a:gd name="connsiteX69" fmla="*/ 385763 w 1226819"/>
                <a:gd name="connsiteY69" fmla="*/ 0 h 237678"/>
                <a:gd name="connsiteX70" fmla="*/ 358140 w 1226819"/>
                <a:gd name="connsiteY70" fmla="*/ 0 h 237678"/>
                <a:gd name="connsiteX71" fmla="*/ 325755 w 1226819"/>
                <a:gd name="connsiteY71" fmla="*/ 0 h 237678"/>
                <a:gd name="connsiteX72" fmla="*/ 293370 w 1226819"/>
                <a:gd name="connsiteY72" fmla="*/ 0 h 237678"/>
                <a:gd name="connsiteX73" fmla="*/ 260985 w 1226819"/>
                <a:gd name="connsiteY73" fmla="*/ 0 h 237678"/>
                <a:gd name="connsiteX74" fmla="*/ 227648 w 1226819"/>
                <a:gd name="connsiteY74" fmla="*/ 0 h 237678"/>
                <a:gd name="connsiteX75" fmla="*/ 191453 w 1226819"/>
                <a:gd name="connsiteY75" fmla="*/ 0 h 237678"/>
                <a:gd name="connsiteX76" fmla="*/ 153353 w 1226819"/>
                <a:gd name="connsiteY76" fmla="*/ 0 h 237678"/>
                <a:gd name="connsiteX77" fmla="*/ 113348 w 1226819"/>
                <a:gd name="connsiteY77" fmla="*/ 0 h 237678"/>
                <a:gd name="connsiteX78" fmla="*/ 74295 w 1226819"/>
                <a:gd name="connsiteY78" fmla="*/ 0 h 237678"/>
                <a:gd name="connsiteX79" fmla="*/ 40958 w 1226819"/>
                <a:gd name="connsiteY79" fmla="*/ 0 h 237678"/>
                <a:gd name="connsiteX80" fmla="*/ 17145 w 1226819"/>
                <a:gd name="connsiteY80" fmla="*/ 0 h 237678"/>
                <a:gd name="connsiteX81" fmla="*/ 4763 w 1226819"/>
                <a:gd name="connsiteY81" fmla="*/ 0 h 237678"/>
                <a:gd name="connsiteX82" fmla="*/ 953 w 1226819"/>
                <a:gd name="connsiteY82" fmla="*/ 0 h 237678"/>
                <a:gd name="connsiteX83" fmla="*/ 0 w 1226819"/>
                <a:gd name="connsiteY83" fmla="*/ 0 h 237678"/>
                <a:gd name="connsiteX84" fmla="*/ 0 w 1226819"/>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7678">
                  <a:moveTo>
                    <a:pt x="0" y="237678"/>
                  </a:moveTo>
                  <a:lnTo>
                    <a:pt x="1905" y="237678"/>
                  </a:lnTo>
                  <a:lnTo>
                    <a:pt x="9525" y="237678"/>
                  </a:lnTo>
                  <a:lnTo>
                    <a:pt x="27623" y="237678"/>
                  </a:lnTo>
                  <a:lnTo>
                    <a:pt x="56198" y="237678"/>
                  </a:lnTo>
                  <a:lnTo>
                    <a:pt x="93345" y="237678"/>
                  </a:lnTo>
                  <a:lnTo>
                    <a:pt x="132398" y="237678"/>
                  </a:lnTo>
                  <a:lnTo>
                    <a:pt x="172403" y="237678"/>
                  </a:lnTo>
                  <a:lnTo>
                    <a:pt x="209550" y="237678"/>
                  </a:lnTo>
                  <a:lnTo>
                    <a:pt x="244793" y="237678"/>
                  </a:lnTo>
                  <a:lnTo>
                    <a:pt x="277178" y="237678"/>
                  </a:lnTo>
                  <a:lnTo>
                    <a:pt x="308610" y="237678"/>
                  </a:lnTo>
                  <a:lnTo>
                    <a:pt x="340995" y="237678"/>
                  </a:lnTo>
                  <a:lnTo>
                    <a:pt x="358140" y="237678"/>
                  </a:lnTo>
                  <a:lnTo>
                    <a:pt x="386715" y="237678"/>
                  </a:lnTo>
                  <a:lnTo>
                    <a:pt x="417195" y="237678"/>
                  </a:lnTo>
                  <a:lnTo>
                    <a:pt x="449580" y="237678"/>
                  </a:lnTo>
                  <a:lnTo>
                    <a:pt x="483870" y="237678"/>
                  </a:lnTo>
                  <a:lnTo>
                    <a:pt x="520065" y="237678"/>
                  </a:lnTo>
                  <a:lnTo>
                    <a:pt x="557213" y="237678"/>
                  </a:lnTo>
                  <a:lnTo>
                    <a:pt x="595313" y="237678"/>
                  </a:lnTo>
                  <a:lnTo>
                    <a:pt x="634365" y="237678"/>
                  </a:lnTo>
                  <a:lnTo>
                    <a:pt x="672465" y="237678"/>
                  </a:lnTo>
                  <a:lnTo>
                    <a:pt x="709613" y="237678"/>
                  </a:lnTo>
                  <a:lnTo>
                    <a:pt x="744855" y="237678"/>
                  </a:lnTo>
                  <a:lnTo>
                    <a:pt x="779145" y="237678"/>
                  </a:lnTo>
                  <a:lnTo>
                    <a:pt x="811530" y="237678"/>
                  </a:lnTo>
                  <a:lnTo>
                    <a:pt x="842010" y="237678"/>
                  </a:lnTo>
                  <a:lnTo>
                    <a:pt x="869633" y="237678"/>
                  </a:lnTo>
                  <a:lnTo>
                    <a:pt x="902018" y="237678"/>
                  </a:lnTo>
                  <a:lnTo>
                    <a:pt x="934403" y="237678"/>
                  </a:lnTo>
                  <a:lnTo>
                    <a:pt x="966788" y="237678"/>
                  </a:lnTo>
                  <a:lnTo>
                    <a:pt x="1000125" y="237678"/>
                  </a:lnTo>
                  <a:lnTo>
                    <a:pt x="1036320" y="237678"/>
                  </a:lnTo>
                  <a:lnTo>
                    <a:pt x="1074420" y="237678"/>
                  </a:lnTo>
                  <a:lnTo>
                    <a:pt x="1114425" y="237678"/>
                  </a:lnTo>
                  <a:lnTo>
                    <a:pt x="1153478" y="237678"/>
                  </a:lnTo>
                  <a:lnTo>
                    <a:pt x="1186815" y="237678"/>
                  </a:lnTo>
                  <a:lnTo>
                    <a:pt x="1210628" y="237678"/>
                  </a:lnTo>
                  <a:lnTo>
                    <a:pt x="1223010" y="237678"/>
                  </a:lnTo>
                  <a:lnTo>
                    <a:pt x="1226820" y="237678"/>
                  </a:lnTo>
                  <a:lnTo>
                    <a:pt x="1226820" y="23767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7678"/>
                  </a:lnTo>
                  <a:close/>
                </a:path>
              </a:pathLst>
            </a:custGeom>
            <a:noFill/>
            <a:ln w="9525" cap="flat">
              <a:solidFill>
                <a:srgbClr val="BBBDBF"/>
              </a:solidFill>
              <a:prstDash val="solid"/>
              <a:miter/>
            </a:ln>
          </p:spPr>
          <p:txBody>
            <a:bodyPr rtlCol="0" anchor="ctr"/>
            <a:lstStyle/>
            <a:p>
              <a:endParaRPr lang="en-US" sz="1050"/>
            </a:p>
          </p:txBody>
        </p:sp>
        <p:sp>
          <p:nvSpPr>
            <p:cNvPr id="185" name="Freeform 237">
              <a:extLst>
                <a:ext uri="{FF2B5EF4-FFF2-40B4-BE49-F238E27FC236}">
                  <a16:creationId xmlns:a16="http://schemas.microsoft.com/office/drawing/2014/main" id="{80E3287B-51BE-DEAC-A731-FC9526AA35CB}"/>
                </a:ext>
              </a:extLst>
            </p:cNvPr>
            <p:cNvSpPr/>
            <p:nvPr/>
          </p:nvSpPr>
          <p:spPr>
            <a:xfrm>
              <a:off x="3987133" y="3165337"/>
              <a:ext cx="1226819" cy="236727"/>
            </a:xfrm>
            <a:custGeom>
              <a:avLst/>
              <a:gdLst>
                <a:gd name="connsiteX0" fmla="*/ 0 w 1226819"/>
                <a:gd name="connsiteY0" fmla="*/ 236728 h 236727"/>
                <a:gd name="connsiteX1" fmla="*/ 1905 w 1226819"/>
                <a:gd name="connsiteY1" fmla="*/ 236728 h 236727"/>
                <a:gd name="connsiteX2" fmla="*/ 9525 w 1226819"/>
                <a:gd name="connsiteY2" fmla="*/ 236728 h 236727"/>
                <a:gd name="connsiteX3" fmla="*/ 27623 w 1226819"/>
                <a:gd name="connsiteY3" fmla="*/ 236728 h 236727"/>
                <a:gd name="connsiteX4" fmla="*/ 56198 w 1226819"/>
                <a:gd name="connsiteY4" fmla="*/ 236728 h 236727"/>
                <a:gd name="connsiteX5" fmla="*/ 93345 w 1226819"/>
                <a:gd name="connsiteY5" fmla="*/ 236728 h 236727"/>
                <a:gd name="connsiteX6" fmla="*/ 132398 w 1226819"/>
                <a:gd name="connsiteY6" fmla="*/ 236728 h 236727"/>
                <a:gd name="connsiteX7" fmla="*/ 172403 w 1226819"/>
                <a:gd name="connsiteY7" fmla="*/ 236728 h 236727"/>
                <a:gd name="connsiteX8" fmla="*/ 209550 w 1226819"/>
                <a:gd name="connsiteY8" fmla="*/ 236728 h 236727"/>
                <a:gd name="connsiteX9" fmla="*/ 244793 w 1226819"/>
                <a:gd name="connsiteY9" fmla="*/ 236728 h 236727"/>
                <a:gd name="connsiteX10" fmla="*/ 277178 w 1226819"/>
                <a:gd name="connsiteY10" fmla="*/ 236728 h 236727"/>
                <a:gd name="connsiteX11" fmla="*/ 308610 w 1226819"/>
                <a:gd name="connsiteY11" fmla="*/ 236728 h 236727"/>
                <a:gd name="connsiteX12" fmla="*/ 340995 w 1226819"/>
                <a:gd name="connsiteY12" fmla="*/ 236728 h 236727"/>
                <a:gd name="connsiteX13" fmla="*/ 358140 w 1226819"/>
                <a:gd name="connsiteY13" fmla="*/ 236728 h 236727"/>
                <a:gd name="connsiteX14" fmla="*/ 386715 w 1226819"/>
                <a:gd name="connsiteY14" fmla="*/ 236728 h 236727"/>
                <a:gd name="connsiteX15" fmla="*/ 417195 w 1226819"/>
                <a:gd name="connsiteY15" fmla="*/ 236728 h 236727"/>
                <a:gd name="connsiteX16" fmla="*/ 449580 w 1226819"/>
                <a:gd name="connsiteY16" fmla="*/ 236728 h 236727"/>
                <a:gd name="connsiteX17" fmla="*/ 483870 w 1226819"/>
                <a:gd name="connsiteY17" fmla="*/ 236728 h 236727"/>
                <a:gd name="connsiteX18" fmla="*/ 520065 w 1226819"/>
                <a:gd name="connsiteY18" fmla="*/ 236728 h 236727"/>
                <a:gd name="connsiteX19" fmla="*/ 557213 w 1226819"/>
                <a:gd name="connsiteY19" fmla="*/ 236728 h 236727"/>
                <a:gd name="connsiteX20" fmla="*/ 595313 w 1226819"/>
                <a:gd name="connsiteY20" fmla="*/ 236728 h 236727"/>
                <a:gd name="connsiteX21" fmla="*/ 634365 w 1226819"/>
                <a:gd name="connsiteY21" fmla="*/ 236728 h 236727"/>
                <a:gd name="connsiteX22" fmla="*/ 672465 w 1226819"/>
                <a:gd name="connsiteY22" fmla="*/ 236728 h 236727"/>
                <a:gd name="connsiteX23" fmla="*/ 709613 w 1226819"/>
                <a:gd name="connsiteY23" fmla="*/ 236728 h 236727"/>
                <a:gd name="connsiteX24" fmla="*/ 744855 w 1226819"/>
                <a:gd name="connsiteY24" fmla="*/ 236728 h 236727"/>
                <a:gd name="connsiteX25" fmla="*/ 779145 w 1226819"/>
                <a:gd name="connsiteY25" fmla="*/ 236728 h 236727"/>
                <a:gd name="connsiteX26" fmla="*/ 811530 w 1226819"/>
                <a:gd name="connsiteY26" fmla="*/ 236728 h 236727"/>
                <a:gd name="connsiteX27" fmla="*/ 842010 w 1226819"/>
                <a:gd name="connsiteY27" fmla="*/ 236728 h 236727"/>
                <a:gd name="connsiteX28" fmla="*/ 869633 w 1226819"/>
                <a:gd name="connsiteY28" fmla="*/ 236728 h 236727"/>
                <a:gd name="connsiteX29" fmla="*/ 902018 w 1226819"/>
                <a:gd name="connsiteY29" fmla="*/ 236728 h 236727"/>
                <a:gd name="connsiteX30" fmla="*/ 934403 w 1226819"/>
                <a:gd name="connsiteY30" fmla="*/ 236728 h 236727"/>
                <a:gd name="connsiteX31" fmla="*/ 966788 w 1226819"/>
                <a:gd name="connsiteY31" fmla="*/ 236728 h 236727"/>
                <a:gd name="connsiteX32" fmla="*/ 1000125 w 1226819"/>
                <a:gd name="connsiteY32" fmla="*/ 236728 h 236727"/>
                <a:gd name="connsiteX33" fmla="*/ 1036320 w 1226819"/>
                <a:gd name="connsiteY33" fmla="*/ 236728 h 236727"/>
                <a:gd name="connsiteX34" fmla="*/ 1074420 w 1226819"/>
                <a:gd name="connsiteY34" fmla="*/ 236728 h 236727"/>
                <a:gd name="connsiteX35" fmla="*/ 1114425 w 1226819"/>
                <a:gd name="connsiteY35" fmla="*/ 236728 h 236727"/>
                <a:gd name="connsiteX36" fmla="*/ 1153478 w 1226819"/>
                <a:gd name="connsiteY36" fmla="*/ 236728 h 236727"/>
                <a:gd name="connsiteX37" fmla="*/ 1186815 w 1226819"/>
                <a:gd name="connsiteY37" fmla="*/ 236728 h 236727"/>
                <a:gd name="connsiteX38" fmla="*/ 1210628 w 1226819"/>
                <a:gd name="connsiteY38" fmla="*/ 236728 h 236727"/>
                <a:gd name="connsiteX39" fmla="*/ 1223010 w 1226819"/>
                <a:gd name="connsiteY39" fmla="*/ 236728 h 236727"/>
                <a:gd name="connsiteX40" fmla="*/ 1226820 w 1226819"/>
                <a:gd name="connsiteY40" fmla="*/ 236728 h 236727"/>
                <a:gd name="connsiteX41" fmla="*/ 1226820 w 1226819"/>
                <a:gd name="connsiteY41" fmla="*/ 236728 h 236727"/>
                <a:gd name="connsiteX42" fmla="*/ 1226820 w 1226819"/>
                <a:gd name="connsiteY42" fmla="*/ 0 h 236727"/>
                <a:gd name="connsiteX43" fmla="*/ 1225868 w 1226819"/>
                <a:gd name="connsiteY43" fmla="*/ 0 h 236727"/>
                <a:gd name="connsiteX44" fmla="*/ 1218248 w 1226819"/>
                <a:gd name="connsiteY44" fmla="*/ 0 h 236727"/>
                <a:gd name="connsiteX45" fmla="*/ 1200150 w 1226819"/>
                <a:gd name="connsiteY45" fmla="*/ 0 h 236727"/>
                <a:gd name="connsiteX46" fmla="*/ 1170623 w 1226819"/>
                <a:gd name="connsiteY46" fmla="*/ 0 h 236727"/>
                <a:gd name="connsiteX47" fmla="*/ 1134428 w 1226819"/>
                <a:gd name="connsiteY47" fmla="*/ 0 h 236727"/>
                <a:gd name="connsiteX48" fmla="*/ 1095375 w 1226819"/>
                <a:gd name="connsiteY48" fmla="*/ 0 h 236727"/>
                <a:gd name="connsiteX49" fmla="*/ 1055370 w 1226819"/>
                <a:gd name="connsiteY49" fmla="*/ 0 h 236727"/>
                <a:gd name="connsiteX50" fmla="*/ 1018223 w 1226819"/>
                <a:gd name="connsiteY50" fmla="*/ 0 h 236727"/>
                <a:gd name="connsiteX51" fmla="*/ 982980 w 1226819"/>
                <a:gd name="connsiteY51" fmla="*/ 0 h 236727"/>
                <a:gd name="connsiteX52" fmla="*/ 950595 w 1226819"/>
                <a:gd name="connsiteY52" fmla="*/ 0 h 236727"/>
                <a:gd name="connsiteX53" fmla="*/ 918210 w 1226819"/>
                <a:gd name="connsiteY53" fmla="*/ 0 h 236727"/>
                <a:gd name="connsiteX54" fmla="*/ 886778 w 1226819"/>
                <a:gd name="connsiteY54" fmla="*/ 0 h 236727"/>
                <a:gd name="connsiteX55" fmla="*/ 869633 w 1226819"/>
                <a:gd name="connsiteY55" fmla="*/ 0 h 236727"/>
                <a:gd name="connsiteX56" fmla="*/ 840105 w 1226819"/>
                <a:gd name="connsiteY56" fmla="*/ 0 h 236727"/>
                <a:gd name="connsiteX57" fmla="*/ 809625 w 1226819"/>
                <a:gd name="connsiteY57" fmla="*/ 0 h 236727"/>
                <a:gd name="connsiteX58" fmla="*/ 777240 w 1226819"/>
                <a:gd name="connsiteY58" fmla="*/ 0 h 236727"/>
                <a:gd name="connsiteX59" fmla="*/ 743903 w 1226819"/>
                <a:gd name="connsiteY59" fmla="*/ 0 h 236727"/>
                <a:gd name="connsiteX60" fmla="*/ 707708 w 1226819"/>
                <a:gd name="connsiteY60" fmla="*/ 0 h 236727"/>
                <a:gd name="connsiteX61" fmla="*/ 670560 w 1226819"/>
                <a:gd name="connsiteY61" fmla="*/ 0 h 236727"/>
                <a:gd name="connsiteX62" fmla="*/ 632460 w 1226819"/>
                <a:gd name="connsiteY62" fmla="*/ 0 h 236727"/>
                <a:gd name="connsiteX63" fmla="*/ 593408 w 1226819"/>
                <a:gd name="connsiteY63" fmla="*/ 0 h 236727"/>
                <a:gd name="connsiteX64" fmla="*/ 555308 w 1226819"/>
                <a:gd name="connsiteY64" fmla="*/ 0 h 236727"/>
                <a:gd name="connsiteX65" fmla="*/ 518160 w 1226819"/>
                <a:gd name="connsiteY65" fmla="*/ 0 h 236727"/>
                <a:gd name="connsiteX66" fmla="*/ 482918 w 1226819"/>
                <a:gd name="connsiteY66" fmla="*/ 0 h 236727"/>
                <a:gd name="connsiteX67" fmla="*/ 448628 w 1226819"/>
                <a:gd name="connsiteY67" fmla="*/ 0 h 236727"/>
                <a:gd name="connsiteX68" fmla="*/ 416243 w 1226819"/>
                <a:gd name="connsiteY68" fmla="*/ 0 h 236727"/>
                <a:gd name="connsiteX69" fmla="*/ 385763 w 1226819"/>
                <a:gd name="connsiteY69" fmla="*/ 0 h 236727"/>
                <a:gd name="connsiteX70" fmla="*/ 358140 w 1226819"/>
                <a:gd name="connsiteY70" fmla="*/ 0 h 236727"/>
                <a:gd name="connsiteX71" fmla="*/ 325755 w 1226819"/>
                <a:gd name="connsiteY71" fmla="*/ 0 h 236727"/>
                <a:gd name="connsiteX72" fmla="*/ 293370 w 1226819"/>
                <a:gd name="connsiteY72" fmla="*/ 0 h 236727"/>
                <a:gd name="connsiteX73" fmla="*/ 260985 w 1226819"/>
                <a:gd name="connsiteY73" fmla="*/ 0 h 236727"/>
                <a:gd name="connsiteX74" fmla="*/ 227648 w 1226819"/>
                <a:gd name="connsiteY74" fmla="*/ 0 h 236727"/>
                <a:gd name="connsiteX75" fmla="*/ 191453 w 1226819"/>
                <a:gd name="connsiteY75" fmla="*/ 0 h 236727"/>
                <a:gd name="connsiteX76" fmla="*/ 153353 w 1226819"/>
                <a:gd name="connsiteY76" fmla="*/ 0 h 236727"/>
                <a:gd name="connsiteX77" fmla="*/ 113348 w 1226819"/>
                <a:gd name="connsiteY77" fmla="*/ 0 h 236727"/>
                <a:gd name="connsiteX78" fmla="*/ 74295 w 1226819"/>
                <a:gd name="connsiteY78" fmla="*/ 0 h 236727"/>
                <a:gd name="connsiteX79" fmla="*/ 40958 w 1226819"/>
                <a:gd name="connsiteY79" fmla="*/ 0 h 236727"/>
                <a:gd name="connsiteX80" fmla="*/ 17145 w 1226819"/>
                <a:gd name="connsiteY80" fmla="*/ 0 h 236727"/>
                <a:gd name="connsiteX81" fmla="*/ 4763 w 1226819"/>
                <a:gd name="connsiteY81" fmla="*/ 0 h 236727"/>
                <a:gd name="connsiteX82" fmla="*/ 953 w 1226819"/>
                <a:gd name="connsiteY82" fmla="*/ 0 h 236727"/>
                <a:gd name="connsiteX83" fmla="*/ 0 w 1226819"/>
                <a:gd name="connsiteY83" fmla="*/ 0 h 236727"/>
                <a:gd name="connsiteX84" fmla="*/ 0 w 1226819"/>
                <a:gd name="connsiteY84" fmla="*/ 236728 h 2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6727">
                  <a:moveTo>
                    <a:pt x="0" y="236728"/>
                  </a:moveTo>
                  <a:lnTo>
                    <a:pt x="1905" y="236728"/>
                  </a:lnTo>
                  <a:lnTo>
                    <a:pt x="9525" y="236728"/>
                  </a:lnTo>
                  <a:lnTo>
                    <a:pt x="27623" y="236728"/>
                  </a:lnTo>
                  <a:lnTo>
                    <a:pt x="56198" y="236728"/>
                  </a:lnTo>
                  <a:lnTo>
                    <a:pt x="93345" y="236728"/>
                  </a:lnTo>
                  <a:lnTo>
                    <a:pt x="132398" y="236728"/>
                  </a:lnTo>
                  <a:lnTo>
                    <a:pt x="172403" y="236728"/>
                  </a:lnTo>
                  <a:lnTo>
                    <a:pt x="209550" y="236728"/>
                  </a:lnTo>
                  <a:lnTo>
                    <a:pt x="244793" y="236728"/>
                  </a:lnTo>
                  <a:lnTo>
                    <a:pt x="277178" y="236728"/>
                  </a:lnTo>
                  <a:lnTo>
                    <a:pt x="308610" y="236728"/>
                  </a:lnTo>
                  <a:lnTo>
                    <a:pt x="340995" y="236728"/>
                  </a:lnTo>
                  <a:lnTo>
                    <a:pt x="358140" y="236728"/>
                  </a:lnTo>
                  <a:lnTo>
                    <a:pt x="386715" y="236728"/>
                  </a:lnTo>
                  <a:lnTo>
                    <a:pt x="417195" y="236728"/>
                  </a:lnTo>
                  <a:lnTo>
                    <a:pt x="449580" y="236728"/>
                  </a:lnTo>
                  <a:lnTo>
                    <a:pt x="483870" y="236728"/>
                  </a:lnTo>
                  <a:lnTo>
                    <a:pt x="520065" y="236728"/>
                  </a:lnTo>
                  <a:lnTo>
                    <a:pt x="557213" y="236728"/>
                  </a:lnTo>
                  <a:lnTo>
                    <a:pt x="595313" y="236728"/>
                  </a:lnTo>
                  <a:lnTo>
                    <a:pt x="634365" y="236728"/>
                  </a:lnTo>
                  <a:lnTo>
                    <a:pt x="672465" y="236728"/>
                  </a:lnTo>
                  <a:lnTo>
                    <a:pt x="709613" y="236728"/>
                  </a:lnTo>
                  <a:lnTo>
                    <a:pt x="744855" y="236728"/>
                  </a:lnTo>
                  <a:lnTo>
                    <a:pt x="779145" y="236728"/>
                  </a:lnTo>
                  <a:lnTo>
                    <a:pt x="811530" y="236728"/>
                  </a:lnTo>
                  <a:lnTo>
                    <a:pt x="842010" y="236728"/>
                  </a:lnTo>
                  <a:lnTo>
                    <a:pt x="869633" y="236728"/>
                  </a:lnTo>
                  <a:lnTo>
                    <a:pt x="902018" y="236728"/>
                  </a:lnTo>
                  <a:lnTo>
                    <a:pt x="934403" y="236728"/>
                  </a:lnTo>
                  <a:lnTo>
                    <a:pt x="966788" y="236728"/>
                  </a:lnTo>
                  <a:lnTo>
                    <a:pt x="1000125" y="236728"/>
                  </a:lnTo>
                  <a:lnTo>
                    <a:pt x="1036320" y="236728"/>
                  </a:lnTo>
                  <a:lnTo>
                    <a:pt x="1074420" y="236728"/>
                  </a:lnTo>
                  <a:lnTo>
                    <a:pt x="1114425" y="236728"/>
                  </a:lnTo>
                  <a:lnTo>
                    <a:pt x="1153478" y="236728"/>
                  </a:lnTo>
                  <a:lnTo>
                    <a:pt x="1186815" y="236728"/>
                  </a:lnTo>
                  <a:lnTo>
                    <a:pt x="1210628" y="236728"/>
                  </a:lnTo>
                  <a:lnTo>
                    <a:pt x="1223010" y="236728"/>
                  </a:lnTo>
                  <a:lnTo>
                    <a:pt x="1226820" y="236728"/>
                  </a:lnTo>
                  <a:lnTo>
                    <a:pt x="1226820" y="23672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6728"/>
                  </a:lnTo>
                  <a:close/>
                </a:path>
              </a:pathLst>
            </a:custGeom>
            <a:solidFill>
              <a:srgbClr val="BBBDBF">
                <a:alpha val="60000"/>
              </a:srgbClr>
            </a:solidFill>
            <a:ln w="9525" cap="flat">
              <a:noFill/>
              <a:prstDash val="solid"/>
              <a:miter/>
            </a:ln>
          </p:spPr>
          <p:txBody>
            <a:bodyPr rtlCol="0" anchor="ctr"/>
            <a:lstStyle/>
            <a:p>
              <a:endParaRPr lang="en-US" sz="1050"/>
            </a:p>
          </p:txBody>
        </p:sp>
        <p:sp>
          <p:nvSpPr>
            <p:cNvPr id="186" name="Freeform 238">
              <a:extLst>
                <a:ext uri="{FF2B5EF4-FFF2-40B4-BE49-F238E27FC236}">
                  <a16:creationId xmlns:a16="http://schemas.microsoft.com/office/drawing/2014/main" id="{84F0862F-321C-DA9B-8516-02B522943889}"/>
                </a:ext>
              </a:extLst>
            </p:cNvPr>
            <p:cNvSpPr/>
            <p:nvPr/>
          </p:nvSpPr>
          <p:spPr>
            <a:xfrm>
              <a:off x="3987133" y="3165337"/>
              <a:ext cx="1226819" cy="236727"/>
            </a:xfrm>
            <a:custGeom>
              <a:avLst/>
              <a:gdLst>
                <a:gd name="connsiteX0" fmla="*/ 0 w 1226819"/>
                <a:gd name="connsiteY0" fmla="*/ 236728 h 236727"/>
                <a:gd name="connsiteX1" fmla="*/ 1905 w 1226819"/>
                <a:gd name="connsiteY1" fmla="*/ 236728 h 236727"/>
                <a:gd name="connsiteX2" fmla="*/ 9525 w 1226819"/>
                <a:gd name="connsiteY2" fmla="*/ 236728 h 236727"/>
                <a:gd name="connsiteX3" fmla="*/ 27623 w 1226819"/>
                <a:gd name="connsiteY3" fmla="*/ 236728 h 236727"/>
                <a:gd name="connsiteX4" fmla="*/ 56198 w 1226819"/>
                <a:gd name="connsiteY4" fmla="*/ 236728 h 236727"/>
                <a:gd name="connsiteX5" fmla="*/ 93345 w 1226819"/>
                <a:gd name="connsiteY5" fmla="*/ 236728 h 236727"/>
                <a:gd name="connsiteX6" fmla="*/ 132398 w 1226819"/>
                <a:gd name="connsiteY6" fmla="*/ 236728 h 236727"/>
                <a:gd name="connsiteX7" fmla="*/ 172403 w 1226819"/>
                <a:gd name="connsiteY7" fmla="*/ 236728 h 236727"/>
                <a:gd name="connsiteX8" fmla="*/ 209550 w 1226819"/>
                <a:gd name="connsiteY8" fmla="*/ 236728 h 236727"/>
                <a:gd name="connsiteX9" fmla="*/ 244793 w 1226819"/>
                <a:gd name="connsiteY9" fmla="*/ 236728 h 236727"/>
                <a:gd name="connsiteX10" fmla="*/ 277178 w 1226819"/>
                <a:gd name="connsiteY10" fmla="*/ 236728 h 236727"/>
                <a:gd name="connsiteX11" fmla="*/ 308610 w 1226819"/>
                <a:gd name="connsiteY11" fmla="*/ 236728 h 236727"/>
                <a:gd name="connsiteX12" fmla="*/ 340995 w 1226819"/>
                <a:gd name="connsiteY12" fmla="*/ 236728 h 236727"/>
                <a:gd name="connsiteX13" fmla="*/ 358140 w 1226819"/>
                <a:gd name="connsiteY13" fmla="*/ 236728 h 236727"/>
                <a:gd name="connsiteX14" fmla="*/ 386715 w 1226819"/>
                <a:gd name="connsiteY14" fmla="*/ 236728 h 236727"/>
                <a:gd name="connsiteX15" fmla="*/ 417195 w 1226819"/>
                <a:gd name="connsiteY15" fmla="*/ 236728 h 236727"/>
                <a:gd name="connsiteX16" fmla="*/ 449580 w 1226819"/>
                <a:gd name="connsiteY16" fmla="*/ 236728 h 236727"/>
                <a:gd name="connsiteX17" fmla="*/ 483870 w 1226819"/>
                <a:gd name="connsiteY17" fmla="*/ 236728 h 236727"/>
                <a:gd name="connsiteX18" fmla="*/ 520065 w 1226819"/>
                <a:gd name="connsiteY18" fmla="*/ 236728 h 236727"/>
                <a:gd name="connsiteX19" fmla="*/ 557213 w 1226819"/>
                <a:gd name="connsiteY19" fmla="*/ 236728 h 236727"/>
                <a:gd name="connsiteX20" fmla="*/ 595313 w 1226819"/>
                <a:gd name="connsiteY20" fmla="*/ 236728 h 236727"/>
                <a:gd name="connsiteX21" fmla="*/ 634365 w 1226819"/>
                <a:gd name="connsiteY21" fmla="*/ 236728 h 236727"/>
                <a:gd name="connsiteX22" fmla="*/ 672465 w 1226819"/>
                <a:gd name="connsiteY22" fmla="*/ 236728 h 236727"/>
                <a:gd name="connsiteX23" fmla="*/ 709613 w 1226819"/>
                <a:gd name="connsiteY23" fmla="*/ 236728 h 236727"/>
                <a:gd name="connsiteX24" fmla="*/ 744855 w 1226819"/>
                <a:gd name="connsiteY24" fmla="*/ 236728 h 236727"/>
                <a:gd name="connsiteX25" fmla="*/ 779145 w 1226819"/>
                <a:gd name="connsiteY25" fmla="*/ 236728 h 236727"/>
                <a:gd name="connsiteX26" fmla="*/ 811530 w 1226819"/>
                <a:gd name="connsiteY26" fmla="*/ 236728 h 236727"/>
                <a:gd name="connsiteX27" fmla="*/ 842010 w 1226819"/>
                <a:gd name="connsiteY27" fmla="*/ 236728 h 236727"/>
                <a:gd name="connsiteX28" fmla="*/ 869633 w 1226819"/>
                <a:gd name="connsiteY28" fmla="*/ 236728 h 236727"/>
                <a:gd name="connsiteX29" fmla="*/ 902018 w 1226819"/>
                <a:gd name="connsiteY29" fmla="*/ 236728 h 236727"/>
                <a:gd name="connsiteX30" fmla="*/ 934403 w 1226819"/>
                <a:gd name="connsiteY30" fmla="*/ 236728 h 236727"/>
                <a:gd name="connsiteX31" fmla="*/ 966788 w 1226819"/>
                <a:gd name="connsiteY31" fmla="*/ 236728 h 236727"/>
                <a:gd name="connsiteX32" fmla="*/ 1000125 w 1226819"/>
                <a:gd name="connsiteY32" fmla="*/ 236728 h 236727"/>
                <a:gd name="connsiteX33" fmla="*/ 1036320 w 1226819"/>
                <a:gd name="connsiteY33" fmla="*/ 236728 h 236727"/>
                <a:gd name="connsiteX34" fmla="*/ 1074420 w 1226819"/>
                <a:gd name="connsiteY34" fmla="*/ 236728 h 236727"/>
                <a:gd name="connsiteX35" fmla="*/ 1114425 w 1226819"/>
                <a:gd name="connsiteY35" fmla="*/ 236728 h 236727"/>
                <a:gd name="connsiteX36" fmla="*/ 1153478 w 1226819"/>
                <a:gd name="connsiteY36" fmla="*/ 236728 h 236727"/>
                <a:gd name="connsiteX37" fmla="*/ 1186815 w 1226819"/>
                <a:gd name="connsiteY37" fmla="*/ 236728 h 236727"/>
                <a:gd name="connsiteX38" fmla="*/ 1210628 w 1226819"/>
                <a:gd name="connsiteY38" fmla="*/ 236728 h 236727"/>
                <a:gd name="connsiteX39" fmla="*/ 1223010 w 1226819"/>
                <a:gd name="connsiteY39" fmla="*/ 236728 h 236727"/>
                <a:gd name="connsiteX40" fmla="*/ 1226820 w 1226819"/>
                <a:gd name="connsiteY40" fmla="*/ 236728 h 236727"/>
                <a:gd name="connsiteX41" fmla="*/ 1226820 w 1226819"/>
                <a:gd name="connsiteY41" fmla="*/ 236728 h 236727"/>
                <a:gd name="connsiteX42" fmla="*/ 1226820 w 1226819"/>
                <a:gd name="connsiteY42" fmla="*/ 0 h 236727"/>
                <a:gd name="connsiteX43" fmla="*/ 1225868 w 1226819"/>
                <a:gd name="connsiteY43" fmla="*/ 0 h 236727"/>
                <a:gd name="connsiteX44" fmla="*/ 1218248 w 1226819"/>
                <a:gd name="connsiteY44" fmla="*/ 0 h 236727"/>
                <a:gd name="connsiteX45" fmla="*/ 1200150 w 1226819"/>
                <a:gd name="connsiteY45" fmla="*/ 0 h 236727"/>
                <a:gd name="connsiteX46" fmla="*/ 1170623 w 1226819"/>
                <a:gd name="connsiteY46" fmla="*/ 0 h 236727"/>
                <a:gd name="connsiteX47" fmla="*/ 1134428 w 1226819"/>
                <a:gd name="connsiteY47" fmla="*/ 0 h 236727"/>
                <a:gd name="connsiteX48" fmla="*/ 1095375 w 1226819"/>
                <a:gd name="connsiteY48" fmla="*/ 0 h 236727"/>
                <a:gd name="connsiteX49" fmla="*/ 1055370 w 1226819"/>
                <a:gd name="connsiteY49" fmla="*/ 0 h 236727"/>
                <a:gd name="connsiteX50" fmla="*/ 1018223 w 1226819"/>
                <a:gd name="connsiteY50" fmla="*/ 0 h 236727"/>
                <a:gd name="connsiteX51" fmla="*/ 982980 w 1226819"/>
                <a:gd name="connsiteY51" fmla="*/ 0 h 236727"/>
                <a:gd name="connsiteX52" fmla="*/ 950595 w 1226819"/>
                <a:gd name="connsiteY52" fmla="*/ 0 h 236727"/>
                <a:gd name="connsiteX53" fmla="*/ 918210 w 1226819"/>
                <a:gd name="connsiteY53" fmla="*/ 0 h 236727"/>
                <a:gd name="connsiteX54" fmla="*/ 886778 w 1226819"/>
                <a:gd name="connsiteY54" fmla="*/ 0 h 236727"/>
                <a:gd name="connsiteX55" fmla="*/ 869633 w 1226819"/>
                <a:gd name="connsiteY55" fmla="*/ 0 h 236727"/>
                <a:gd name="connsiteX56" fmla="*/ 840105 w 1226819"/>
                <a:gd name="connsiteY56" fmla="*/ 0 h 236727"/>
                <a:gd name="connsiteX57" fmla="*/ 809625 w 1226819"/>
                <a:gd name="connsiteY57" fmla="*/ 0 h 236727"/>
                <a:gd name="connsiteX58" fmla="*/ 777240 w 1226819"/>
                <a:gd name="connsiteY58" fmla="*/ 0 h 236727"/>
                <a:gd name="connsiteX59" fmla="*/ 743903 w 1226819"/>
                <a:gd name="connsiteY59" fmla="*/ 0 h 236727"/>
                <a:gd name="connsiteX60" fmla="*/ 707708 w 1226819"/>
                <a:gd name="connsiteY60" fmla="*/ 0 h 236727"/>
                <a:gd name="connsiteX61" fmla="*/ 670560 w 1226819"/>
                <a:gd name="connsiteY61" fmla="*/ 0 h 236727"/>
                <a:gd name="connsiteX62" fmla="*/ 632460 w 1226819"/>
                <a:gd name="connsiteY62" fmla="*/ 0 h 236727"/>
                <a:gd name="connsiteX63" fmla="*/ 593408 w 1226819"/>
                <a:gd name="connsiteY63" fmla="*/ 0 h 236727"/>
                <a:gd name="connsiteX64" fmla="*/ 555308 w 1226819"/>
                <a:gd name="connsiteY64" fmla="*/ 0 h 236727"/>
                <a:gd name="connsiteX65" fmla="*/ 518160 w 1226819"/>
                <a:gd name="connsiteY65" fmla="*/ 0 h 236727"/>
                <a:gd name="connsiteX66" fmla="*/ 482918 w 1226819"/>
                <a:gd name="connsiteY66" fmla="*/ 0 h 236727"/>
                <a:gd name="connsiteX67" fmla="*/ 448628 w 1226819"/>
                <a:gd name="connsiteY67" fmla="*/ 0 h 236727"/>
                <a:gd name="connsiteX68" fmla="*/ 416243 w 1226819"/>
                <a:gd name="connsiteY68" fmla="*/ 0 h 236727"/>
                <a:gd name="connsiteX69" fmla="*/ 385763 w 1226819"/>
                <a:gd name="connsiteY69" fmla="*/ 0 h 236727"/>
                <a:gd name="connsiteX70" fmla="*/ 358140 w 1226819"/>
                <a:gd name="connsiteY70" fmla="*/ 0 h 236727"/>
                <a:gd name="connsiteX71" fmla="*/ 325755 w 1226819"/>
                <a:gd name="connsiteY71" fmla="*/ 0 h 236727"/>
                <a:gd name="connsiteX72" fmla="*/ 293370 w 1226819"/>
                <a:gd name="connsiteY72" fmla="*/ 0 h 236727"/>
                <a:gd name="connsiteX73" fmla="*/ 260985 w 1226819"/>
                <a:gd name="connsiteY73" fmla="*/ 0 h 236727"/>
                <a:gd name="connsiteX74" fmla="*/ 227648 w 1226819"/>
                <a:gd name="connsiteY74" fmla="*/ 0 h 236727"/>
                <a:gd name="connsiteX75" fmla="*/ 191453 w 1226819"/>
                <a:gd name="connsiteY75" fmla="*/ 0 h 236727"/>
                <a:gd name="connsiteX76" fmla="*/ 153353 w 1226819"/>
                <a:gd name="connsiteY76" fmla="*/ 0 h 236727"/>
                <a:gd name="connsiteX77" fmla="*/ 113348 w 1226819"/>
                <a:gd name="connsiteY77" fmla="*/ 0 h 236727"/>
                <a:gd name="connsiteX78" fmla="*/ 74295 w 1226819"/>
                <a:gd name="connsiteY78" fmla="*/ 0 h 236727"/>
                <a:gd name="connsiteX79" fmla="*/ 40958 w 1226819"/>
                <a:gd name="connsiteY79" fmla="*/ 0 h 236727"/>
                <a:gd name="connsiteX80" fmla="*/ 17145 w 1226819"/>
                <a:gd name="connsiteY80" fmla="*/ 0 h 236727"/>
                <a:gd name="connsiteX81" fmla="*/ 4763 w 1226819"/>
                <a:gd name="connsiteY81" fmla="*/ 0 h 236727"/>
                <a:gd name="connsiteX82" fmla="*/ 953 w 1226819"/>
                <a:gd name="connsiteY82" fmla="*/ 0 h 236727"/>
                <a:gd name="connsiteX83" fmla="*/ 0 w 1226819"/>
                <a:gd name="connsiteY83" fmla="*/ 0 h 236727"/>
                <a:gd name="connsiteX84" fmla="*/ 0 w 1226819"/>
                <a:gd name="connsiteY84" fmla="*/ 236728 h 2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6727">
                  <a:moveTo>
                    <a:pt x="0" y="236728"/>
                  </a:moveTo>
                  <a:lnTo>
                    <a:pt x="1905" y="236728"/>
                  </a:lnTo>
                  <a:lnTo>
                    <a:pt x="9525" y="236728"/>
                  </a:lnTo>
                  <a:lnTo>
                    <a:pt x="27623" y="236728"/>
                  </a:lnTo>
                  <a:lnTo>
                    <a:pt x="56198" y="236728"/>
                  </a:lnTo>
                  <a:lnTo>
                    <a:pt x="93345" y="236728"/>
                  </a:lnTo>
                  <a:lnTo>
                    <a:pt x="132398" y="236728"/>
                  </a:lnTo>
                  <a:lnTo>
                    <a:pt x="172403" y="236728"/>
                  </a:lnTo>
                  <a:lnTo>
                    <a:pt x="209550" y="236728"/>
                  </a:lnTo>
                  <a:lnTo>
                    <a:pt x="244793" y="236728"/>
                  </a:lnTo>
                  <a:lnTo>
                    <a:pt x="277178" y="236728"/>
                  </a:lnTo>
                  <a:lnTo>
                    <a:pt x="308610" y="236728"/>
                  </a:lnTo>
                  <a:lnTo>
                    <a:pt x="340995" y="236728"/>
                  </a:lnTo>
                  <a:lnTo>
                    <a:pt x="358140" y="236728"/>
                  </a:lnTo>
                  <a:lnTo>
                    <a:pt x="386715" y="236728"/>
                  </a:lnTo>
                  <a:lnTo>
                    <a:pt x="417195" y="236728"/>
                  </a:lnTo>
                  <a:lnTo>
                    <a:pt x="449580" y="236728"/>
                  </a:lnTo>
                  <a:lnTo>
                    <a:pt x="483870" y="236728"/>
                  </a:lnTo>
                  <a:lnTo>
                    <a:pt x="520065" y="236728"/>
                  </a:lnTo>
                  <a:lnTo>
                    <a:pt x="557213" y="236728"/>
                  </a:lnTo>
                  <a:lnTo>
                    <a:pt x="595313" y="236728"/>
                  </a:lnTo>
                  <a:lnTo>
                    <a:pt x="634365" y="236728"/>
                  </a:lnTo>
                  <a:lnTo>
                    <a:pt x="672465" y="236728"/>
                  </a:lnTo>
                  <a:lnTo>
                    <a:pt x="709613" y="236728"/>
                  </a:lnTo>
                  <a:lnTo>
                    <a:pt x="744855" y="236728"/>
                  </a:lnTo>
                  <a:lnTo>
                    <a:pt x="779145" y="236728"/>
                  </a:lnTo>
                  <a:lnTo>
                    <a:pt x="811530" y="236728"/>
                  </a:lnTo>
                  <a:lnTo>
                    <a:pt x="842010" y="236728"/>
                  </a:lnTo>
                  <a:lnTo>
                    <a:pt x="869633" y="236728"/>
                  </a:lnTo>
                  <a:lnTo>
                    <a:pt x="902018" y="236728"/>
                  </a:lnTo>
                  <a:lnTo>
                    <a:pt x="934403" y="236728"/>
                  </a:lnTo>
                  <a:lnTo>
                    <a:pt x="966788" y="236728"/>
                  </a:lnTo>
                  <a:lnTo>
                    <a:pt x="1000125" y="236728"/>
                  </a:lnTo>
                  <a:lnTo>
                    <a:pt x="1036320" y="236728"/>
                  </a:lnTo>
                  <a:lnTo>
                    <a:pt x="1074420" y="236728"/>
                  </a:lnTo>
                  <a:lnTo>
                    <a:pt x="1114425" y="236728"/>
                  </a:lnTo>
                  <a:lnTo>
                    <a:pt x="1153478" y="236728"/>
                  </a:lnTo>
                  <a:lnTo>
                    <a:pt x="1186815" y="236728"/>
                  </a:lnTo>
                  <a:lnTo>
                    <a:pt x="1210628" y="236728"/>
                  </a:lnTo>
                  <a:lnTo>
                    <a:pt x="1223010" y="236728"/>
                  </a:lnTo>
                  <a:lnTo>
                    <a:pt x="1226820" y="236728"/>
                  </a:lnTo>
                  <a:lnTo>
                    <a:pt x="1226820" y="23672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6728"/>
                  </a:lnTo>
                  <a:close/>
                </a:path>
              </a:pathLst>
            </a:custGeom>
            <a:noFill/>
            <a:ln w="9525" cap="flat">
              <a:solidFill>
                <a:srgbClr val="BBBDBF"/>
              </a:solidFill>
              <a:prstDash val="solid"/>
              <a:miter/>
            </a:ln>
          </p:spPr>
          <p:txBody>
            <a:bodyPr rtlCol="0" anchor="ctr"/>
            <a:lstStyle/>
            <a:p>
              <a:endParaRPr lang="en-US" sz="1050"/>
            </a:p>
          </p:txBody>
        </p:sp>
        <p:sp>
          <p:nvSpPr>
            <p:cNvPr id="187" name="Freeform 239">
              <a:extLst>
                <a:ext uri="{FF2B5EF4-FFF2-40B4-BE49-F238E27FC236}">
                  <a16:creationId xmlns:a16="http://schemas.microsoft.com/office/drawing/2014/main" id="{4189A931-C7FB-9B81-03C8-ECCA9FE1A52C}"/>
                </a:ext>
              </a:extLst>
            </p:cNvPr>
            <p:cNvSpPr/>
            <p:nvPr/>
          </p:nvSpPr>
          <p:spPr>
            <a:xfrm>
              <a:off x="3987133" y="3402064"/>
              <a:ext cx="1226819" cy="237678"/>
            </a:xfrm>
            <a:custGeom>
              <a:avLst/>
              <a:gdLst>
                <a:gd name="connsiteX0" fmla="*/ 0 w 1226819"/>
                <a:gd name="connsiteY0" fmla="*/ 237678 h 237678"/>
                <a:gd name="connsiteX1" fmla="*/ 1905 w 1226819"/>
                <a:gd name="connsiteY1" fmla="*/ 237678 h 237678"/>
                <a:gd name="connsiteX2" fmla="*/ 9525 w 1226819"/>
                <a:gd name="connsiteY2" fmla="*/ 237678 h 237678"/>
                <a:gd name="connsiteX3" fmla="*/ 27623 w 1226819"/>
                <a:gd name="connsiteY3" fmla="*/ 237678 h 237678"/>
                <a:gd name="connsiteX4" fmla="*/ 56198 w 1226819"/>
                <a:gd name="connsiteY4" fmla="*/ 237678 h 237678"/>
                <a:gd name="connsiteX5" fmla="*/ 93345 w 1226819"/>
                <a:gd name="connsiteY5" fmla="*/ 237678 h 237678"/>
                <a:gd name="connsiteX6" fmla="*/ 132398 w 1226819"/>
                <a:gd name="connsiteY6" fmla="*/ 237678 h 237678"/>
                <a:gd name="connsiteX7" fmla="*/ 172403 w 1226819"/>
                <a:gd name="connsiteY7" fmla="*/ 237678 h 237678"/>
                <a:gd name="connsiteX8" fmla="*/ 209550 w 1226819"/>
                <a:gd name="connsiteY8" fmla="*/ 237678 h 237678"/>
                <a:gd name="connsiteX9" fmla="*/ 244793 w 1226819"/>
                <a:gd name="connsiteY9" fmla="*/ 237678 h 237678"/>
                <a:gd name="connsiteX10" fmla="*/ 277178 w 1226819"/>
                <a:gd name="connsiteY10" fmla="*/ 237678 h 237678"/>
                <a:gd name="connsiteX11" fmla="*/ 308610 w 1226819"/>
                <a:gd name="connsiteY11" fmla="*/ 237678 h 237678"/>
                <a:gd name="connsiteX12" fmla="*/ 340995 w 1226819"/>
                <a:gd name="connsiteY12" fmla="*/ 237678 h 237678"/>
                <a:gd name="connsiteX13" fmla="*/ 358140 w 1226819"/>
                <a:gd name="connsiteY13" fmla="*/ 237678 h 237678"/>
                <a:gd name="connsiteX14" fmla="*/ 386715 w 1226819"/>
                <a:gd name="connsiteY14" fmla="*/ 237678 h 237678"/>
                <a:gd name="connsiteX15" fmla="*/ 417195 w 1226819"/>
                <a:gd name="connsiteY15" fmla="*/ 237678 h 237678"/>
                <a:gd name="connsiteX16" fmla="*/ 449580 w 1226819"/>
                <a:gd name="connsiteY16" fmla="*/ 237678 h 237678"/>
                <a:gd name="connsiteX17" fmla="*/ 483870 w 1226819"/>
                <a:gd name="connsiteY17" fmla="*/ 237678 h 237678"/>
                <a:gd name="connsiteX18" fmla="*/ 520065 w 1226819"/>
                <a:gd name="connsiteY18" fmla="*/ 237678 h 237678"/>
                <a:gd name="connsiteX19" fmla="*/ 557213 w 1226819"/>
                <a:gd name="connsiteY19" fmla="*/ 237678 h 237678"/>
                <a:gd name="connsiteX20" fmla="*/ 595313 w 1226819"/>
                <a:gd name="connsiteY20" fmla="*/ 237678 h 237678"/>
                <a:gd name="connsiteX21" fmla="*/ 634365 w 1226819"/>
                <a:gd name="connsiteY21" fmla="*/ 237678 h 237678"/>
                <a:gd name="connsiteX22" fmla="*/ 672465 w 1226819"/>
                <a:gd name="connsiteY22" fmla="*/ 237678 h 237678"/>
                <a:gd name="connsiteX23" fmla="*/ 709613 w 1226819"/>
                <a:gd name="connsiteY23" fmla="*/ 237678 h 237678"/>
                <a:gd name="connsiteX24" fmla="*/ 744855 w 1226819"/>
                <a:gd name="connsiteY24" fmla="*/ 237678 h 237678"/>
                <a:gd name="connsiteX25" fmla="*/ 779145 w 1226819"/>
                <a:gd name="connsiteY25" fmla="*/ 237678 h 237678"/>
                <a:gd name="connsiteX26" fmla="*/ 811530 w 1226819"/>
                <a:gd name="connsiteY26" fmla="*/ 237678 h 237678"/>
                <a:gd name="connsiteX27" fmla="*/ 842010 w 1226819"/>
                <a:gd name="connsiteY27" fmla="*/ 237678 h 237678"/>
                <a:gd name="connsiteX28" fmla="*/ 869633 w 1226819"/>
                <a:gd name="connsiteY28" fmla="*/ 237678 h 237678"/>
                <a:gd name="connsiteX29" fmla="*/ 902018 w 1226819"/>
                <a:gd name="connsiteY29" fmla="*/ 237678 h 237678"/>
                <a:gd name="connsiteX30" fmla="*/ 934403 w 1226819"/>
                <a:gd name="connsiteY30" fmla="*/ 237678 h 237678"/>
                <a:gd name="connsiteX31" fmla="*/ 966788 w 1226819"/>
                <a:gd name="connsiteY31" fmla="*/ 237678 h 237678"/>
                <a:gd name="connsiteX32" fmla="*/ 1000125 w 1226819"/>
                <a:gd name="connsiteY32" fmla="*/ 237678 h 237678"/>
                <a:gd name="connsiteX33" fmla="*/ 1036320 w 1226819"/>
                <a:gd name="connsiteY33" fmla="*/ 237678 h 237678"/>
                <a:gd name="connsiteX34" fmla="*/ 1074420 w 1226819"/>
                <a:gd name="connsiteY34" fmla="*/ 237678 h 237678"/>
                <a:gd name="connsiteX35" fmla="*/ 1114425 w 1226819"/>
                <a:gd name="connsiteY35" fmla="*/ 237678 h 237678"/>
                <a:gd name="connsiteX36" fmla="*/ 1153478 w 1226819"/>
                <a:gd name="connsiteY36" fmla="*/ 237678 h 237678"/>
                <a:gd name="connsiteX37" fmla="*/ 1186815 w 1226819"/>
                <a:gd name="connsiteY37" fmla="*/ 237678 h 237678"/>
                <a:gd name="connsiteX38" fmla="*/ 1210628 w 1226819"/>
                <a:gd name="connsiteY38" fmla="*/ 237678 h 237678"/>
                <a:gd name="connsiteX39" fmla="*/ 1223010 w 1226819"/>
                <a:gd name="connsiteY39" fmla="*/ 237678 h 237678"/>
                <a:gd name="connsiteX40" fmla="*/ 1226820 w 1226819"/>
                <a:gd name="connsiteY40" fmla="*/ 237678 h 237678"/>
                <a:gd name="connsiteX41" fmla="*/ 1226820 w 1226819"/>
                <a:gd name="connsiteY41" fmla="*/ 237678 h 237678"/>
                <a:gd name="connsiteX42" fmla="*/ 1226820 w 1226819"/>
                <a:gd name="connsiteY42" fmla="*/ 0 h 237678"/>
                <a:gd name="connsiteX43" fmla="*/ 1225868 w 1226819"/>
                <a:gd name="connsiteY43" fmla="*/ 0 h 237678"/>
                <a:gd name="connsiteX44" fmla="*/ 1218248 w 1226819"/>
                <a:gd name="connsiteY44" fmla="*/ 0 h 237678"/>
                <a:gd name="connsiteX45" fmla="*/ 1200150 w 1226819"/>
                <a:gd name="connsiteY45" fmla="*/ 0 h 237678"/>
                <a:gd name="connsiteX46" fmla="*/ 1170623 w 1226819"/>
                <a:gd name="connsiteY46" fmla="*/ 0 h 237678"/>
                <a:gd name="connsiteX47" fmla="*/ 1134428 w 1226819"/>
                <a:gd name="connsiteY47" fmla="*/ 0 h 237678"/>
                <a:gd name="connsiteX48" fmla="*/ 1095375 w 1226819"/>
                <a:gd name="connsiteY48" fmla="*/ 0 h 237678"/>
                <a:gd name="connsiteX49" fmla="*/ 1055370 w 1226819"/>
                <a:gd name="connsiteY49" fmla="*/ 0 h 237678"/>
                <a:gd name="connsiteX50" fmla="*/ 1018223 w 1226819"/>
                <a:gd name="connsiteY50" fmla="*/ 0 h 237678"/>
                <a:gd name="connsiteX51" fmla="*/ 982980 w 1226819"/>
                <a:gd name="connsiteY51" fmla="*/ 0 h 237678"/>
                <a:gd name="connsiteX52" fmla="*/ 950595 w 1226819"/>
                <a:gd name="connsiteY52" fmla="*/ 0 h 237678"/>
                <a:gd name="connsiteX53" fmla="*/ 918210 w 1226819"/>
                <a:gd name="connsiteY53" fmla="*/ 0 h 237678"/>
                <a:gd name="connsiteX54" fmla="*/ 886778 w 1226819"/>
                <a:gd name="connsiteY54" fmla="*/ 0 h 237678"/>
                <a:gd name="connsiteX55" fmla="*/ 869633 w 1226819"/>
                <a:gd name="connsiteY55" fmla="*/ 0 h 237678"/>
                <a:gd name="connsiteX56" fmla="*/ 840105 w 1226819"/>
                <a:gd name="connsiteY56" fmla="*/ 0 h 237678"/>
                <a:gd name="connsiteX57" fmla="*/ 809625 w 1226819"/>
                <a:gd name="connsiteY57" fmla="*/ 0 h 237678"/>
                <a:gd name="connsiteX58" fmla="*/ 777240 w 1226819"/>
                <a:gd name="connsiteY58" fmla="*/ 0 h 237678"/>
                <a:gd name="connsiteX59" fmla="*/ 743903 w 1226819"/>
                <a:gd name="connsiteY59" fmla="*/ 0 h 237678"/>
                <a:gd name="connsiteX60" fmla="*/ 707708 w 1226819"/>
                <a:gd name="connsiteY60" fmla="*/ 0 h 237678"/>
                <a:gd name="connsiteX61" fmla="*/ 670560 w 1226819"/>
                <a:gd name="connsiteY61" fmla="*/ 0 h 237678"/>
                <a:gd name="connsiteX62" fmla="*/ 632460 w 1226819"/>
                <a:gd name="connsiteY62" fmla="*/ 0 h 237678"/>
                <a:gd name="connsiteX63" fmla="*/ 593408 w 1226819"/>
                <a:gd name="connsiteY63" fmla="*/ 0 h 237678"/>
                <a:gd name="connsiteX64" fmla="*/ 555308 w 1226819"/>
                <a:gd name="connsiteY64" fmla="*/ 0 h 237678"/>
                <a:gd name="connsiteX65" fmla="*/ 518160 w 1226819"/>
                <a:gd name="connsiteY65" fmla="*/ 0 h 237678"/>
                <a:gd name="connsiteX66" fmla="*/ 482918 w 1226819"/>
                <a:gd name="connsiteY66" fmla="*/ 0 h 237678"/>
                <a:gd name="connsiteX67" fmla="*/ 448628 w 1226819"/>
                <a:gd name="connsiteY67" fmla="*/ 0 h 237678"/>
                <a:gd name="connsiteX68" fmla="*/ 416243 w 1226819"/>
                <a:gd name="connsiteY68" fmla="*/ 0 h 237678"/>
                <a:gd name="connsiteX69" fmla="*/ 385763 w 1226819"/>
                <a:gd name="connsiteY69" fmla="*/ 0 h 237678"/>
                <a:gd name="connsiteX70" fmla="*/ 358140 w 1226819"/>
                <a:gd name="connsiteY70" fmla="*/ 0 h 237678"/>
                <a:gd name="connsiteX71" fmla="*/ 325755 w 1226819"/>
                <a:gd name="connsiteY71" fmla="*/ 0 h 237678"/>
                <a:gd name="connsiteX72" fmla="*/ 293370 w 1226819"/>
                <a:gd name="connsiteY72" fmla="*/ 0 h 237678"/>
                <a:gd name="connsiteX73" fmla="*/ 260985 w 1226819"/>
                <a:gd name="connsiteY73" fmla="*/ 0 h 237678"/>
                <a:gd name="connsiteX74" fmla="*/ 227648 w 1226819"/>
                <a:gd name="connsiteY74" fmla="*/ 0 h 237678"/>
                <a:gd name="connsiteX75" fmla="*/ 191453 w 1226819"/>
                <a:gd name="connsiteY75" fmla="*/ 0 h 237678"/>
                <a:gd name="connsiteX76" fmla="*/ 153353 w 1226819"/>
                <a:gd name="connsiteY76" fmla="*/ 0 h 237678"/>
                <a:gd name="connsiteX77" fmla="*/ 113348 w 1226819"/>
                <a:gd name="connsiteY77" fmla="*/ 0 h 237678"/>
                <a:gd name="connsiteX78" fmla="*/ 74295 w 1226819"/>
                <a:gd name="connsiteY78" fmla="*/ 0 h 237678"/>
                <a:gd name="connsiteX79" fmla="*/ 40958 w 1226819"/>
                <a:gd name="connsiteY79" fmla="*/ 0 h 237678"/>
                <a:gd name="connsiteX80" fmla="*/ 17145 w 1226819"/>
                <a:gd name="connsiteY80" fmla="*/ 0 h 237678"/>
                <a:gd name="connsiteX81" fmla="*/ 4763 w 1226819"/>
                <a:gd name="connsiteY81" fmla="*/ 0 h 237678"/>
                <a:gd name="connsiteX82" fmla="*/ 953 w 1226819"/>
                <a:gd name="connsiteY82" fmla="*/ 0 h 237678"/>
                <a:gd name="connsiteX83" fmla="*/ 0 w 1226819"/>
                <a:gd name="connsiteY83" fmla="*/ 0 h 237678"/>
                <a:gd name="connsiteX84" fmla="*/ 0 w 1226819"/>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7678">
                  <a:moveTo>
                    <a:pt x="0" y="237678"/>
                  </a:moveTo>
                  <a:lnTo>
                    <a:pt x="1905" y="237678"/>
                  </a:lnTo>
                  <a:lnTo>
                    <a:pt x="9525" y="237678"/>
                  </a:lnTo>
                  <a:lnTo>
                    <a:pt x="27623" y="237678"/>
                  </a:lnTo>
                  <a:lnTo>
                    <a:pt x="56198" y="237678"/>
                  </a:lnTo>
                  <a:lnTo>
                    <a:pt x="93345" y="237678"/>
                  </a:lnTo>
                  <a:lnTo>
                    <a:pt x="132398" y="237678"/>
                  </a:lnTo>
                  <a:lnTo>
                    <a:pt x="172403" y="237678"/>
                  </a:lnTo>
                  <a:lnTo>
                    <a:pt x="209550" y="237678"/>
                  </a:lnTo>
                  <a:lnTo>
                    <a:pt x="244793" y="237678"/>
                  </a:lnTo>
                  <a:lnTo>
                    <a:pt x="277178" y="237678"/>
                  </a:lnTo>
                  <a:lnTo>
                    <a:pt x="308610" y="237678"/>
                  </a:lnTo>
                  <a:lnTo>
                    <a:pt x="340995" y="237678"/>
                  </a:lnTo>
                  <a:lnTo>
                    <a:pt x="358140" y="237678"/>
                  </a:lnTo>
                  <a:lnTo>
                    <a:pt x="386715" y="237678"/>
                  </a:lnTo>
                  <a:lnTo>
                    <a:pt x="417195" y="237678"/>
                  </a:lnTo>
                  <a:lnTo>
                    <a:pt x="449580" y="237678"/>
                  </a:lnTo>
                  <a:lnTo>
                    <a:pt x="483870" y="237678"/>
                  </a:lnTo>
                  <a:lnTo>
                    <a:pt x="520065" y="237678"/>
                  </a:lnTo>
                  <a:lnTo>
                    <a:pt x="557213" y="237678"/>
                  </a:lnTo>
                  <a:lnTo>
                    <a:pt x="595313" y="237678"/>
                  </a:lnTo>
                  <a:lnTo>
                    <a:pt x="634365" y="237678"/>
                  </a:lnTo>
                  <a:lnTo>
                    <a:pt x="672465" y="237678"/>
                  </a:lnTo>
                  <a:lnTo>
                    <a:pt x="709613" y="237678"/>
                  </a:lnTo>
                  <a:lnTo>
                    <a:pt x="744855" y="237678"/>
                  </a:lnTo>
                  <a:lnTo>
                    <a:pt x="779145" y="237678"/>
                  </a:lnTo>
                  <a:lnTo>
                    <a:pt x="811530" y="237678"/>
                  </a:lnTo>
                  <a:lnTo>
                    <a:pt x="842010" y="237678"/>
                  </a:lnTo>
                  <a:lnTo>
                    <a:pt x="869633" y="237678"/>
                  </a:lnTo>
                  <a:lnTo>
                    <a:pt x="902018" y="237678"/>
                  </a:lnTo>
                  <a:lnTo>
                    <a:pt x="934403" y="237678"/>
                  </a:lnTo>
                  <a:lnTo>
                    <a:pt x="966788" y="237678"/>
                  </a:lnTo>
                  <a:lnTo>
                    <a:pt x="1000125" y="237678"/>
                  </a:lnTo>
                  <a:lnTo>
                    <a:pt x="1036320" y="237678"/>
                  </a:lnTo>
                  <a:lnTo>
                    <a:pt x="1074420" y="237678"/>
                  </a:lnTo>
                  <a:lnTo>
                    <a:pt x="1114425" y="237678"/>
                  </a:lnTo>
                  <a:lnTo>
                    <a:pt x="1153478" y="237678"/>
                  </a:lnTo>
                  <a:lnTo>
                    <a:pt x="1186815" y="237678"/>
                  </a:lnTo>
                  <a:lnTo>
                    <a:pt x="1210628" y="237678"/>
                  </a:lnTo>
                  <a:lnTo>
                    <a:pt x="1223010" y="237678"/>
                  </a:lnTo>
                  <a:lnTo>
                    <a:pt x="1226820" y="237678"/>
                  </a:lnTo>
                  <a:lnTo>
                    <a:pt x="1226820" y="23767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7678"/>
                  </a:lnTo>
                  <a:close/>
                </a:path>
              </a:pathLst>
            </a:custGeom>
            <a:solidFill>
              <a:srgbClr val="BBBDBF">
                <a:alpha val="60000"/>
              </a:srgbClr>
            </a:solidFill>
            <a:ln w="9525" cap="flat">
              <a:noFill/>
              <a:prstDash val="solid"/>
              <a:miter/>
            </a:ln>
          </p:spPr>
          <p:txBody>
            <a:bodyPr rtlCol="0" anchor="ctr"/>
            <a:lstStyle/>
            <a:p>
              <a:endParaRPr lang="en-US" sz="1050"/>
            </a:p>
          </p:txBody>
        </p:sp>
        <p:sp>
          <p:nvSpPr>
            <p:cNvPr id="188" name="Freeform 240">
              <a:extLst>
                <a:ext uri="{FF2B5EF4-FFF2-40B4-BE49-F238E27FC236}">
                  <a16:creationId xmlns:a16="http://schemas.microsoft.com/office/drawing/2014/main" id="{692BFC6C-3872-B890-D54B-99C0D64F2F21}"/>
                </a:ext>
              </a:extLst>
            </p:cNvPr>
            <p:cNvSpPr/>
            <p:nvPr/>
          </p:nvSpPr>
          <p:spPr>
            <a:xfrm>
              <a:off x="3987133" y="3402064"/>
              <a:ext cx="1226819" cy="237678"/>
            </a:xfrm>
            <a:custGeom>
              <a:avLst/>
              <a:gdLst>
                <a:gd name="connsiteX0" fmla="*/ 0 w 1226819"/>
                <a:gd name="connsiteY0" fmla="*/ 237678 h 237678"/>
                <a:gd name="connsiteX1" fmla="*/ 1905 w 1226819"/>
                <a:gd name="connsiteY1" fmla="*/ 237678 h 237678"/>
                <a:gd name="connsiteX2" fmla="*/ 9525 w 1226819"/>
                <a:gd name="connsiteY2" fmla="*/ 237678 h 237678"/>
                <a:gd name="connsiteX3" fmla="*/ 27623 w 1226819"/>
                <a:gd name="connsiteY3" fmla="*/ 237678 h 237678"/>
                <a:gd name="connsiteX4" fmla="*/ 56198 w 1226819"/>
                <a:gd name="connsiteY4" fmla="*/ 237678 h 237678"/>
                <a:gd name="connsiteX5" fmla="*/ 93345 w 1226819"/>
                <a:gd name="connsiteY5" fmla="*/ 237678 h 237678"/>
                <a:gd name="connsiteX6" fmla="*/ 132398 w 1226819"/>
                <a:gd name="connsiteY6" fmla="*/ 237678 h 237678"/>
                <a:gd name="connsiteX7" fmla="*/ 172403 w 1226819"/>
                <a:gd name="connsiteY7" fmla="*/ 237678 h 237678"/>
                <a:gd name="connsiteX8" fmla="*/ 209550 w 1226819"/>
                <a:gd name="connsiteY8" fmla="*/ 237678 h 237678"/>
                <a:gd name="connsiteX9" fmla="*/ 244793 w 1226819"/>
                <a:gd name="connsiteY9" fmla="*/ 237678 h 237678"/>
                <a:gd name="connsiteX10" fmla="*/ 277178 w 1226819"/>
                <a:gd name="connsiteY10" fmla="*/ 237678 h 237678"/>
                <a:gd name="connsiteX11" fmla="*/ 308610 w 1226819"/>
                <a:gd name="connsiteY11" fmla="*/ 237678 h 237678"/>
                <a:gd name="connsiteX12" fmla="*/ 340995 w 1226819"/>
                <a:gd name="connsiteY12" fmla="*/ 237678 h 237678"/>
                <a:gd name="connsiteX13" fmla="*/ 358140 w 1226819"/>
                <a:gd name="connsiteY13" fmla="*/ 237678 h 237678"/>
                <a:gd name="connsiteX14" fmla="*/ 386715 w 1226819"/>
                <a:gd name="connsiteY14" fmla="*/ 237678 h 237678"/>
                <a:gd name="connsiteX15" fmla="*/ 417195 w 1226819"/>
                <a:gd name="connsiteY15" fmla="*/ 237678 h 237678"/>
                <a:gd name="connsiteX16" fmla="*/ 449580 w 1226819"/>
                <a:gd name="connsiteY16" fmla="*/ 237678 h 237678"/>
                <a:gd name="connsiteX17" fmla="*/ 483870 w 1226819"/>
                <a:gd name="connsiteY17" fmla="*/ 237678 h 237678"/>
                <a:gd name="connsiteX18" fmla="*/ 520065 w 1226819"/>
                <a:gd name="connsiteY18" fmla="*/ 237678 h 237678"/>
                <a:gd name="connsiteX19" fmla="*/ 557213 w 1226819"/>
                <a:gd name="connsiteY19" fmla="*/ 237678 h 237678"/>
                <a:gd name="connsiteX20" fmla="*/ 595313 w 1226819"/>
                <a:gd name="connsiteY20" fmla="*/ 237678 h 237678"/>
                <a:gd name="connsiteX21" fmla="*/ 634365 w 1226819"/>
                <a:gd name="connsiteY21" fmla="*/ 237678 h 237678"/>
                <a:gd name="connsiteX22" fmla="*/ 672465 w 1226819"/>
                <a:gd name="connsiteY22" fmla="*/ 237678 h 237678"/>
                <a:gd name="connsiteX23" fmla="*/ 709613 w 1226819"/>
                <a:gd name="connsiteY23" fmla="*/ 237678 h 237678"/>
                <a:gd name="connsiteX24" fmla="*/ 744855 w 1226819"/>
                <a:gd name="connsiteY24" fmla="*/ 237678 h 237678"/>
                <a:gd name="connsiteX25" fmla="*/ 779145 w 1226819"/>
                <a:gd name="connsiteY25" fmla="*/ 237678 h 237678"/>
                <a:gd name="connsiteX26" fmla="*/ 811530 w 1226819"/>
                <a:gd name="connsiteY26" fmla="*/ 237678 h 237678"/>
                <a:gd name="connsiteX27" fmla="*/ 842010 w 1226819"/>
                <a:gd name="connsiteY27" fmla="*/ 237678 h 237678"/>
                <a:gd name="connsiteX28" fmla="*/ 869633 w 1226819"/>
                <a:gd name="connsiteY28" fmla="*/ 237678 h 237678"/>
                <a:gd name="connsiteX29" fmla="*/ 902018 w 1226819"/>
                <a:gd name="connsiteY29" fmla="*/ 237678 h 237678"/>
                <a:gd name="connsiteX30" fmla="*/ 934403 w 1226819"/>
                <a:gd name="connsiteY30" fmla="*/ 237678 h 237678"/>
                <a:gd name="connsiteX31" fmla="*/ 966788 w 1226819"/>
                <a:gd name="connsiteY31" fmla="*/ 237678 h 237678"/>
                <a:gd name="connsiteX32" fmla="*/ 1000125 w 1226819"/>
                <a:gd name="connsiteY32" fmla="*/ 237678 h 237678"/>
                <a:gd name="connsiteX33" fmla="*/ 1036320 w 1226819"/>
                <a:gd name="connsiteY33" fmla="*/ 237678 h 237678"/>
                <a:gd name="connsiteX34" fmla="*/ 1074420 w 1226819"/>
                <a:gd name="connsiteY34" fmla="*/ 237678 h 237678"/>
                <a:gd name="connsiteX35" fmla="*/ 1114425 w 1226819"/>
                <a:gd name="connsiteY35" fmla="*/ 237678 h 237678"/>
                <a:gd name="connsiteX36" fmla="*/ 1153478 w 1226819"/>
                <a:gd name="connsiteY36" fmla="*/ 237678 h 237678"/>
                <a:gd name="connsiteX37" fmla="*/ 1186815 w 1226819"/>
                <a:gd name="connsiteY37" fmla="*/ 237678 h 237678"/>
                <a:gd name="connsiteX38" fmla="*/ 1210628 w 1226819"/>
                <a:gd name="connsiteY38" fmla="*/ 237678 h 237678"/>
                <a:gd name="connsiteX39" fmla="*/ 1223010 w 1226819"/>
                <a:gd name="connsiteY39" fmla="*/ 237678 h 237678"/>
                <a:gd name="connsiteX40" fmla="*/ 1226820 w 1226819"/>
                <a:gd name="connsiteY40" fmla="*/ 237678 h 237678"/>
                <a:gd name="connsiteX41" fmla="*/ 1226820 w 1226819"/>
                <a:gd name="connsiteY41" fmla="*/ 237678 h 237678"/>
                <a:gd name="connsiteX42" fmla="*/ 1226820 w 1226819"/>
                <a:gd name="connsiteY42" fmla="*/ 0 h 237678"/>
                <a:gd name="connsiteX43" fmla="*/ 1225868 w 1226819"/>
                <a:gd name="connsiteY43" fmla="*/ 0 h 237678"/>
                <a:gd name="connsiteX44" fmla="*/ 1218248 w 1226819"/>
                <a:gd name="connsiteY44" fmla="*/ 0 h 237678"/>
                <a:gd name="connsiteX45" fmla="*/ 1200150 w 1226819"/>
                <a:gd name="connsiteY45" fmla="*/ 0 h 237678"/>
                <a:gd name="connsiteX46" fmla="*/ 1170623 w 1226819"/>
                <a:gd name="connsiteY46" fmla="*/ 0 h 237678"/>
                <a:gd name="connsiteX47" fmla="*/ 1134428 w 1226819"/>
                <a:gd name="connsiteY47" fmla="*/ 0 h 237678"/>
                <a:gd name="connsiteX48" fmla="*/ 1095375 w 1226819"/>
                <a:gd name="connsiteY48" fmla="*/ 0 h 237678"/>
                <a:gd name="connsiteX49" fmla="*/ 1055370 w 1226819"/>
                <a:gd name="connsiteY49" fmla="*/ 0 h 237678"/>
                <a:gd name="connsiteX50" fmla="*/ 1018223 w 1226819"/>
                <a:gd name="connsiteY50" fmla="*/ 0 h 237678"/>
                <a:gd name="connsiteX51" fmla="*/ 982980 w 1226819"/>
                <a:gd name="connsiteY51" fmla="*/ 0 h 237678"/>
                <a:gd name="connsiteX52" fmla="*/ 950595 w 1226819"/>
                <a:gd name="connsiteY52" fmla="*/ 0 h 237678"/>
                <a:gd name="connsiteX53" fmla="*/ 918210 w 1226819"/>
                <a:gd name="connsiteY53" fmla="*/ 0 h 237678"/>
                <a:gd name="connsiteX54" fmla="*/ 886778 w 1226819"/>
                <a:gd name="connsiteY54" fmla="*/ 0 h 237678"/>
                <a:gd name="connsiteX55" fmla="*/ 869633 w 1226819"/>
                <a:gd name="connsiteY55" fmla="*/ 0 h 237678"/>
                <a:gd name="connsiteX56" fmla="*/ 840105 w 1226819"/>
                <a:gd name="connsiteY56" fmla="*/ 0 h 237678"/>
                <a:gd name="connsiteX57" fmla="*/ 809625 w 1226819"/>
                <a:gd name="connsiteY57" fmla="*/ 0 h 237678"/>
                <a:gd name="connsiteX58" fmla="*/ 777240 w 1226819"/>
                <a:gd name="connsiteY58" fmla="*/ 0 h 237678"/>
                <a:gd name="connsiteX59" fmla="*/ 743903 w 1226819"/>
                <a:gd name="connsiteY59" fmla="*/ 0 h 237678"/>
                <a:gd name="connsiteX60" fmla="*/ 707708 w 1226819"/>
                <a:gd name="connsiteY60" fmla="*/ 0 h 237678"/>
                <a:gd name="connsiteX61" fmla="*/ 670560 w 1226819"/>
                <a:gd name="connsiteY61" fmla="*/ 0 h 237678"/>
                <a:gd name="connsiteX62" fmla="*/ 632460 w 1226819"/>
                <a:gd name="connsiteY62" fmla="*/ 0 h 237678"/>
                <a:gd name="connsiteX63" fmla="*/ 593408 w 1226819"/>
                <a:gd name="connsiteY63" fmla="*/ 0 h 237678"/>
                <a:gd name="connsiteX64" fmla="*/ 555308 w 1226819"/>
                <a:gd name="connsiteY64" fmla="*/ 0 h 237678"/>
                <a:gd name="connsiteX65" fmla="*/ 518160 w 1226819"/>
                <a:gd name="connsiteY65" fmla="*/ 0 h 237678"/>
                <a:gd name="connsiteX66" fmla="*/ 482918 w 1226819"/>
                <a:gd name="connsiteY66" fmla="*/ 0 h 237678"/>
                <a:gd name="connsiteX67" fmla="*/ 448628 w 1226819"/>
                <a:gd name="connsiteY67" fmla="*/ 0 h 237678"/>
                <a:gd name="connsiteX68" fmla="*/ 416243 w 1226819"/>
                <a:gd name="connsiteY68" fmla="*/ 0 h 237678"/>
                <a:gd name="connsiteX69" fmla="*/ 385763 w 1226819"/>
                <a:gd name="connsiteY69" fmla="*/ 0 h 237678"/>
                <a:gd name="connsiteX70" fmla="*/ 358140 w 1226819"/>
                <a:gd name="connsiteY70" fmla="*/ 0 h 237678"/>
                <a:gd name="connsiteX71" fmla="*/ 325755 w 1226819"/>
                <a:gd name="connsiteY71" fmla="*/ 0 h 237678"/>
                <a:gd name="connsiteX72" fmla="*/ 293370 w 1226819"/>
                <a:gd name="connsiteY72" fmla="*/ 0 h 237678"/>
                <a:gd name="connsiteX73" fmla="*/ 260985 w 1226819"/>
                <a:gd name="connsiteY73" fmla="*/ 0 h 237678"/>
                <a:gd name="connsiteX74" fmla="*/ 227648 w 1226819"/>
                <a:gd name="connsiteY74" fmla="*/ 0 h 237678"/>
                <a:gd name="connsiteX75" fmla="*/ 191453 w 1226819"/>
                <a:gd name="connsiteY75" fmla="*/ 0 h 237678"/>
                <a:gd name="connsiteX76" fmla="*/ 153353 w 1226819"/>
                <a:gd name="connsiteY76" fmla="*/ 0 h 237678"/>
                <a:gd name="connsiteX77" fmla="*/ 113348 w 1226819"/>
                <a:gd name="connsiteY77" fmla="*/ 0 h 237678"/>
                <a:gd name="connsiteX78" fmla="*/ 74295 w 1226819"/>
                <a:gd name="connsiteY78" fmla="*/ 0 h 237678"/>
                <a:gd name="connsiteX79" fmla="*/ 40958 w 1226819"/>
                <a:gd name="connsiteY79" fmla="*/ 0 h 237678"/>
                <a:gd name="connsiteX80" fmla="*/ 17145 w 1226819"/>
                <a:gd name="connsiteY80" fmla="*/ 0 h 237678"/>
                <a:gd name="connsiteX81" fmla="*/ 4763 w 1226819"/>
                <a:gd name="connsiteY81" fmla="*/ 0 h 237678"/>
                <a:gd name="connsiteX82" fmla="*/ 953 w 1226819"/>
                <a:gd name="connsiteY82" fmla="*/ 0 h 237678"/>
                <a:gd name="connsiteX83" fmla="*/ 0 w 1226819"/>
                <a:gd name="connsiteY83" fmla="*/ 0 h 237678"/>
                <a:gd name="connsiteX84" fmla="*/ 0 w 1226819"/>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7678">
                  <a:moveTo>
                    <a:pt x="0" y="237678"/>
                  </a:moveTo>
                  <a:lnTo>
                    <a:pt x="1905" y="237678"/>
                  </a:lnTo>
                  <a:lnTo>
                    <a:pt x="9525" y="237678"/>
                  </a:lnTo>
                  <a:lnTo>
                    <a:pt x="27623" y="237678"/>
                  </a:lnTo>
                  <a:lnTo>
                    <a:pt x="56198" y="237678"/>
                  </a:lnTo>
                  <a:lnTo>
                    <a:pt x="93345" y="237678"/>
                  </a:lnTo>
                  <a:lnTo>
                    <a:pt x="132398" y="237678"/>
                  </a:lnTo>
                  <a:lnTo>
                    <a:pt x="172403" y="237678"/>
                  </a:lnTo>
                  <a:lnTo>
                    <a:pt x="209550" y="237678"/>
                  </a:lnTo>
                  <a:lnTo>
                    <a:pt x="244793" y="237678"/>
                  </a:lnTo>
                  <a:lnTo>
                    <a:pt x="277178" y="237678"/>
                  </a:lnTo>
                  <a:lnTo>
                    <a:pt x="308610" y="237678"/>
                  </a:lnTo>
                  <a:lnTo>
                    <a:pt x="340995" y="237678"/>
                  </a:lnTo>
                  <a:lnTo>
                    <a:pt x="358140" y="237678"/>
                  </a:lnTo>
                  <a:lnTo>
                    <a:pt x="386715" y="237678"/>
                  </a:lnTo>
                  <a:lnTo>
                    <a:pt x="417195" y="237678"/>
                  </a:lnTo>
                  <a:lnTo>
                    <a:pt x="449580" y="237678"/>
                  </a:lnTo>
                  <a:lnTo>
                    <a:pt x="483870" y="237678"/>
                  </a:lnTo>
                  <a:lnTo>
                    <a:pt x="520065" y="237678"/>
                  </a:lnTo>
                  <a:lnTo>
                    <a:pt x="557213" y="237678"/>
                  </a:lnTo>
                  <a:lnTo>
                    <a:pt x="595313" y="237678"/>
                  </a:lnTo>
                  <a:lnTo>
                    <a:pt x="634365" y="237678"/>
                  </a:lnTo>
                  <a:lnTo>
                    <a:pt x="672465" y="237678"/>
                  </a:lnTo>
                  <a:lnTo>
                    <a:pt x="709613" y="237678"/>
                  </a:lnTo>
                  <a:lnTo>
                    <a:pt x="744855" y="237678"/>
                  </a:lnTo>
                  <a:lnTo>
                    <a:pt x="779145" y="237678"/>
                  </a:lnTo>
                  <a:lnTo>
                    <a:pt x="811530" y="237678"/>
                  </a:lnTo>
                  <a:lnTo>
                    <a:pt x="842010" y="237678"/>
                  </a:lnTo>
                  <a:lnTo>
                    <a:pt x="869633" y="237678"/>
                  </a:lnTo>
                  <a:lnTo>
                    <a:pt x="902018" y="237678"/>
                  </a:lnTo>
                  <a:lnTo>
                    <a:pt x="934403" y="237678"/>
                  </a:lnTo>
                  <a:lnTo>
                    <a:pt x="966788" y="237678"/>
                  </a:lnTo>
                  <a:lnTo>
                    <a:pt x="1000125" y="237678"/>
                  </a:lnTo>
                  <a:lnTo>
                    <a:pt x="1036320" y="237678"/>
                  </a:lnTo>
                  <a:lnTo>
                    <a:pt x="1074420" y="237678"/>
                  </a:lnTo>
                  <a:lnTo>
                    <a:pt x="1114425" y="237678"/>
                  </a:lnTo>
                  <a:lnTo>
                    <a:pt x="1153478" y="237678"/>
                  </a:lnTo>
                  <a:lnTo>
                    <a:pt x="1186815" y="237678"/>
                  </a:lnTo>
                  <a:lnTo>
                    <a:pt x="1210628" y="237678"/>
                  </a:lnTo>
                  <a:lnTo>
                    <a:pt x="1223010" y="237678"/>
                  </a:lnTo>
                  <a:lnTo>
                    <a:pt x="1226820" y="237678"/>
                  </a:lnTo>
                  <a:lnTo>
                    <a:pt x="1226820" y="23767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7678"/>
                  </a:lnTo>
                  <a:close/>
                </a:path>
              </a:pathLst>
            </a:custGeom>
            <a:noFill/>
            <a:ln w="9525" cap="flat">
              <a:solidFill>
                <a:srgbClr val="BBBDBF"/>
              </a:solidFill>
              <a:prstDash val="solid"/>
              <a:miter/>
            </a:ln>
          </p:spPr>
          <p:txBody>
            <a:bodyPr rtlCol="0" anchor="ctr"/>
            <a:lstStyle/>
            <a:p>
              <a:endParaRPr lang="en-US" sz="1050"/>
            </a:p>
          </p:txBody>
        </p:sp>
        <p:sp>
          <p:nvSpPr>
            <p:cNvPr id="189" name="Freeform 241">
              <a:extLst>
                <a:ext uri="{FF2B5EF4-FFF2-40B4-BE49-F238E27FC236}">
                  <a16:creationId xmlns:a16="http://schemas.microsoft.com/office/drawing/2014/main" id="{BCD77C95-CA89-5B55-8281-57B68E3DCDBB}"/>
                </a:ext>
              </a:extLst>
            </p:cNvPr>
            <p:cNvSpPr/>
            <p:nvPr/>
          </p:nvSpPr>
          <p:spPr>
            <a:xfrm>
              <a:off x="3987133" y="3639743"/>
              <a:ext cx="1226819" cy="237678"/>
            </a:xfrm>
            <a:custGeom>
              <a:avLst/>
              <a:gdLst>
                <a:gd name="connsiteX0" fmla="*/ 0 w 1226819"/>
                <a:gd name="connsiteY0" fmla="*/ 237678 h 237678"/>
                <a:gd name="connsiteX1" fmla="*/ 1905 w 1226819"/>
                <a:gd name="connsiteY1" fmla="*/ 237678 h 237678"/>
                <a:gd name="connsiteX2" fmla="*/ 9525 w 1226819"/>
                <a:gd name="connsiteY2" fmla="*/ 237678 h 237678"/>
                <a:gd name="connsiteX3" fmla="*/ 27623 w 1226819"/>
                <a:gd name="connsiteY3" fmla="*/ 237678 h 237678"/>
                <a:gd name="connsiteX4" fmla="*/ 56198 w 1226819"/>
                <a:gd name="connsiteY4" fmla="*/ 237678 h 237678"/>
                <a:gd name="connsiteX5" fmla="*/ 93345 w 1226819"/>
                <a:gd name="connsiteY5" fmla="*/ 237678 h 237678"/>
                <a:gd name="connsiteX6" fmla="*/ 132398 w 1226819"/>
                <a:gd name="connsiteY6" fmla="*/ 237678 h 237678"/>
                <a:gd name="connsiteX7" fmla="*/ 172403 w 1226819"/>
                <a:gd name="connsiteY7" fmla="*/ 237678 h 237678"/>
                <a:gd name="connsiteX8" fmla="*/ 209550 w 1226819"/>
                <a:gd name="connsiteY8" fmla="*/ 237678 h 237678"/>
                <a:gd name="connsiteX9" fmla="*/ 244793 w 1226819"/>
                <a:gd name="connsiteY9" fmla="*/ 237678 h 237678"/>
                <a:gd name="connsiteX10" fmla="*/ 277178 w 1226819"/>
                <a:gd name="connsiteY10" fmla="*/ 237678 h 237678"/>
                <a:gd name="connsiteX11" fmla="*/ 308610 w 1226819"/>
                <a:gd name="connsiteY11" fmla="*/ 237678 h 237678"/>
                <a:gd name="connsiteX12" fmla="*/ 340995 w 1226819"/>
                <a:gd name="connsiteY12" fmla="*/ 237678 h 237678"/>
                <a:gd name="connsiteX13" fmla="*/ 358140 w 1226819"/>
                <a:gd name="connsiteY13" fmla="*/ 237678 h 237678"/>
                <a:gd name="connsiteX14" fmla="*/ 386715 w 1226819"/>
                <a:gd name="connsiteY14" fmla="*/ 237678 h 237678"/>
                <a:gd name="connsiteX15" fmla="*/ 417195 w 1226819"/>
                <a:gd name="connsiteY15" fmla="*/ 237678 h 237678"/>
                <a:gd name="connsiteX16" fmla="*/ 449580 w 1226819"/>
                <a:gd name="connsiteY16" fmla="*/ 237678 h 237678"/>
                <a:gd name="connsiteX17" fmla="*/ 483870 w 1226819"/>
                <a:gd name="connsiteY17" fmla="*/ 237678 h 237678"/>
                <a:gd name="connsiteX18" fmla="*/ 520065 w 1226819"/>
                <a:gd name="connsiteY18" fmla="*/ 237678 h 237678"/>
                <a:gd name="connsiteX19" fmla="*/ 557213 w 1226819"/>
                <a:gd name="connsiteY19" fmla="*/ 237678 h 237678"/>
                <a:gd name="connsiteX20" fmla="*/ 595313 w 1226819"/>
                <a:gd name="connsiteY20" fmla="*/ 237678 h 237678"/>
                <a:gd name="connsiteX21" fmla="*/ 634365 w 1226819"/>
                <a:gd name="connsiteY21" fmla="*/ 237678 h 237678"/>
                <a:gd name="connsiteX22" fmla="*/ 672465 w 1226819"/>
                <a:gd name="connsiteY22" fmla="*/ 237678 h 237678"/>
                <a:gd name="connsiteX23" fmla="*/ 709613 w 1226819"/>
                <a:gd name="connsiteY23" fmla="*/ 237678 h 237678"/>
                <a:gd name="connsiteX24" fmla="*/ 744855 w 1226819"/>
                <a:gd name="connsiteY24" fmla="*/ 237678 h 237678"/>
                <a:gd name="connsiteX25" fmla="*/ 779145 w 1226819"/>
                <a:gd name="connsiteY25" fmla="*/ 237678 h 237678"/>
                <a:gd name="connsiteX26" fmla="*/ 811530 w 1226819"/>
                <a:gd name="connsiteY26" fmla="*/ 237678 h 237678"/>
                <a:gd name="connsiteX27" fmla="*/ 842010 w 1226819"/>
                <a:gd name="connsiteY27" fmla="*/ 237678 h 237678"/>
                <a:gd name="connsiteX28" fmla="*/ 869633 w 1226819"/>
                <a:gd name="connsiteY28" fmla="*/ 237678 h 237678"/>
                <a:gd name="connsiteX29" fmla="*/ 902018 w 1226819"/>
                <a:gd name="connsiteY29" fmla="*/ 237678 h 237678"/>
                <a:gd name="connsiteX30" fmla="*/ 934403 w 1226819"/>
                <a:gd name="connsiteY30" fmla="*/ 237678 h 237678"/>
                <a:gd name="connsiteX31" fmla="*/ 966788 w 1226819"/>
                <a:gd name="connsiteY31" fmla="*/ 237678 h 237678"/>
                <a:gd name="connsiteX32" fmla="*/ 1000125 w 1226819"/>
                <a:gd name="connsiteY32" fmla="*/ 237678 h 237678"/>
                <a:gd name="connsiteX33" fmla="*/ 1036320 w 1226819"/>
                <a:gd name="connsiteY33" fmla="*/ 237678 h 237678"/>
                <a:gd name="connsiteX34" fmla="*/ 1074420 w 1226819"/>
                <a:gd name="connsiteY34" fmla="*/ 237678 h 237678"/>
                <a:gd name="connsiteX35" fmla="*/ 1114425 w 1226819"/>
                <a:gd name="connsiteY35" fmla="*/ 237678 h 237678"/>
                <a:gd name="connsiteX36" fmla="*/ 1153478 w 1226819"/>
                <a:gd name="connsiteY36" fmla="*/ 237678 h 237678"/>
                <a:gd name="connsiteX37" fmla="*/ 1186815 w 1226819"/>
                <a:gd name="connsiteY37" fmla="*/ 237678 h 237678"/>
                <a:gd name="connsiteX38" fmla="*/ 1210628 w 1226819"/>
                <a:gd name="connsiteY38" fmla="*/ 237678 h 237678"/>
                <a:gd name="connsiteX39" fmla="*/ 1223010 w 1226819"/>
                <a:gd name="connsiteY39" fmla="*/ 237678 h 237678"/>
                <a:gd name="connsiteX40" fmla="*/ 1226820 w 1226819"/>
                <a:gd name="connsiteY40" fmla="*/ 237678 h 237678"/>
                <a:gd name="connsiteX41" fmla="*/ 1226820 w 1226819"/>
                <a:gd name="connsiteY41" fmla="*/ 237678 h 237678"/>
                <a:gd name="connsiteX42" fmla="*/ 1226820 w 1226819"/>
                <a:gd name="connsiteY42" fmla="*/ 0 h 237678"/>
                <a:gd name="connsiteX43" fmla="*/ 1225868 w 1226819"/>
                <a:gd name="connsiteY43" fmla="*/ 0 h 237678"/>
                <a:gd name="connsiteX44" fmla="*/ 1218248 w 1226819"/>
                <a:gd name="connsiteY44" fmla="*/ 0 h 237678"/>
                <a:gd name="connsiteX45" fmla="*/ 1200150 w 1226819"/>
                <a:gd name="connsiteY45" fmla="*/ 0 h 237678"/>
                <a:gd name="connsiteX46" fmla="*/ 1170623 w 1226819"/>
                <a:gd name="connsiteY46" fmla="*/ 0 h 237678"/>
                <a:gd name="connsiteX47" fmla="*/ 1134428 w 1226819"/>
                <a:gd name="connsiteY47" fmla="*/ 0 h 237678"/>
                <a:gd name="connsiteX48" fmla="*/ 1095375 w 1226819"/>
                <a:gd name="connsiteY48" fmla="*/ 0 h 237678"/>
                <a:gd name="connsiteX49" fmla="*/ 1055370 w 1226819"/>
                <a:gd name="connsiteY49" fmla="*/ 0 h 237678"/>
                <a:gd name="connsiteX50" fmla="*/ 1018223 w 1226819"/>
                <a:gd name="connsiteY50" fmla="*/ 0 h 237678"/>
                <a:gd name="connsiteX51" fmla="*/ 982980 w 1226819"/>
                <a:gd name="connsiteY51" fmla="*/ 0 h 237678"/>
                <a:gd name="connsiteX52" fmla="*/ 950595 w 1226819"/>
                <a:gd name="connsiteY52" fmla="*/ 0 h 237678"/>
                <a:gd name="connsiteX53" fmla="*/ 918210 w 1226819"/>
                <a:gd name="connsiteY53" fmla="*/ 0 h 237678"/>
                <a:gd name="connsiteX54" fmla="*/ 886778 w 1226819"/>
                <a:gd name="connsiteY54" fmla="*/ 0 h 237678"/>
                <a:gd name="connsiteX55" fmla="*/ 869633 w 1226819"/>
                <a:gd name="connsiteY55" fmla="*/ 0 h 237678"/>
                <a:gd name="connsiteX56" fmla="*/ 840105 w 1226819"/>
                <a:gd name="connsiteY56" fmla="*/ 0 h 237678"/>
                <a:gd name="connsiteX57" fmla="*/ 809625 w 1226819"/>
                <a:gd name="connsiteY57" fmla="*/ 0 h 237678"/>
                <a:gd name="connsiteX58" fmla="*/ 777240 w 1226819"/>
                <a:gd name="connsiteY58" fmla="*/ 0 h 237678"/>
                <a:gd name="connsiteX59" fmla="*/ 743903 w 1226819"/>
                <a:gd name="connsiteY59" fmla="*/ 0 h 237678"/>
                <a:gd name="connsiteX60" fmla="*/ 707708 w 1226819"/>
                <a:gd name="connsiteY60" fmla="*/ 0 h 237678"/>
                <a:gd name="connsiteX61" fmla="*/ 670560 w 1226819"/>
                <a:gd name="connsiteY61" fmla="*/ 0 h 237678"/>
                <a:gd name="connsiteX62" fmla="*/ 632460 w 1226819"/>
                <a:gd name="connsiteY62" fmla="*/ 0 h 237678"/>
                <a:gd name="connsiteX63" fmla="*/ 593408 w 1226819"/>
                <a:gd name="connsiteY63" fmla="*/ 0 h 237678"/>
                <a:gd name="connsiteX64" fmla="*/ 555308 w 1226819"/>
                <a:gd name="connsiteY64" fmla="*/ 0 h 237678"/>
                <a:gd name="connsiteX65" fmla="*/ 518160 w 1226819"/>
                <a:gd name="connsiteY65" fmla="*/ 0 h 237678"/>
                <a:gd name="connsiteX66" fmla="*/ 482918 w 1226819"/>
                <a:gd name="connsiteY66" fmla="*/ 0 h 237678"/>
                <a:gd name="connsiteX67" fmla="*/ 448628 w 1226819"/>
                <a:gd name="connsiteY67" fmla="*/ 0 h 237678"/>
                <a:gd name="connsiteX68" fmla="*/ 416243 w 1226819"/>
                <a:gd name="connsiteY68" fmla="*/ 0 h 237678"/>
                <a:gd name="connsiteX69" fmla="*/ 385763 w 1226819"/>
                <a:gd name="connsiteY69" fmla="*/ 0 h 237678"/>
                <a:gd name="connsiteX70" fmla="*/ 358140 w 1226819"/>
                <a:gd name="connsiteY70" fmla="*/ 0 h 237678"/>
                <a:gd name="connsiteX71" fmla="*/ 325755 w 1226819"/>
                <a:gd name="connsiteY71" fmla="*/ 0 h 237678"/>
                <a:gd name="connsiteX72" fmla="*/ 293370 w 1226819"/>
                <a:gd name="connsiteY72" fmla="*/ 0 h 237678"/>
                <a:gd name="connsiteX73" fmla="*/ 260985 w 1226819"/>
                <a:gd name="connsiteY73" fmla="*/ 0 h 237678"/>
                <a:gd name="connsiteX74" fmla="*/ 227648 w 1226819"/>
                <a:gd name="connsiteY74" fmla="*/ 0 h 237678"/>
                <a:gd name="connsiteX75" fmla="*/ 191453 w 1226819"/>
                <a:gd name="connsiteY75" fmla="*/ 0 h 237678"/>
                <a:gd name="connsiteX76" fmla="*/ 153353 w 1226819"/>
                <a:gd name="connsiteY76" fmla="*/ 0 h 237678"/>
                <a:gd name="connsiteX77" fmla="*/ 113348 w 1226819"/>
                <a:gd name="connsiteY77" fmla="*/ 0 h 237678"/>
                <a:gd name="connsiteX78" fmla="*/ 74295 w 1226819"/>
                <a:gd name="connsiteY78" fmla="*/ 0 h 237678"/>
                <a:gd name="connsiteX79" fmla="*/ 40958 w 1226819"/>
                <a:gd name="connsiteY79" fmla="*/ 0 h 237678"/>
                <a:gd name="connsiteX80" fmla="*/ 17145 w 1226819"/>
                <a:gd name="connsiteY80" fmla="*/ 0 h 237678"/>
                <a:gd name="connsiteX81" fmla="*/ 4763 w 1226819"/>
                <a:gd name="connsiteY81" fmla="*/ 0 h 237678"/>
                <a:gd name="connsiteX82" fmla="*/ 953 w 1226819"/>
                <a:gd name="connsiteY82" fmla="*/ 0 h 237678"/>
                <a:gd name="connsiteX83" fmla="*/ 0 w 1226819"/>
                <a:gd name="connsiteY83" fmla="*/ 0 h 237678"/>
                <a:gd name="connsiteX84" fmla="*/ 0 w 1226819"/>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7678">
                  <a:moveTo>
                    <a:pt x="0" y="237678"/>
                  </a:moveTo>
                  <a:lnTo>
                    <a:pt x="1905" y="237678"/>
                  </a:lnTo>
                  <a:lnTo>
                    <a:pt x="9525" y="237678"/>
                  </a:lnTo>
                  <a:lnTo>
                    <a:pt x="27623" y="237678"/>
                  </a:lnTo>
                  <a:lnTo>
                    <a:pt x="56198" y="237678"/>
                  </a:lnTo>
                  <a:lnTo>
                    <a:pt x="93345" y="237678"/>
                  </a:lnTo>
                  <a:lnTo>
                    <a:pt x="132398" y="237678"/>
                  </a:lnTo>
                  <a:lnTo>
                    <a:pt x="172403" y="237678"/>
                  </a:lnTo>
                  <a:lnTo>
                    <a:pt x="209550" y="237678"/>
                  </a:lnTo>
                  <a:lnTo>
                    <a:pt x="244793" y="237678"/>
                  </a:lnTo>
                  <a:lnTo>
                    <a:pt x="277178" y="237678"/>
                  </a:lnTo>
                  <a:lnTo>
                    <a:pt x="308610" y="237678"/>
                  </a:lnTo>
                  <a:lnTo>
                    <a:pt x="340995" y="237678"/>
                  </a:lnTo>
                  <a:lnTo>
                    <a:pt x="358140" y="237678"/>
                  </a:lnTo>
                  <a:lnTo>
                    <a:pt x="386715" y="237678"/>
                  </a:lnTo>
                  <a:lnTo>
                    <a:pt x="417195" y="237678"/>
                  </a:lnTo>
                  <a:lnTo>
                    <a:pt x="449580" y="237678"/>
                  </a:lnTo>
                  <a:lnTo>
                    <a:pt x="483870" y="237678"/>
                  </a:lnTo>
                  <a:lnTo>
                    <a:pt x="520065" y="237678"/>
                  </a:lnTo>
                  <a:lnTo>
                    <a:pt x="557213" y="237678"/>
                  </a:lnTo>
                  <a:lnTo>
                    <a:pt x="595313" y="237678"/>
                  </a:lnTo>
                  <a:lnTo>
                    <a:pt x="634365" y="237678"/>
                  </a:lnTo>
                  <a:lnTo>
                    <a:pt x="672465" y="237678"/>
                  </a:lnTo>
                  <a:lnTo>
                    <a:pt x="709613" y="237678"/>
                  </a:lnTo>
                  <a:lnTo>
                    <a:pt x="744855" y="237678"/>
                  </a:lnTo>
                  <a:lnTo>
                    <a:pt x="779145" y="237678"/>
                  </a:lnTo>
                  <a:lnTo>
                    <a:pt x="811530" y="237678"/>
                  </a:lnTo>
                  <a:lnTo>
                    <a:pt x="842010" y="237678"/>
                  </a:lnTo>
                  <a:lnTo>
                    <a:pt x="869633" y="237678"/>
                  </a:lnTo>
                  <a:lnTo>
                    <a:pt x="902018" y="237678"/>
                  </a:lnTo>
                  <a:lnTo>
                    <a:pt x="934403" y="237678"/>
                  </a:lnTo>
                  <a:lnTo>
                    <a:pt x="966788" y="237678"/>
                  </a:lnTo>
                  <a:lnTo>
                    <a:pt x="1000125" y="237678"/>
                  </a:lnTo>
                  <a:lnTo>
                    <a:pt x="1036320" y="237678"/>
                  </a:lnTo>
                  <a:lnTo>
                    <a:pt x="1074420" y="237678"/>
                  </a:lnTo>
                  <a:lnTo>
                    <a:pt x="1114425" y="237678"/>
                  </a:lnTo>
                  <a:lnTo>
                    <a:pt x="1153478" y="237678"/>
                  </a:lnTo>
                  <a:lnTo>
                    <a:pt x="1186815" y="237678"/>
                  </a:lnTo>
                  <a:lnTo>
                    <a:pt x="1210628" y="237678"/>
                  </a:lnTo>
                  <a:lnTo>
                    <a:pt x="1223010" y="237678"/>
                  </a:lnTo>
                  <a:lnTo>
                    <a:pt x="1226820" y="237678"/>
                  </a:lnTo>
                  <a:lnTo>
                    <a:pt x="1226820" y="23767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7678"/>
                  </a:lnTo>
                  <a:close/>
                </a:path>
              </a:pathLst>
            </a:custGeom>
            <a:solidFill>
              <a:srgbClr val="BBBDBF">
                <a:alpha val="60000"/>
              </a:srgbClr>
            </a:solidFill>
            <a:ln w="9525" cap="flat">
              <a:noFill/>
              <a:prstDash val="solid"/>
              <a:miter/>
            </a:ln>
          </p:spPr>
          <p:txBody>
            <a:bodyPr rtlCol="0" anchor="ctr"/>
            <a:lstStyle/>
            <a:p>
              <a:endParaRPr lang="en-US" sz="1050"/>
            </a:p>
          </p:txBody>
        </p:sp>
        <p:sp>
          <p:nvSpPr>
            <p:cNvPr id="190" name="Freeform 242">
              <a:extLst>
                <a:ext uri="{FF2B5EF4-FFF2-40B4-BE49-F238E27FC236}">
                  <a16:creationId xmlns:a16="http://schemas.microsoft.com/office/drawing/2014/main" id="{99F28DEC-1354-2252-4262-6B892A676EFC}"/>
                </a:ext>
              </a:extLst>
            </p:cNvPr>
            <p:cNvSpPr/>
            <p:nvPr/>
          </p:nvSpPr>
          <p:spPr>
            <a:xfrm>
              <a:off x="3987133" y="3639743"/>
              <a:ext cx="1226819" cy="237678"/>
            </a:xfrm>
            <a:custGeom>
              <a:avLst/>
              <a:gdLst>
                <a:gd name="connsiteX0" fmla="*/ 0 w 1226819"/>
                <a:gd name="connsiteY0" fmla="*/ 237678 h 237678"/>
                <a:gd name="connsiteX1" fmla="*/ 1905 w 1226819"/>
                <a:gd name="connsiteY1" fmla="*/ 237678 h 237678"/>
                <a:gd name="connsiteX2" fmla="*/ 9525 w 1226819"/>
                <a:gd name="connsiteY2" fmla="*/ 237678 h 237678"/>
                <a:gd name="connsiteX3" fmla="*/ 27623 w 1226819"/>
                <a:gd name="connsiteY3" fmla="*/ 237678 h 237678"/>
                <a:gd name="connsiteX4" fmla="*/ 56198 w 1226819"/>
                <a:gd name="connsiteY4" fmla="*/ 237678 h 237678"/>
                <a:gd name="connsiteX5" fmla="*/ 93345 w 1226819"/>
                <a:gd name="connsiteY5" fmla="*/ 237678 h 237678"/>
                <a:gd name="connsiteX6" fmla="*/ 132398 w 1226819"/>
                <a:gd name="connsiteY6" fmla="*/ 237678 h 237678"/>
                <a:gd name="connsiteX7" fmla="*/ 172403 w 1226819"/>
                <a:gd name="connsiteY7" fmla="*/ 237678 h 237678"/>
                <a:gd name="connsiteX8" fmla="*/ 209550 w 1226819"/>
                <a:gd name="connsiteY8" fmla="*/ 237678 h 237678"/>
                <a:gd name="connsiteX9" fmla="*/ 244793 w 1226819"/>
                <a:gd name="connsiteY9" fmla="*/ 237678 h 237678"/>
                <a:gd name="connsiteX10" fmla="*/ 277178 w 1226819"/>
                <a:gd name="connsiteY10" fmla="*/ 237678 h 237678"/>
                <a:gd name="connsiteX11" fmla="*/ 308610 w 1226819"/>
                <a:gd name="connsiteY11" fmla="*/ 237678 h 237678"/>
                <a:gd name="connsiteX12" fmla="*/ 340995 w 1226819"/>
                <a:gd name="connsiteY12" fmla="*/ 237678 h 237678"/>
                <a:gd name="connsiteX13" fmla="*/ 358140 w 1226819"/>
                <a:gd name="connsiteY13" fmla="*/ 237678 h 237678"/>
                <a:gd name="connsiteX14" fmla="*/ 386715 w 1226819"/>
                <a:gd name="connsiteY14" fmla="*/ 237678 h 237678"/>
                <a:gd name="connsiteX15" fmla="*/ 417195 w 1226819"/>
                <a:gd name="connsiteY15" fmla="*/ 237678 h 237678"/>
                <a:gd name="connsiteX16" fmla="*/ 449580 w 1226819"/>
                <a:gd name="connsiteY16" fmla="*/ 237678 h 237678"/>
                <a:gd name="connsiteX17" fmla="*/ 483870 w 1226819"/>
                <a:gd name="connsiteY17" fmla="*/ 237678 h 237678"/>
                <a:gd name="connsiteX18" fmla="*/ 520065 w 1226819"/>
                <a:gd name="connsiteY18" fmla="*/ 237678 h 237678"/>
                <a:gd name="connsiteX19" fmla="*/ 557213 w 1226819"/>
                <a:gd name="connsiteY19" fmla="*/ 237678 h 237678"/>
                <a:gd name="connsiteX20" fmla="*/ 595313 w 1226819"/>
                <a:gd name="connsiteY20" fmla="*/ 237678 h 237678"/>
                <a:gd name="connsiteX21" fmla="*/ 634365 w 1226819"/>
                <a:gd name="connsiteY21" fmla="*/ 237678 h 237678"/>
                <a:gd name="connsiteX22" fmla="*/ 672465 w 1226819"/>
                <a:gd name="connsiteY22" fmla="*/ 237678 h 237678"/>
                <a:gd name="connsiteX23" fmla="*/ 709613 w 1226819"/>
                <a:gd name="connsiteY23" fmla="*/ 237678 h 237678"/>
                <a:gd name="connsiteX24" fmla="*/ 744855 w 1226819"/>
                <a:gd name="connsiteY24" fmla="*/ 237678 h 237678"/>
                <a:gd name="connsiteX25" fmla="*/ 779145 w 1226819"/>
                <a:gd name="connsiteY25" fmla="*/ 237678 h 237678"/>
                <a:gd name="connsiteX26" fmla="*/ 811530 w 1226819"/>
                <a:gd name="connsiteY26" fmla="*/ 237678 h 237678"/>
                <a:gd name="connsiteX27" fmla="*/ 842010 w 1226819"/>
                <a:gd name="connsiteY27" fmla="*/ 237678 h 237678"/>
                <a:gd name="connsiteX28" fmla="*/ 869633 w 1226819"/>
                <a:gd name="connsiteY28" fmla="*/ 237678 h 237678"/>
                <a:gd name="connsiteX29" fmla="*/ 902018 w 1226819"/>
                <a:gd name="connsiteY29" fmla="*/ 237678 h 237678"/>
                <a:gd name="connsiteX30" fmla="*/ 934403 w 1226819"/>
                <a:gd name="connsiteY30" fmla="*/ 237678 h 237678"/>
                <a:gd name="connsiteX31" fmla="*/ 966788 w 1226819"/>
                <a:gd name="connsiteY31" fmla="*/ 237678 h 237678"/>
                <a:gd name="connsiteX32" fmla="*/ 1000125 w 1226819"/>
                <a:gd name="connsiteY32" fmla="*/ 237678 h 237678"/>
                <a:gd name="connsiteX33" fmla="*/ 1036320 w 1226819"/>
                <a:gd name="connsiteY33" fmla="*/ 237678 h 237678"/>
                <a:gd name="connsiteX34" fmla="*/ 1074420 w 1226819"/>
                <a:gd name="connsiteY34" fmla="*/ 237678 h 237678"/>
                <a:gd name="connsiteX35" fmla="*/ 1114425 w 1226819"/>
                <a:gd name="connsiteY35" fmla="*/ 237678 h 237678"/>
                <a:gd name="connsiteX36" fmla="*/ 1153478 w 1226819"/>
                <a:gd name="connsiteY36" fmla="*/ 237678 h 237678"/>
                <a:gd name="connsiteX37" fmla="*/ 1186815 w 1226819"/>
                <a:gd name="connsiteY37" fmla="*/ 237678 h 237678"/>
                <a:gd name="connsiteX38" fmla="*/ 1210628 w 1226819"/>
                <a:gd name="connsiteY38" fmla="*/ 237678 h 237678"/>
                <a:gd name="connsiteX39" fmla="*/ 1223010 w 1226819"/>
                <a:gd name="connsiteY39" fmla="*/ 237678 h 237678"/>
                <a:gd name="connsiteX40" fmla="*/ 1226820 w 1226819"/>
                <a:gd name="connsiteY40" fmla="*/ 237678 h 237678"/>
                <a:gd name="connsiteX41" fmla="*/ 1226820 w 1226819"/>
                <a:gd name="connsiteY41" fmla="*/ 237678 h 237678"/>
                <a:gd name="connsiteX42" fmla="*/ 1226820 w 1226819"/>
                <a:gd name="connsiteY42" fmla="*/ 0 h 237678"/>
                <a:gd name="connsiteX43" fmla="*/ 1225868 w 1226819"/>
                <a:gd name="connsiteY43" fmla="*/ 0 h 237678"/>
                <a:gd name="connsiteX44" fmla="*/ 1218248 w 1226819"/>
                <a:gd name="connsiteY44" fmla="*/ 0 h 237678"/>
                <a:gd name="connsiteX45" fmla="*/ 1200150 w 1226819"/>
                <a:gd name="connsiteY45" fmla="*/ 0 h 237678"/>
                <a:gd name="connsiteX46" fmla="*/ 1170623 w 1226819"/>
                <a:gd name="connsiteY46" fmla="*/ 0 h 237678"/>
                <a:gd name="connsiteX47" fmla="*/ 1134428 w 1226819"/>
                <a:gd name="connsiteY47" fmla="*/ 0 h 237678"/>
                <a:gd name="connsiteX48" fmla="*/ 1095375 w 1226819"/>
                <a:gd name="connsiteY48" fmla="*/ 0 h 237678"/>
                <a:gd name="connsiteX49" fmla="*/ 1055370 w 1226819"/>
                <a:gd name="connsiteY49" fmla="*/ 0 h 237678"/>
                <a:gd name="connsiteX50" fmla="*/ 1018223 w 1226819"/>
                <a:gd name="connsiteY50" fmla="*/ 0 h 237678"/>
                <a:gd name="connsiteX51" fmla="*/ 982980 w 1226819"/>
                <a:gd name="connsiteY51" fmla="*/ 0 h 237678"/>
                <a:gd name="connsiteX52" fmla="*/ 950595 w 1226819"/>
                <a:gd name="connsiteY52" fmla="*/ 0 h 237678"/>
                <a:gd name="connsiteX53" fmla="*/ 918210 w 1226819"/>
                <a:gd name="connsiteY53" fmla="*/ 0 h 237678"/>
                <a:gd name="connsiteX54" fmla="*/ 886778 w 1226819"/>
                <a:gd name="connsiteY54" fmla="*/ 0 h 237678"/>
                <a:gd name="connsiteX55" fmla="*/ 869633 w 1226819"/>
                <a:gd name="connsiteY55" fmla="*/ 0 h 237678"/>
                <a:gd name="connsiteX56" fmla="*/ 840105 w 1226819"/>
                <a:gd name="connsiteY56" fmla="*/ 0 h 237678"/>
                <a:gd name="connsiteX57" fmla="*/ 809625 w 1226819"/>
                <a:gd name="connsiteY57" fmla="*/ 0 h 237678"/>
                <a:gd name="connsiteX58" fmla="*/ 777240 w 1226819"/>
                <a:gd name="connsiteY58" fmla="*/ 0 h 237678"/>
                <a:gd name="connsiteX59" fmla="*/ 743903 w 1226819"/>
                <a:gd name="connsiteY59" fmla="*/ 0 h 237678"/>
                <a:gd name="connsiteX60" fmla="*/ 707708 w 1226819"/>
                <a:gd name="connsiteY60" fmla="*/ 0 h 237678"/>
                <a:gd name="connsiteX61" fmla="*/ 670560 w 1226819"/>
                <a:gd name="connsiteY61" fmla="*/ 0 h 237678"/>
                <a:gd name="connsiteX62" fmla="*/ 632460 w 1226819"/>
                <a:gd name="connsiteY62" fmla="*/ 0 h 237678"/>
                <a:gd name="connsiteX63" fmla="*/ 593408 w 1226819"/>
                <a:gd name="connsiteY63" fmla="*/ 0 h 237678"/>
                <a:gd name="connsiteX64" fmla="*/ 555308 w 1226819"/>
                <a:gd name="connsiteY64" fmla="*/ 0 h 237678"/>
                <a:gd name="connsiteX65" fmla="*/ 518160 w 1226819"/>
                <a:gd name="connsiteY65" fmla="*/ 0 h 237678"/>
                <a:gd name="connsiteX66" fmla="*/ 482918 w 1226819"/>
                <a:gd name="connsiteY66" fmla="*/ 0 h 237678"/>
                <a:gd name="connsiteX67" fmla="*/ 448628 w 1226819"/>
                <a:gd name="connsiteY67" fmla="*/ 0 h 237678"/>
                <a:gd name="connsiteX68" fmla="*/ 416243 w 1226819"/>
                <a:gd name="connsiteY68" fmla="*/ 0 h 237678"/>
                <a:gd name="connsiteX69" fmla="*/ 385763 w 1226819"/>
                <a:gd name="connsiteY69" fmla="*/ 0 h 237678"/>
                <a:gd name="connsiteX70" fmla="*/ 358140 w 1226819"/>
                <a:gd name="connsiteY70" fmla="*/ 0 h 237678"/>
                <a:gd name="connsiteX71" fmla="*/ 325755 w 1226819"/>
                <a:gd name="connsiteY71" fmla="*/ 0 h 237678"/>
                <a:gd name="connsiteX72" fmla="*/ 293370 w 1226819"/>
                <a:gd name="connsiteY72" fmla="*/ 0 h 237678"/>
                <a:gd name="connsiteX73" fmla="*/ 260985 w 1226819"/>
                <a:gd name="connsiteY73" fmla="*/ 0 h 237678"/>
                <a:gd name="connsiteX74" fmla="*/ 227648 w 1226819"/>
                <a:gd name="connsiteY74" fmla="*/ 0 h 237678"/>
                <a:gd name="connsiteX75" fmla="*/ 191453 w 1226819"/>
                <a:gd name="connsiteY75" fmla="*/ 0 h 237678"/>
                <a:gd name="connsiteX76" fmla="*/ 153353 w 1226819"/>
                <a:gd name="connsiteY76" fmla="*/ 0 h 237678"/>
                <a:gd name="connsiteX77" fmla="*/ 113348 w 1226819"/>
                <a:gd name="connsiteY77" fmla="*/ 0 h 237678"/>
                <a:gd name="connsiteX78" fmla="*/ 74295 w 1226819"/>
                <a:gd name="connsiteY78" fmla="*/ 0 h 237678"/>
                <a:gd name="connsiteX79" fmla="*/ 40958 w 1226819"/>
                <a:gd name="connsiteY79" fmla="*/ 0 h 237678"/>
                <a:gd name="connsiteX80" fmla="*/ 17145 w 1226819"/>
                <a:gd name="connsiteY80" fmla="*/ 0 h 237678"/>
                <a:gd name="connsiteX81" fmla="*/ 4763 w 1226819"/>
                <a:gd name="connsiteY81" fmla="*/ 0 h 237678"/>
                <a:gd name="connsiteX82" fmla="*/ 953 w 1226819"/>
                <a:gd name="connsiteY82" fmla="*/ 0 h 237678"/>
                <a:gd name="connsiteX83" fmla="*/ 0 w 1226819"/>
                <a:gd name="connsiteY83" fmla="*/ 0 h 237678"/>
                <a:gd name="connsiteX84" fmla="*/ 0 w 1226819"/>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7678">
                  <a:moveTo>
                    <a:pt x="0" y="237678"/>
                  </a:moveTo>
                  <a:lnTo>
                    <a:pt x="1905" y="237678"/>
                  </a:lnTo>
                  <a:lnTo>
                    <a:pt x="9525" y="237678"/>
                  </a:lnTo>
                  <a:lnTo>
                    <a:pt x="27623" y="237678"/>
                  </a:lnTo>
                  <a:lnTo>
                    <a:pt x="56198" y="237678"/>
                  </a:lnTo>
                  <a:lnTo>
                    <a:pt x="93345" y="237678"/>
                  </a:lnTo>
                  <a:lnTo>
                    <a:pt x="132398" y="237678"/>
                  </a:lnTo>
                  <a:lnTo>
                    <a:pt x="172403" y="237678"/>
                  </a:lnTo>
                  <a:lnTo>
                    <a:pt x="209550" y="237678"/>
                  </a:lnTo>
                  <a:lnTo>
                    <a:pt x="244793" y="237678"/>
                  </a:lnTo>
                  <a:lnTo>
                    <a:pt x="277178" y="237678"/>
                  </a:lnTo>
                  <a:lnTo>
                    <a:pt x="308610" y="237678"/>
                  </a:lnTo>
                  <a:lnTo>
                    <a:pt x="340995" y="237678"/>
                  </a:lnTo>
                  <a:lnTo>
                    <a:pt x="358140" y="237678"/>
                  </a:lnTo>
                  <a:lnTo>
                    <a:pt x="386715" y="237678"/>
                  </a:lnTo>
                  <a:lnTo>
                    <a:pt x="417195" y="237678"/>
                  </a:lnTo>
                  <a:lnTo>
                    <a:pt x="449580" y="237678"/>
                  </a:lnTo>
                  <a:lnTo>
                    <a:pt x="483870" y="237678"/>
                  </a:lnTo>
                  <a:lnTo>
                    <a:pt x="520065" y="237678"/>
                  </a:lnTo>
                  <a:lnTo>
                    <a:pt x="557213" y="237678"/>
                  </a:lnTo>
                  <a:lnTo>
                    <a:pt x="595313" y="237678"/>
                  </a:lnTo>
                  <a:lnTo>
                    <a:pt x="634365" y="237678"/>
                  </a:lnTo>
                  <a:lnTo>
                    <a:pt x="672465" y="237678"/>
                  </a:lnTo>
                  <a:lnTo>
                    <a:pt x="709613" y="237678"/>
                  </a:lnTo>
                  <a:lnTo>
                    <a:pt x="744855" y="237678"/>
                  </a:lnTo>
                  <a:lnTo>
                    <a:pt x="779145" y="237678"/>
                  </a:lnTo>
                  <a:lnTo>
                    <a:pt x="811530" y="237678"/>
                  </a:lnTo>
                  <a:lnTo>
                    <a:pt x="842010" y="237678"/>
                  </a:lnTo>
                  <a:lnTo>
                    <a:pt x="869633" y="237678"/>
                  </a:lnTo>
                  <a:lnTo>
                    <a:pt x="902018" y="237678"/>
                  </a:lnTo>
                  <a:lnTo>
                    <a:pt x="934403" y="237678"/>
                  </a:lnTo>
                  <a:lnTo>
                    <a:pt x="966788" y="237678"/>
                  </a:lnTo>
                  <a:lnTo>
                    <a:pt x="1000125" y="237678"/>
                  </a:lnTo>
                  <a:lnTo>
                    <a:pt x="1036320" y="237678"/>
                  </a:lnTo>
                  <a:lnTo>
                    <a:pt x="1074420" y="237678"/>
                  </a:lnTo>
                  <a:lnTo>
                    <a:pt x="1114425" y="237678"/>
                  </a:lnTo>
                  <a:lnTo>
                    <a:pt x="1153478" y="237678"/>
                  </a:lnTo>
                  <a:lnTo>
                    <a:pt x="1186815" y="237678"/>
                  </a:lnTo>
                  <a:lnTo>
                    <a:pt x="1210628" y="237678"/>
                  </a:lnTo>
                  <a:lnTo>
                    <a:pt x="1223010" y="237678"/>
                  </a:lnTo>
                  <a:lnTo>
                    <a:pt x="1226820" y="237678"/>
                  </a:lnTo>
                  <a:lnTo>
                    <a:pt x="1226820" y="23767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7678"/>
                  </a:lnTo>
                  <a:close/>
                </a:path>
              </a:pathLst>
            </a:custGeom>
            <a:noFill/>
            <a:ln w="9525" cap="flat">
              <a:solidFill>
                <a:srgbClr val="BBBDBF"/>
              </a:solidFill>
              <a:prstDash val="solid"/>
              <a:miter/>
            </a:ln>
          </p:spPr>
          <p:txBody>
            <a:bodyPr rtlCol="0" anchor="ctr"/>
            <a:lstStyle/>
            <a:p>
              <a:endParaRPr lang="en-US" sz="1050"/>
            </a:p>
          </p:txBody>
        </p:sp>
        <p:sp>
          <p:nvSpPr>
            <p:cNvPr id="191" name="Freeform 243">
              <a:extLst>
                <a:ext uri="{FF2B5EF4-FFF2-40B4-BE49-F238E27FC236}">
                  <a16:creationId xmlns:a16="http://schemas.microsoft.com/office/drawing/2014/main" id="{43548869-23BD-0C0C-1E6F-0B2B21657369}"/>
                </a:ext>
              </a:extLst>
            </p:cNvPr>
            <p:cNvSpPr/>
            <p:nvPr/>
          </p:nvSpPr>
          <p:spPr>
            <a:xfrm>
              <a:off x="3987133" y="3877421"/>
              <a:ext cx="1226819" cy="237678"/>
            </a:xfrm>
            <a:custGeom>
              <a:avLst/>
              <a:gdLst>
                <a:gd name="connsiteX0" fmla="*/ 0 w 1226819"/>
                <a:gd name="connsiteY0" fmla="*/ 237678 h 237678"/>
                <a:gd name="connsiteX1" fmla="*/ 1905 w 1226819"/>
                <a:gd name="connsiteY1" fmla="*/ 237678 h 237678"/>
                <a:gd name="connsiteX2" fmla="*/ 9525 w 1226819"/>
                <a:gd name="connsiteY2" fmla="*/ 237678 h 237678"/>
                <a:gd name="connsiteX3" fmla="*/ 27623 w 1226819"/>
                <a:gd name="connsiteY3" fmla="*/ 237678 h 237678"/>
                <a:gd name="connsiteX4" fmla="*/ 56198 w 1226819"/>
                <a:gd name="connsiteY4" fmla="*/ 237678 h 237678"/>
                <a:gd name="connsiteX5" fmla="*/ 93345 w 1226819"/>
                <a:gd name="connsiteY5" fmla="*/ 237678 h 237678"/>
                <a:gd name="connsiteX6" fmla="*/ 132398 w 1226819"/>
                <a:gd name="connsiteY6" fmla="*/ 237678 h 237678"/>
                <a:gd name="connsiteX7" fmla="*/ 172403 w 1226819"/>
                <a:gd name="connsiteY7" fmla="*/ 237678 h 237678"/>
                <a:gd name="connsiteX8" fmla="*/ 209550 w 1226819"/>
                <a:gd name="connsiteY8" fmla="*/ 237678 h 237678"/>
                <a:gd name="connsiteX9" fmla="*/ 244793 w 1226819"/>
                <a:gd name="connsiteY9" fmla="*/ 237678 h 237678"/>
                <a:gd name="connsiteX10" fmla="*/ 277178 w 1226819"/>
                <a:gd name="connsiteY10" fmla="*/ 237678 h 237678"/>
                <a:gd name="connsiteX11" fmla="*/ 308610 w 1226819"/>
                <a:gd name="connsiteY11" fmla="*/ 237678 h 237678"/>
                <a:gd name="connsiteX12" fmla="*/ 340995 w 1226819"/>
                <a:gd name="connsiteY12" fmla="*/ 237678 h 237678"/>
                <a:gd name="connsiteX13" fmla="*/ 358140 w 1226819"/>
                <a:gd name="connsiteY13" fmla="*/ 237678 h 237678"/>
                <a:gd name="connsiteX14" fmla="*/ 386715 w 1226819"/>
                <a:gd name="connsiteY14" fmla="*/ 237678 h 237678"/>
                <a:gd name="connsiteX15" fmla="*/ 417195 w 1226819"/>
                <a:gd name="connsiteY15" fmla="*/ 237678 h 237678"/>
                <a:gd name="connsiteX16" fmla="*/ 449580 w 1226819"/>
                <a:gd name="connsiteY16" fmla="*/ 237678 h 237678"/>
                <a:gd name="connsiteX17" fmla="*/ 483870 w 1226819"/>
                <a:gd name="connsiteY17" fmla="*/ 237678 h 237678"/>
                <a:gd name="connsiteX18" fmla="*/ 520065 w 1226819"/>
                <a:gd name="connsiteY18" fmla="*/ 237678 h 237678"/>
                <a:gd name="connsiteX19" fmla="*/ 557213 w 1226819"/>
                <a:gd name="connsiteY19" fmla="*/ 237678 h 237678"/>
                <a:gd name="connsiteX20" fmla="*/ 595313 w 1226819"/>
                <a:gd name="connsiteY20" fmla="*/ 237678 h 237678"/>
                <a:gd name="connsiteX21" fmla="*/ 634365 w 1226819"/>
                <a:gd name="connsiteY21" fmla="*/ 237678 h 237678"/>
                <a:gd name="connsiteX22" fmla="*/ 672465 w 1226819"/>
                <a:gd name="connsiteY22" fmla="*/ 237678 h 237678"/>
                <a:gd name="connsiteX23" fmla="*/ 709613 w 1226819"/>
                <a:gd name="connsiteY23" fmla="*/ 237678 h 237678"/>
                <a:gd name="connsiteX24" fmla="*/ 744855 w 1226819"/>
                <a:gd name="connsiteY24" fmla="*/ 237678 h 237678"/>
                <a:gd name="connsiteX25" fmla="*/ 779145 w 1226819"/>
                <a:gd name="connsiteY25" fmla="*/ 237678 h 237678"/>
                <a:gd name="connsiteX26" fmla="*/ 811530 w 1226819"/>
                <a:gd name="connsiteY26" fmla="*/ 237678 h 237678"/>
                <a:gd name="connsiteX27" fmla="*/ 842010 w 1226819"/>
                <a:gd name="connsiteY27" fmla="*/ 237678 h 237678"/>
                <a:gd name="connsiteX28" fmla="*/ 869633 w 1226819"/>
                <a:gd name="connsiteY28" fmla="*/ 237678 h 237678"/>
                <a:gd name="connsiteX29" fmla="*/ 902018 w 1226819"/>
                <a:gd name="connsiteY29" fmla="*/ 237678 h 237678"/>
                <a:gd name="connsiteX30" fmla="*/ 934403 w 1226819"/>
                <a:gd name="connsiteY30" fmla="*/ 237678 h 237678"/>
                <a:gd name="connsiteX31" fmla="*/ 966788 w 1226819"/>
                <a:gd name="connsiteY31" fmla="*/ 237678 h 237678"/>
                <a:gd name="connsiteX32" fmla="*/ 1000125 w 1226819"/>
                <a:gd name="connsiteY32" fmla="*/ 237678 h 237678"/>
                <a:gd name="connsiteX33" fmla="*/ 1036320 w 1226819"/>
                <a:gd name="connsiteY33" fmla="*/ 237678 h 237678"/>
                <a:gd name="connsiteX34" fmla="*/ 1074420 w 1226819"/>
                <a:gd name="connsiteY34" fmla="*/ 237678 h 237678"/>
                <a:gd name="connsiteX35" fmla="*/ 1114425 w 1226819"/>
                <a:gd name="connsiteY35" fmla="*/ 237678 h 237678"/>
                <a:gd name="connsiteX36" fmla="*/ 1153478 w 1226819"/>
                <a:gd name="connsiteY36" fmla="*/ 237678 h 237678"/>
                <a:gd name="connsiteX37" fmla="*/ 1186815 w 1226819"/>
                <a:gd name="connsiteY37" fmla="*/ 237678 h 237678"/>
                <a:gd name="connsiteX38" fmla="*/ 1210628 w 1226819"/>
                <a:gd name="connsiteY38" fmla="*/ 237678 h 237678"/>
                <a:gd name="connsiteX39" fmla="*/ 1223010 w 1226819"/>
                <a:gd name="connsiteY39" fmla="*/ 237678 h 237678"/>
                <a:gd name="connsiteX40" fmla="*/ 1226820 w 1226819"/>
                <a:gd name="connsiteY40" fmla="*/ 237678 h 237678"/>
                <a:gd name="connsiteX41" fmla="*/ 1226820 w 1226819"/>
                <a:gd name="connsiteY41" fmla="*/ 237678 h 237678"/>
                <a:gd name="connsiteX42" fmla="*/ 1226820 w 1226819"/>
                <a:gd name="connsiteY42" fmla="*/ 0 h 237678"/>
                <a:gd name="connsiteX43" fmla="*/ 1225868 w 1226819"/>
                <a:gd name="connsiteY43" fmla="*/ 0 h 237678"/>
                <a:gd name="connsiteX44" fmla="*/ 1218248 w 1226819"/>
                <a:gd name="connsiteY44" fmla="*/ 0 h 237678"/>
                <a:gd name="connsiteX45" fmla="*/ 1200150 w 1226819"/>
                <a:gd name="connsiteY45" fmla="*/ 0 h 237678"/>
                <a:gd name="connsiteX46" fmla="*/ 1170623 w 1226819"/>
                <a:gd name="connsiteY46" fmla="*/ 0 h 237678"/>
                <a:gd name="connsiteX47" fmla="*/ 1134428 w 1226819"/>
                <a:gd name="connsiteY47" fmla="*/ 0 h 237678"/>
                <a:gd name="connsiteX48" fmla="*/ 1095375 w 1226819"/>
                <a:gd name="connsiteY48" fmla="*/ 0 h 237678"/>
                <a:gd name="connsiteX49" fmla="*/ 1055370 w 1226819"/>
                <a:gd name="connsiteY49" fmla="*/ 0 h 237678"/>
                <a:gd name="connsiteX50" fmla="*/ 1018223 w 1226819"/>
                <a:gd name="connsiteY50" fmla="*/ 0 h 237678"/>
                <a:gd name="connsiteX51" fmla="*/ 982980 w 1226819"/>
                <a:gd name="connsiteY51" fmla="*/ 0 h 237678"/>
                <a:gd name="connsiteX52" fmla="*/ 950595 w 1226819"/>
                <a:gd name="connsiteY52" fmla="*/ 0 h 237678"/>
                <a:gd name="connsiteX53" fmla="*/ 918210 w 1226819"/>
                <a:gd name="connsiteY53" fmla="*/ 0 h 237678"/>
                <a:gd name="connsiteX54" fmla="*/ 886778 w 1226819"/>
                <a:gd name="connsiteY54" fmla="*/ 0 h 237678"/>
                <a:gd name="connsiteX55" fmla="*/ 869633 w 1226819"/>
                <a:gd name="connsiteY55" fmla="*/ 0 h 237678"/>
                <a:gd name="connsiteX56" fmla="*/ 840105 w 1226819"/>
                <a:gd name="connsiteY56" fmla="*/ 0 h 237678"/>
                <a:gd name="connsiteX57" fmla="*/ 809625 w 1226819"/>
                <a:gd name="connsiteY57" fmla="*/ 0 h 237678"/>
                <a:gd name="connsiteX58" fmla="*/ 777240 w 1226819"/>
                <a:gd name="connsiteY58" fmla="*/ 0 h 237678"/>
                <a:gd name="connsiteX59" fmla="*/ 743903 w 1226819"/>
                <a:gd name="connsiteY59" fmla="*/ 0 h 237678"/>
                <a:gd name="connsiteX60" fmla="*/ 707708 w 1226819"/>
                <a:gd name="connsiteY60" fmla="*/ 0 h 237678"/>
                <a:gd name="connsiteX61" fmla="*/ 670560 w 1226819"/>
                <a:gd name="connsiteY61" fmla="*/ 0 h 237678"/>
                <a:gd name="connsiteX62" fmla="*/ 632460 w 1226819"/>
                <a:gd name="connsiteY62" fmla="*/ 0 h 237678"/>
                <a:gd name="connsiteX63" fmla="*/ 593408 w 1226819"/>
                <a:gd name="connsiteY63" fmla="*/ 0 h 237678"/>
                <a:gd name="connsiteX64" fmla="*/ 555308 w 1226819"/>
                <a:gd name="connsiteY64" fmla="*/ 0 h 237678"/>
                <a:gd name="connsiteX65" fmla="*/ 518160 w 1226819"/>
                <a:gd name="connsiteY65" fmla="*/ 0 h 237678"/>
                <a:gd name="connsiteX66" fmla="*/ 482918 w 1226819"/>
                <a:gd name="connsiteY66" fmla="*/ 0 h 237678"/>
                <a:gd name="connsiteX67" fmla="*/ 448628 w 1226819"/>
                <a:gd name="connsiteY67" fmla="*/ 0 h 237678"/>
                <a:gd name="connsiteX68" fmla="*/ 416243 w 1226819"/>
                <a:gd name="connsiteY68" fmla="*/ 0 h 237678"/>
                <a:gd name="connsiteX69" fmla="*/ 385763 w 1226819"/>
                <a:gd name="connsiteY69" fmla="*/ 0 h 237678"/>
                <a:gd name="connsiteX70" fmla="*/ 358140 w 1226819"/>
                <a:gd name="connsiteY70" fmla="*/ 0 h 237678"/>
                <a:gd name="connsiteX71" fmla="*/ 325755 w 1226819"/>
                <a:gd name="connsiteY71" fmla="*/ 0 h 237678"/>
                <a:gd name="connsiteX72" fmla="*/ 293370 w 1226819"/>
                <a:gd name="connsiteY72" fmla="*/ 0 h 237678"/>
                <a:gd name="connsiteX73" fmla="*/ 260985 w 1226819"/>
                <a:gd name="connsiteY73" fmla="*/ 0 h 237678"/>
                <a:gd name="connsiteX74" fmla="*/ 227648 w 1226819"/>
                <a:gd name="connsiteY74" fmla="*/ 0 h 237678"/>
                <a:gd name="connsiteX75" fmla="*/ 191453 w 1226819"/>
                <a:gd name="connsiteY75" fmla="*/ 0 h 237678"/>
                <a:gd name="connsiteX76" fmla="*/ 153353 w 1226819"/>
                <a:gd name="connsiteY76" fmla="*/ 0 h 237678"/>
                <a:gd name="connsiteX77" fmla="*/ 113348 w 1226819"/>
                <a:gd name="connsiteY77" fmla="*/ 0 h 237678"/>
                <a:gd name="connsiteX78" fmla="*/ 74295 w 1226819"/>
                <a:gd name="connsiteY78" fmla="*/ 0 h 237678"/>
                <a:gd name="connsiteX79" fmla="*/ 40958 w 1226819"/>
                <a:gd name="connsiteY79" fmla="*/ 0 h 237678"/>
                <a:gd name="connsiteX80" fmla="*/ 17145 w 1226819"/>
                <a:gd name="connsiteY80" fmla="*/ 0 h 237678"/>
                <a:gd name="connsiteX81" fmla="*/ 4763 w 1226819"/>
                <a:gd name="connsiteY81" fmla="*/ 0 h 237678"/>
                <a:gd name="connsiteX82" fmla="*/ 953 w 1226819"/>
                <a:gd name="connsiteY82" fmla="*/ 0 h 237678"/>
                <a:gd name="connsiteX83" fmla="*/ 0 w 1226819"/>
                <a:gd name="connsiteY83" fmla="*/ 0 h 237678"/>
                <a:gd name="connsiteX84" fmla="*/ 0 w 1226819"/>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7678">
                  <a:moveTo>
                    <a:pt x="0" y="237678"/>
                  </a:moveTo>
                  <a:lnTo>
                    <a:pt x="1905" y="237678"/>
                  </a:lnTo>
                  <a:lnTo>
                    <a:pt x="9525" y="237678"/>
                  </a:lnTo>
                  <a:lnTo>
                    <a:pt x="27623" y="237678"/>
                  </a:lnTo>
                  <a:lnTo>
                    <a:pt x="56198" y="237678"/>
                  </a:lnTo>
                  <a:lnTo>
                    <a:pt x="93345" y="237678"/>
                  </a:lnTo>
                  <a:lnTo>
                    <a:pt x="132398" y="237678"/>
                  </a:lnTo>
                  <a:lnTo>
                    <a:pt x="172403" y="237678"/>
                  </a:lnTo>
                  <a:lnTo>
                    <a:pt x="209550" y="237678"/>
                  </a:lnTo>
                  <a:lnTo>
                    <a:pt x="244793" y="237678"/>
                  </a:lnTo>
                  <a:lnTo>
                    <a:pt x="277178" y="237678"/>
                  </a:lnTo>
                  <a:lnTo>
                    <a:pt x="308610" y="237678"/>
                  </a:lnTo>
                  <a:lnTo>
                    <a:pt x="340995" y="237678"/>
                  </a:lnTo>
                  <a:lnTo>
                    <a:pt x="358140" y="237678"/>
                  </a:lnTo>
                  <a:lnTo>
                    <a:pt x="386715" y="237678"/>
                  </a:lnTo>
                  <a:lnTo>
                    <a:pt x="417195" y="237678"/>
                  </a:lnTo>
                  <a:lnTo>
                    <a:pt x="449580" y="237678"/>
                  </a:lnTo>
                  <a:lnTo>
                    <a:pt x="483870" y="237678"/>
                  </a:lnTo>
                  <a:lnTo>
                    <a:pt x="520065" y="237678"/>
                  </a:lnTo>
                  <a:lnTo>
                    <a:pt x="557213" y="237678"/>
                  </a:lnTo>
                  <a:lnTo>
                    <a:pt x="595313" y="237678"/>
                  </a:lnTo>
                  <a:lnTo>
                    <a:pt x="634365" y="237678"/>
                  </a:lnTo>
                  <a:lnTo>
                    <a:pt x="672465" y="237678"/>
                  </a:lnTo>
                  <a:lnTo>
                    <a:pt x="709613" y="237678"/>
                  </a:lnTo>
                  <a:lnTo>
                    <a:pt x="744855" y="237678"/>
                  </a:lnTo>
                  <a:lnTo>
                    <a:pt x="779145" y="237678"/>
                  </a:lnTo>
                  <a:lnTo>
                    <a:pt x="811530" y="237678"/>
                  </a:lnTo>
                  <a:lnTo>
                    <a:pt x="842010" y="237678"/>
                  </a:lnTo>
                  <a:lnTo>
                    <a:pt x="869633" y="237678"/>
                  </a:lnTo>
                  <a:lnTo>
                    <a:pt x="902018" y="237678"/>
                  </a:lnTo>
                  <a:lnTo>
                    <a:pt x="934403" y="237678"/>
                  </a:lnTo>
                  <a:lnTo>
                    <a:pt x="966788" y="237678"/>
                  </a:lnTo>
                  <a:lnTo>
                    <a:pt x="1000125" y="237678"/>
                  </a:lnTo>
                  <a:lnTo>
                    <a:pt x="1036320" y="237678"/>
                  </a:lnTo>
                  <a:lnTo>
                    <a:pt x="1074420" y="237678"/>
                  </a:lnTo>
                  <a:lnTo>
                    <a:pt x="1114425" y="237678"/>
                  </a:lnTo>
                  <a:lnTo>
                    <a:pt x="1153478" y="237678"/>
                  </a:lnTo>
                  <a:lnTo>
                    <a:pt x="1186815" y="237678"/>
                  </a:lnTo>
                  <a:lnTo>
                    <a:pt x="1210628" y="237678"/>
                  </a:lnTo>
                  <a:lnTo>
                    <a:pt x="1223010" y="237678"/>
                  </a:lnTo>
                  <a:lnTo>
                    <a:pt x="1226820" y="237678"/>
                  </a:lnTo>
                  <a:lnTo>
                    <a:pt x="1226820" y="23767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7678"/>
                  </a:lnTo>
                  <a:close/>
                </a:path>
              </a:pathLst>
            </a:custGeom>
            <a:solidFill>
              <a:srgbClr val="BBBDBF">
                <a:alpha val="60000"/>
              </a:srgbClr>
            </a:solidFill>
            <a:ln w="9525" cap="flat">
              <a:noFill/>
              <a:prstDash val="solid"/>
              <a:miter/>
            </a:ln>
          </p:spPr>
          <p:txBody>
            <a:bodyPr rtlCol="0" anchor="ctr"/>
            <a:lstStyle/>
            <a:p>
              <a:endParaRPr lang="en-US" sz="1050"/>
            </a:p>
          </p:txBody>
        </p:sp>
        <p:sp>
          <p:nvSpPr>
            <p:cNvPr id="192" name="Freeform 244">
              <a:extLst>
                <a:ext uri="{FF2B5EF4-FFF2-40B4-BE49-F238E27FC236}">
                  <a16:creationId xmlns:a16="http://schemas.microsoft.com/office/drawing/2014/main" id="{5BA8729D-5C3E-41C4-8ABC-98EAB7EE5126}"/>
                </a:ext>
              </a:extLst>
            </p:cNvPr>
            <p:cNvSpPr/>
            <p:nvPr/>
          </p:nvSpPr>
          <p:spPr>
            <a:xfrm>
              <a:off x="3987133" y="3877421"/>
              <a:ext cx="1226819" cy="237678"/>
            </a:xfrm>
            <a:custGeom>
              <a:avLst/>
              <a:gdLst>
                <a:gd name="connsiteX0" fmla="*/ 0 w 1226819"/>
                <a:gd name="connsiteY0" fmla="*/ 237678 h 237678"/>
                <a:gd name="connsiteX1" fmla="*/ 1905 w 1226819"/>
                <a:gd name="connsiteY1" fmla="*/ 237678 h 237678"/>
                <a:gd name="connsiteX2" fmla="*/ 9525 w 1226819"/>
                <a:gd name="connsiteY2" fmla="*/ 237678 h 237678"/>
                <a:gd name="connsiteX3" fmla="*/ 27623 w 1226819"/>
                <a:gd name="connsiteY3" fmla="*/ 237678 h 237678"/>
                <a:gd name="connsiteX4" fmla="*/ 56198 w 1226819"/>
                <a:gd name="connsiteY4" fmla="*/ 237678 h 237678"/>
                <a:gd name="connsiteX5" fmla="*/ 93345 w 1226819"/>
                <a:gd name="connsiteY5" fmla="*/ 237678 h 237678"/>
                <a:gd name="connsiteX6" fmla="*/ 132398 w 1226819"/>
                <a:gd name="connsiteY6" fmla="*/ 237678 h 237678"/>
                <a:gd name="connsiteX7" fmla="*/ 172403 w 1226819"/>
                <a:gd name="connsiteY7" fmla="*/ 237678 h 237678"/>
                <a:gd name="connsiteX8" fmla="*/ 209550 w 1226819"/>
                <a:gd name="connsiteY8" fmla="*/ 237678 h 237678"/>
                <a:gd name="connsiteX9" fmla="*/ 244793 w 1226819"/>
                <a:gd name="connsiteY9" fmla="*/ 237678 h 237678"/>
                <a:gd name="connsiteX10" fmla="*/ 277178 w 1226819"/>
                <a:gd name="connsiteY10" fmla="*/ 237678 h 237678"/>
                <a:gd name="connsiteX11" fmla="*/ 308610 w 1226819"/>
                <a:gd name="connsiteY11" fmla="*/ 237678 h 237678"/>
                <a:gd name="connsiteX12" fmla="*/ 340995 w 1226819"/>
                <a:gd name="connsiteY12" fmla="*/ 237678 h 237678"/>
                <a:gd name="connsiteX13" fmla="*/ 358140 w 1226819"/>
                <a:gd name="connsiteY13" fmla="*/ 237678 h 237678"/>
                <a:gd name="connsiteX14" fmla="*/ 386715 w 1226819"/>
                <a:gd name="connsiteY14" fmla="*/ 237678 h 237678"/>
                <a:gd name="connsiteX15" fmla="*/ 417195 w 1226819"/>
                <a:gd name="connsiteY15" fmla="*/ 237678 h 237678"/>
                <a:gd name="connsiteX16" fmla="*/ 449580 w 1226819"/>
                <a:gd name="connsiteY16" fmla="*/ 237678 h 237678"/>
                <a:gd name="connsiteX17" fmla="*/ 483870 w 1226819"/>
                <a:gd name="connsiteY17" fmla="*/ 237678 h 237678"/>
                <a:gd name="connsiteX18" fmla="*/ 520065 w 1226819"/>
                <a:gd name="connsiteY18" fmla="*/ 237678 h 237678"/>
                <a:gd name="connsiteX19" fmla="*/ 557213 w 1226819"/>
                <a:gd name="connsiteY19" fmla="*/ 237678 h 237678"/>
                <a:gd name="connsiteX20" fmla="*/ 595313 w 1226819"/>
                <a:gd name="connsiteY20" fmla="*/ 237678 h 237678"/>
                <a:gd name="connsiteX21" fmla="*/ 634365 w 1226819"/>
                <a:gd name="connsiteY21" fmla="*/ 237678 h 237678"/>
                <a:gd name="connsiteX22" fmla="*/ 672465 w 1226819"/>
                <a:gd name="connsiteY22" fmla="*/ 237678 h 237678"/>
                <a:gd name="connsiteX23" fmla="*/ 709613 w 1226819"/>
                <a:gd name="connsiteY23" fmla="*/ 237678 h 237678"/>
                <a:gd name="connsiteX24" fmla="*/ 744855 w 1226819"/>
                <a:gd name="connsiteY24" fmla="*/ 237678 h 237678"/>
                <a:gd name="connsiteX25" fmla="*/ 779145 w 1226819"/>
                <a:gd name="connsiteY25" fmla="*/ 237678 h 237678"/>
                <a:gd name="connsiteX26" fmla="*/ 811530 w 1226819"/>
                <a:gd name="connsiteY26" fmla="*/ 237678 h 237678"/>
                <a:gd name="connsiteX27" fmla="*/ 842010 w 1226819"/>
                <a:gd name="connsiteY27" fmla="*/ 237678 h 237678"/>
                <a:gd name="connsiteX28" fmla="*/ 869633 w 1226819"/>
                <a:gd name="connsiteY28" fmla="*/ 237678 h 237678"/>
                <a:gd name="connsiteX29" fmla="*/ 902018 w 1226819"/>
                <a:gd name="connsiteY29" fmla="*/ 237678 h 237678"/>
                <a:gd name="connsiteX30" fmla="*/ 934403 w 1226819"/>
                <a:gd name="connsiteY30" fmla="*/ 237678 h 237678"/>
                <a:gd name="connsiteX31" fmla="*/ 966788 w 1226819"/>
                <a:gd name="connsiteY31" fmla="*/ 237678 h 237678"/>
                <a:gd name="connsiteX32" fmla="*/ 1000125 w 1226819"/>
                <a:gd name="connsiteY32" fmla="*/ 237678 h 237678"/>
                <a:gd name="connsiteX33" fmla="*/ 1036320 w 1226819"/>
                <a:gd name="connsiteY33" fmla="*/ 237678 h 237678"/>
                <a:gd name="connsiteX34" fmla="*/ 1074420 w 1226819"/>
                <a:gd name="connsiteY34" fmla="*/ 237678 h 237678"/>
                <a:gd name="connsiteX35" fmla="*/ 1114425 w 1226819"/>
                <a:gd name="connsiteY35" fmla="*/ 237678 h 237678"/>
                <a:gd name="connsiteX36" fmla="*/ 1153478 w 1226819"/>
                <a:gd name="connsiteY36" fmla="*/ 237678 h 237678"/>
                <a:gd name="connsiteX37" fmla="*/ 1186815 w 1226819"/>
                <a:gd name="connsiteY37" fmla="*/ 237678 h 237678"/>
                <a:gd name="connsiteX38" fmla="*/ 1210628 w 1226819"/>
                <a:gd name="connsiteY38" fmla="*/ 237678 h 237678"/>
                <a:gd name="connsiteX39" fmla="*/ 1223010 w 1226819"/>
                <a:gd name="connsiteY39" fmla="*/ 237678 h 237678"/>
                <a:gd name="connsiteX40" fmla="*/ 1226820 w 1226819"/>
                <a:gd name="connsiteY40" fmla="*/ 237678 h 237678"/>
                <a:gd name="connsiteX41" fmla="*/ 1226820 w 1226819"/>
                <a:gd name="connsiteY41" fmla="*/ 237678 h 237678"/>
                <a:gd name="connsiteX42" fmla="*/ 1226820 w 1226819"/>
                <a:gd name="connsiteY42" fmla="*/ 0 h 237678"/>
                <a:gd name="connsiteX43" fmla="*/ 1225868 w 1226819"/>
                <a:gd name="connsiteY43" fmla="*/ 0 h 237678"/>
                <a:gd name="connsiteX44" fmla="*/ 1218248 w 1226819"/>
                <a:gd name="connsiteY44" fmla="*/ 0 h 237678"/>
                <a:gd name="connsiteX45" fmla="*/ 1200150 w 1226819"/>
                <a:gd name="connsiteY45" fmla="*/ 0 h 237678"/>
                <a:gd name="connsiteX46" fmla="*/ 1170623 w 1226819"/>
                <a:gd name="connsiteY46" fmla="*/ 0 h 237678"/>
                <a:gd name="connsiteX47" fmla="*/ 1134428 w 1226819"/>
                <a:gd name="connsiteY47" fmla="*/ 0 h 237678"/>
                <a:gd name="connsiteX48" fmla="*/ 1095375 w 1226819"/>
                <a:gd name="connsiteY48" fmla="*/ 0 h 237678"/>
                <a:gd name="connsiteX49" fmla="*/ 1055370 w 1226819"/>
                <a:gd name="connsiteY49" fmla="*/ 0 h 237678"/>
                <a:gd name="connsiteX50" fmla="*/ 1018223 w 1226819"/>
                <a:gd name="connsiteY50" fmla="*/ 0 h 237678"/>
                <a:gd name="connsiteX51" fmla="*/ 982980 w 1226819"/>
                <a:gd name="connsiteY51" fmla="*/ 0 h 237678"/>
                <a:gd name="connsiteX52" fmla="*/ 950595 w 1226819"/>
                <a:gd name="connsiteY52" fmla="*/ 0 h 237678"/>
                <a:gd name="connsiteX53" fmla="*/ 918210 w 1226819"/>
                <a:gd name="connsiteY53" fmla="*/ 0 h 237678"/>
                <a:gd name="connsiteX54" fmla="*/ 886778 w 1226819"/>
                <a:gd name="connsiteY54" fmla="*/ 0 h 237678"/>
                <a:gd name="connsiteX55" fmla="*/ 869633 w 1226819"/>
                <a:gd name="connsiteY55" fmla="*/ 0 h 237678"/>
                <a:gd name="connsiteX56" fmla="*/ 840105 w 1226819"/>
                <a:gd name="connsiteY56" fmla="*/ 0 h 237678"/>
                <a:gd name="connsiteX57" fmla="*/ 809625 w 1226819"/>
                <a:gd name="connsiteY57" fmla="*/ 0 h 237678"/>
                <a:gd name="connsiteX58" fmla="*/ 777240 w 1226819"/>
                <a:gd name="connsiteY58" fmla="*/ 0 h 237678"/>
                <a:gd name="connsiteX59" fmla="*/ 743903 w 1226819"/>
                <a:gd name="connsiteY59" fmla="*/ 0 h 237678"/>
                <a:gd name="connsiteX60" fmla="*/ 707708 w 1226819"/>
                <a:gd name="connsiteY60" fmla="*/ 0 h 237678"/>
                <a:gd name="connsiteX61" fmla="*/ 670560 w 1226819"/>
                <a:gd name="connsiteY61" fmla="*/ 0 h 237678"/>
                <a:gd name="connsiteX62" fmla="*/ 632460 w 1226819"/>
                <a:gd name="connsiteY62" fmla="*/ 0 h 237678"/>
                <a:gd name="connsiteX63" fmla="*/ 593408 w 1226819"/>
                <a:gd name="connsiteY63" fmla="*/ 0 h 237678"/>
                <a:gd name="connsiteX64" fmla="*/ 555308 w 1226819"/>
                <a:gd name="connsiteY64" fmla="*/ 0 h 237678"/>
                <a:gd name="connsiteX65" fmla="*/ 518160 w 1226819"/>
                <a:gd name="connsiteY65" fmla="*/ 0 h 237678"/>
                <a:gd name="connsiteX66" fmla="*/ 482918 w 1226819"/>
                <a:gd name="connsiteY66" fmla="*/ 0 h 237678"/>
                <a:gd name="connsiteX67" fmla="*/ 448628 w 1226819"/>
                <a:gd name="connsiteY67" fmla="*/ 0 h 237678"/>
                <a:gd name="connsiteX68" fmla="*/ 416243 w 1226819"/>
                <a:gd name="connsiteY68" fmla="*/ 0 h 237678"/>
                <a:gd name="connsiteX69" fmla="*/ 385763 w 1226819"/>
                <a:gd name="connsiteY69" fmla="*/ 0 h 237678"/>
                <a:gd name="connsiteX70" fmla="*/ 358140 w 1226819"/>
                <a:gd name="connsiteY70" fmla="*/ 0 h 237678"/>
                <a:gd name="connsiteX71" fmla="*/ 325755 w 1226819"/>
                <a:gd name="connsiteY71" fmla="*/ 0 h 237678"/>
                <a:gd name="connsiteX72" fmla="*/ 293370 w 1226819"/>
                <a:gd name="connsiteY72" fmla="*/ 0 h 237678"/>
                <a:gd name="connsiteX73" fmla="*/ 260985 w 1226819"/>
                <a:gd name="connsiteY73" fmla="*/ 0 h 237678"/>
                <a:gd name="connsiteX74" fmla="*/ 227648 w 1226819"/>
                <a:gd name="connsiteY74" fmla="*/ 0 h 237678"/>
                <a:gd name="connsiteX75" fmla="*/ 191453 w 1226819"/>
                <a:gd name="connsiteY75" fmla="*/ 0 h 237678"/>
                <a:gd name="connsiteX76" fmla="*/ 153353 w 1226819"/>
                <a:gd name="connsiteY76" fmla="*/ 0 h 237678"/>
                <a:gd name="connsiteX77" fmla="*/ 113348 w 1226819"/>
                <a:gd name="connsiteY77" fmla="*/ 0 h 237678"/>
                <a:gd name="connsiteX78" fmla="*/ 74295 w 1226819"/>
                <a:gd name="connsiteY78" fmla="*/ 0 h 237678"/>
                <a:gd name="connsiteX79" fmla="*/ 40958 w 1226819"/>
                <a:gd name="connsiteY79" fmla="*/ 0 h 237678"/>
                <a:gd name="connsiteX80" fmla="*/ 17145 w 1226819"/>
                <a:gd name="connsiteY80" fmla="*/ 0 h 237678"/>
                <a:gd name="connsiteX81" fmla="*/ 4763 w 1226819"/>
                <a:gd name="connsiteY81" fmla="*/ 0 h 237678"/>
                <a:gd name="connsiteX82" fmla="*/ 953 w 1226819"/>
                <a:gd name="connsiteY82" fmla="*/ 0 h 237678"/>
                <a:gd name="connsiteX83" fmla="*/ 0 w 1226819"/>
                <a:gd name="connsiteY83" fmla="*/ 0 h 237678"/>
                <a:gd name="connsiteX84" fmla="*/ 0 w 1226819"/>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7678">
                  <a:moveTo>
                    <a:pt x="0" y="237678"/>
                  </a:moveTo>
                  <a:lnTo>
                    <a:pt x="1905" y="237678"/>
                  </a:lnTo>
                  <a:lnTo>
                    <a:pt x="9525" y="237678"/>
                  </a:lnTo>
                  <a:lnTo>
                    <a:pt x="27623" y="237678"/>
                  </a:lnTo>
                  <a:lnTo>
                    <a:pt x="56198" y="237678"/>
                  </a:lnTo>
                  <a:lnTo>
                    <a:pt x="93345" y="237678"/>
                  </a:lnTo>
                  <a:lnTo>
                    <a:pt x="132398" y="237678"/>
                  </a:lnTo>
                  <a:lnTo>
                    <a:pt x="172403" y="237678"/>
                  </a:lnTo>
                  <a:lnTo>
                    <a:pt x="209550" y="237678"/>
                  </a:lnTo>
                  <a:lnTo>
                    <a:pt x="244793" y="237678"/>
                  </a:lnTo>
                  <a:lnTo>
                    <a:pt x="277178" y="237678"/>
                  </a:lnTo>
                  <a:lnTo>
                    <a:pt x="308610" y="237678"/>
                  </a:lnTo>
                  <a:lnTo>
                    <a:pt x="340995" y="237678"/>
                  </a:lnTo>
                  <a:lnTo>
                    <a:pt x="358140" y="237678"/>
                  </a:lnTo>
                  <a:lnTo>
                    <a:pt x="386715" y="237678"/>
                  </a:lnTo>
                  <a:lnTo>
                    <a:pt x="417195" y="237678"/>
                  </a:lnTo>
                  <a:lnTo>
                    <a:pt x="449580" y="237678"/>
                  </a:lnTo>
                  <a:lnTo>
                    <a:pt x="483870" y="237678"/>
                  </a:lnTo>
                  <a:lnTo>
                    <a:pt x="520065" y="237678"/>
                  </a:lnTo>
                  <a:lnTo>
                    <a:pt x="557213" y="237678"/>
                  </a:lnTo>
                  <a:lnTo>
                    <a:pt x="595313" y="237678"/>
                  </a:lnTo>
                  <a:lnTo>
                    <a:pt x="634365" y="237678"/>
                  </a:lnTo>
                  <a:lnTo>
                    <a:pt x="672465" y="237678"/>
                  </a:lnTo>
                  <a:lnTo>
                    <a:pt x="709613" y="237678"/>
                  </a:lnTo>
                  <a:lnTo>
                    <a:pt x="744855" y="237678"/>
                  </a:lnTo>
                  <a:lnTo>
                    <a:pt x="779145" y="237678"/>
                  </a:lnTo>
                  <a:lnTo>
                    <a:pt x="811530" y="237678"/>
                  </a:lnTo>
                  <a:lnTo>
                    <a:pt x="842010" y="237678"/>
                  </a:lnTo>
                  <a:lnTo>
                    <a:pt x="869633" y="237678"/>
                  </a:lnTo>
                  <a:lnTo>
                    <a:pt x="902018" y="237678"/>
                  </a:lnTo>
                  <a:lnTo>
                    <a:pt x="934403" y="237678"/>
                  </a:lnTo>
                  <a:lnTo>
                    <a:pt x="966788" y="237678"/>
                  </a:lnTo>
                  <a:lnTo>
                    <a:pt x="1000125" y="237678"/>
                  </a:lnTo>
                  <a:lnTo>
                    <a:pt x="1036320" y="237678"/>
                  </a:lnTo>
                  <a:lnTo>
                    <a:pt x="1074420" y="237678"/>
                  </a:lnTo>
                  <a:lnTo>
                    <a:pt x="1114425" y="237678"/>
                  </a:lnTo>
                  <a:lnTo>
                    <a:pt x="1153478" y="237678"/>
                  </a:lnTo>
                  <a:lnTo>
                    <a:pt x="1186815" y="237678"/>
                  </a:lnTo>
                  <a:lnTo>
                    <a:pt x="1210628" y="237678"/>
                  </a:lnTo>
                  <a:lnTo>
                    <a:pt x="1223010" y="237678"/>
                  </a:lnTo>
                  <a:lnTo>
                    <a:pt x="1226820" y="237678"/>
                  </a:lnTo>
                  <a:lnTo>
                    <a:pt x="1226820" y="23767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7678"/>
                  </a:lnTo>
                  <a:close/>
                </a:path>
              </a:pathLst>
            </a:custGeom>
            <a:noFill/>
            <a:ln w="9525" cap="flat">
              <a:solidFill>
                <a:srgbClr val="BBBDBF"/>
              </a:solidFill>
              <a:prstDash val="solid"/>
              <a:miter/>
            </a:ln>
          </p:spPr>
          <p:txBody>
            <a:bodyPr rtlCol="0" anchor="ctr"/>
            <a:lstStyle/>
            <a:p>
              <a:endParaRPr lang="en-US" sz="1050"/>
            </a:p>
          </p:txBody>
        </p:sp>
        <p:sp>
          <p:nvSpPr>
            <p:cNvPr id="193" name="Freeform 245">
              <a:extLst>
                <a:ext uri="{FF2B5EF4-FFF2-40B4-BE49-F238E27FC236}">
                  <a16:creationId xmlns:a16="http://schemas.microsoft.com/office/drawing/2014/main" id="{04AAFF3C-B97E-0C31-D8C2-A89DB7BC1019}"/>
                </a:ext>
              </a:extLst>
            </p:cNvPr>
            <p:cNvSpPr/>
            <p:nvPr/>
          </p:nvSpPr>
          <p:spPr>
            <a:xfrm>
              <a:off x="3987133" y="4115099"/>
              <a:ext cx="1226819" cy="237678"/>
            </a:xfrm>
            <a:custGeom>
              <a:avLst/>
              <a:gdLst>
                <a:gd name="connsiteX0" fmla="*/ 0 w 1226819"/>
                <a:gd name="connsiteY0" fmla="*/ 237678 h 237678"/>
                <a:gd name="connsiteX1" fmla="*/ 1905 w 1226819"/>
                <a:gd name="connsiteY1" fmla="*/ 237678 h 237678"/>
                <a:gd name="connsiteX2" fmla="*/ 9525 w 1226819"/>
                <a:gd name="connsiteY2" fmla="*/ 237678 h 237678"/>
                <a:gd name="connsiteX3" fmla="*/ 27623 w 1226819"/>
                <a:gd name="connsiteY3" fmla="*/ 237678 h 237678"/>
                <a:gd name="connsiteX4" fmla="*/ 56198 w 1226819"/>
                <a:gd name="connsiteY4" fmla="*/ 237678 h 237678"/>
                <a:gd name="connsiteX5" fmla="*/ 93345 w 1226819"/>
                <a:gd name="connsiteY5" fmla="*/ 237678 h 237678"/>
                <a:gd name="connsiteX6" fmla="*/ 132398 w 1226819"/>
                <a:gd name="connsiteY6" fmla="*/ 237678 h 237678"/>
                <a:gd name="connsiteX7" fmla="*/ 172403 w 1226819"/>
                <a:gd name="connsiteY7" fmla="*/ 237678 h 237678"/>
                <a:gd name="connsiteX8" fmla="*/ 209550 w 1226819"/>
                <a:gd name="connsiteY8" fmla="*/ 237678 h 237678"/>
                <a:gd name="connsiteX9" fmla="*/ 244793 w 1226819"/>
                <a:gd name="connsiteY9" fmla="*/ 237678 h 237678"/>
                <a:gd name="connsiteX10" fmla="*/ 277178 w 1226819"/>
                <a:gd name="connsiteY10" fmla="*/ 237678 h 237678"/>
                <a:gd name="connsiteX11" fmla="*/ 308610 w 1226819"/>
                <a:gd name="connsiteY11" fmla="*/ 237678 h 237678"/>
                <a:gd name="connsiteX12" fmla="*/ 340995 w 1226819"/>
                <a:gd name="connsiteY12" fmla="*/ 237678 h 237678"/>
                <a:gd name="connsiteX13" fmla="*/ 358140 w 1226819"/>
                <a:gd name="connsiteY13" fmla="*/ 237678 h 237678"/>
                <a:gd name="connsiteX14" fmla="*/ 386715 w 1226819"/>
                <a:gd name="connsiteY14" fmla="*/ 237678 h 237678"/>
                <a:gd name="connsiteX15" fmla="*/ 417195 w 1226819"/>
                <a:gd name="connsiteY15" fmla="*/ 237678 h 237678"/>
                <a:gd name="connsiteX16" fmla="*/ 449580 w 1226819"/>
                <a:gd name="connsiteY16" fmla="*/ 237678 h 237678"/>
                <a:gd name="connsiteX17" fmla="*/ 483870 w 1226819"/>
                <a:gd name="connsiteY17" fmla="*/ 237678 h 237678"/>
                <a:gd name="connsiteX18" fmla="*/ 520065 w 1226819"/>
                <a:gd name="connsiteY18" fmla="*/ 237678 h 237678"/>
                <a:gd name="connsiteX19" fmla="*/ 557213 w 1226819"/>
                <a:gd name="connsiteY19" fmla="*/ 237678 h 237678"/>
                <a:gd name="connsiteX20" fmla="*/ 595313 w 1226819"/>
                <a:gd name="connsiteY20" fmla="*/ 237678 h 237678"/>
                <a:gd name="connsiteX21" fmla="*/ 634365 w 1226819"/>
                <a:gd name="connsiteY21" fmla="*/ 237678 h 237678"/>
                <a:gd name="connsiteX22" fmla="*/ 672465 w 1226819"/>
                <a:gd name="connsiteY22" fmla="*/ 237678 h 237678"/>
                <a:gd name="connsiteX23" fmla="*/ 709613 w 1226819"/>
                <a:gd name="connsiteY23" fmla="*/ 237678 h 237678"/>
                <a:gd name="connsiteX24" fmla="*/ 744855 w 1226819"/>
                <a:gd name="connsiteY24" fmla="*/ 237678 h 237678"/>
                <a:gd name="connsiteX25" fmla="*/ 779145 w 1226819"/>
                <a:gd name="connsiteY25" fmla="*/ 237678 h 237678"/>
                <a:gd name="connsiteX26" fmla="*/ 811530 w 1226819"/>
                <a:gd name="connsiteY26" fmla="*/ 237678 h 237678"/>
                <a:gd name="connsiteX27" fmla="*/ 842010 w 1226819"/>
                <a:gd name="connsiteY27" fmla="*/ 237678 h 237678"/>
                <a:gd name="connsiteX28" fmla="*/ 869633 w 1226819"/>
                <a:gd name="connsiteY28" fmla="*/ 237678 h 237678"/>
                <a:gd name="connsiteX29" fmla="*/ 902018 w 1226819"/>
                <a:gd name="connsiteY29" fmla="*/ 237678 h 237678"/>
                <a:gd name="connsiteX30" fmla="*/ 934403 w 1226819"/>
                <a:gd name="connsiteY30" fmla="*/ 237678 h 237678"/>
                <a:gd name="connsiteX31" fmla="*/ 966788 w 1226819"/>
                <a:gd name="connsiteY31" fmla="*/ 237678 h 237678"/>
                <a:gd name="connsiteX32" fmla="*/ 1000125 w 1226819"/>
                <a:gd name="connsiteY32" fmla="*/ 237678 h 237678"/>
                <a:gd name="connsiteX33" fmla="*/ 1036320 w 1226819"/>
                <a:gd name="connsiteY33" fmla="*/ 237678 h 237678"/>
                <a:gd name="connsiteX34" fmla="*/ 1074420 w 1226819"/>
                <a:gd name="connsiteY34" fmla="*/ 237678 h 237678"/>
                <a:gd name="connsiteX35" fmla="*/ 1114425 w 1226819"/>
                <a:gd name="connsiteY35" fmla="*/ 237678 h 237678"/>
                <a:gd name="connsiteX36" fmla="*/ 1153478 w 1226819"/>
                <a:gd name="connsiteY36" fmla="*/ 237678 h 237678"/>
                <a:gd name="connsiteX37" fmla="*/ 1186815 w 1226819"/>
                <a:gd name="connsiteY37" fmla="*/ 237678 h 237678"/>
                <a:gd name="connsiteX38" fmla="*/ 1210628 w 1226819"/>
                <a:gd name="connsiteY38" fmla="*/ 237678 h 237678"/>
                <a:gd name="connsiteX39" fmla="*/ 1223010 w 1226819"/>
                <a:gd name="connsiteY39" fmla="*/ 237678 h 237678"/>
                <a:gd name="connsiteX40" fmla="*/ 1226820 w 1226819"/>
                <a:gd name="connsiteY40" fmla="*/ 237678 h 237678"/>
                <a:gd name="connsiteX41" fmla="*/ 1226820 w 1226819"/>
                <a:gd name="connsiteY41" fmla="*/ 237678 h 237678"/>
                <a:gd name="connsiteX42" fmla="*/ 1226820 w 1226819"/>
                <a:gd name="connsiteY42" fmla="*/ 0 h 237678"/>
                <a:gd name="connsiteX43" fmla="*/ 1225868 w 1226819"/>
                <a:gd name="connsiteY43" fmla="*/ 0 h 237678"/>
                <a:gd name="connsiteX44" fmla="*/ 1218248 w 1226819"/>
                <a:gd name="connsiteY44" fmla="*/ 0 h 237678"/>
                <a:gd name="connsiteX45" fmla="*/ 1200150 w 1226819"/>
                <a:gd name="connsiteY45" fmla="*/ 0 h 237678"/>
                <a:gd name="connsiteX46" fmla="*/ 1170623 w 1226819"/>
                <a:gd name="connsiteY46" fmla="*/ 0 h 237678"/>
                <a:gd name="connsiteX47" fmla="*/ 1134428 w 1226819"/>
                <a:gd name="connsiteY47" fmla="*/ 0 h 237678"/>
                <a:gd name="connsiteX48" fmla="*/ 1095375 w 1226819"/>
                <a:gd name="connsiteY48" fmla="*/ 0 h 237678"/>
                <a:gd name="connsiteX49" fmla="*/ 1055370 w 1226819"/>
                <a:gd name="connsiteY49" fmla="*/ 0 h 237678"/>
                <a:gd name="connsiteX50" fmla="*/ 1018223 w 1226819"/>
                <a:gd name="connsiteY50" fmla="*/ 0 h 237678"/>
                <a:gd name="connsiteX51" fmla="*/ 982980 w 1226819"/>
                <a:gd name="connsiteY51" fmla="*/ 0 h 237678"/>
                <a:gd name="connsiteX52" fmla="*/ 950595 w 1226819"/>
                <a:gd name="connsiteY52" fmla="*/ 0 h 237678"/>
                <a:gd name="connsiteX53" fmla="*/ 918210 w 1226819"/>
                <a:gd name="connsiteY53" fmla="*/ 0 h 237678"/>
                <a:gd name="connsiteX54" fmla="*/ 886778 w 1226819"/>
                <a:gd name="connsiteY54" fmla="*/ 0 h 237678"/>
                <a:gd name="connsiteX55" fmla="*/ 869633 w 1226819"/>
                <a:gd name="connsiteY55" fmla="*/ 0 h 237678"/>
                <a:gd name="connsiteX56" fmla="*/ 840105 w 1226819"/>
                <a:gd name="connsiteY56" fmla="*/ 0 h 237678"/>
                <a:gd name="connsiteX57" fmla="*/ 809625 w 1226819"/>
                <a:gd name="connsiteY57" fmla="*/ 0 h 237678"/>
                <a:gd name="connsiteX58" fmla="*/ 777240 w 1226819"/>
                <a:gd name="connsiteY58" fmla="*/ 0 h 237678"/>
                <a:gd name="connsiteX59" fmla="*/ 743903 w 1226819"/>
                <a:gd name="connsiteY59" fmla="*/ 0 h 237678"/>
                <a:gd name="connsiteX60" fmla="*/ 707708 w 1226819"/>
                <a:gd name="connsiteY60" fmla="*/ 0 h 237678"/>
                <a:gd name="connsiteX61" fmla="*/ 670560 w 1226819"/>
                <a:gd name="connsiteY61" fmla="*/ 0 h 237678"/>
                <a:gd name="connsiteX62" fmla="*/ 632460 w 1226819"/>
                <a:gd name="connsiteY62" fmla="*/ 0 h 237678"/>
                <a:gd name="connsiteX63" fmla="*/ 593408 w 1226819"/>
                <a:gd name="connsiteY63" fmla="*/ 0 h 237678"/>
                <a:gd name="connsiteX64" fmla="*/ 555308 w 1226819"/>
                <a:gd name="connsiteY64" fmla="*/ 0 h 237678"/>
                <a:gd name="connsiteX65" fmla="*/ 518160 w 1226819"/>
                <a:gd name="connsiteY65" fmla="*/ 0 h 237678"/>
                <a:gd name="connsiteX66" fmla="*/ 482918 w 1226819"/>
                <a:gd name="connsiteY66" fmla="*/ 0 h 237678"/>
                <a:gd name="connsiteX67" fmla="*/ 448628 w 1226819"/>
                <a:gd name="connsiteY67" fmla="*/ 0 h 237678"/>
                <a:gd name="connsiteX68" fmla="*/ 416243 w 1226819"/>
                <a:gd name="connsiteY68" fmla="*/ 0 h 237678"/>
                <a:gd name="connsiteX69" fmla="*/ 385763 w 1226819"/>
                <a:gd name="connsiteY69" fmla="*/ 0 h 237678"/>
                <a:gd name="connsiteX70" fmla="*/ 358140 w 1226819"/>
                <a:gd name="connsiteY70" fmla="*/ 0 h 237678"/>
                <a:gd name="connsiteX71" fmla="*/ 325755 w 1226819"/>
                <a:gd name="connsiteY71" fmla="*/ 0 h 237678"/>
                <a:gd name="connsiteX72" fmla="*/ 293370 w 1226819"/>
                <a:gd name="connsiteY72" fmla="*/ 0 h 237678"/>
                <a:gd name="connsiteX73" fmla="*/ 260985 w 1226819"/>
                <a:gd name="connsiteY73" fmla="*/ 0 h 237678"/>
                <a:gd name="connsiteX74" fmla="*/ 227648 w 1226819"/>
                <a:gd name="connsiteY74" fmla="*/ 0 h 237678"/>
                <a:gd name="connsiteX75" fmla="*/ 191453 w 1226819"/>
                <a:gd name="connsiteY75" fmla="*/ 0 h 237678"/>
                <a:gd name="connsiteX76" fmla="*/ 153353 w 1226819"/>
                <a:gd name="connsiteY76" fmla="*/ 0 h 237678"/>
                <a:gd name="connsiteX77" fmla="*/ 113348 w 1226819"/>
                <a:gd name="connsiteY77" fmla="*/ 0 h 237678"/>
                <a:gd name="connsiteX78" fmla="*/ 74295 w 1226819"/>
                <a:gd name="connsiteY78" fmla="*/ 0 h 237678"/>
                <a:gd name="connsiteX79" fmla="*/ 40958 w 1226819"/>
                <a:gd name="connsiteY79" fmla="*/ 0 h 237678"/>
                <a:gd name="connsiteX80" fmla="*/ 17145 w 1226819"/>
                <a:gd name="connsiteY80" fmla="*/ 0 h 237678"/>
                <a:gd name="connsiteX81" fmla="*/ 4763 w 1226819"/>
                <a:gd name="connsiteY81" fmla="*/ 0 h 237678"/>
                <a:gd name="connsiteX82" fmla="*/ 953 w 1226819"/>
                <a:gd name="connsiteY82" fmla="*/ 0 h 237678"/>
                <a:gd name="connsiteX83" fmla="*/ 0 w 1226819"/>
                <a:gd name="connsiteY83" fmla="*/ 0 h 237678"/>
                <a:gd name="connsiteX84" fmla="*/ 0 w 1226819"/>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7678">
                  <a:moveTo>
                    <a:pt x="0" y="237678"/>
                  </a:moveTo>
                  <a:lnTo>
                    <a:pt x="1905" y="237678"/>
                  </a:lnTo>
                  <a:lnTo>
                    <a:pt x="9525" y="237678"/>
                  </a:lnTo>
                  <a:lnTo>
                    <a:pt x="27623" y="237678"/>
                  </a:lnTo>
                  <a:lnTo>
                    <a:pt x="56198" y="237678"/>
                  </a:lnTo>
                  <a:lnTo>
                    <a:pt x="93345" y="237678"/>
                  </a:lnTo>
                  <a:lnTo>
                    <a:pt x="132398" y="237678"/>
                  </a:lnTo>
                  <a:lnTo>
                    <a:pt x="172403" y="237678"/>
                  </a:lnTo>
                  <a:lnTo>
                    <a:pt x="209550" y="237678"/>
                  </a:lnTo>
                  <a:lnTo>
                    <a:pt x="244793" y="237678"/>
                  </a:lnTo>
                  <a:lnTo>
                    <a:pt x="277178" y="237678"/>
                  </a:lnTo>
                  <a:lnTo>
                    <a:pt x="308610" y="237678"/>
                  </a:lnTo>
                  <a:lnTo>
                    <a:pt x="340995" y="237678"/>
                  </a:lnTo>
                  <a:lnTo>
                    <a:pt x="358140" y="237678"/>
                  </a:lnTo>
                  <a:lnTo>
                    <a:pt x="386715" y="237678"/>
                  </a:lnTo>
                  <a:lnTo>
                    <a:pt x="417195" y="237678"/>
                  </a:lnTo>
                  <a:lnTo>
                    <a:pt x="449580" y="237678"/>
                  </a:lnTo>
                  <a:lnTo>
                    <a:pt x="483870" y="237678"/>
                  </a:lnTo>
                  <a:lnTo>
                    <a:pt x="520065" y="237678"/>
                  </a:lnTo>
                  <a:lnTo>
                    <a:pt x="557213" y="237678"/>
                  </a:lnTo>
                  <a:lnTo>
                    <a:pt x="595313" y="237678"/>
                  </a:lnTo>
                  <a:lnTo>
                    <a:pt x="634365" y="237678"/>
                  </a:lnTo>
                  <a:lnTo>
                    <a:pt x="672465" y="237678"/>
                  </a:lnTo>
                  <a:lnTo>
                    <a:pt x="709613" y="237678"/>
                  </a:lnTo>
                  <a:lnTo>
                    <a:pt x="744855" y="237678"/>
                  </a:lnTo>
                  <a:lnTo>
                    <a:pt x="779145" y="237678"/>
                  </a:lnTo>
                  <a:lnTo>
                    <a:pt x="811530" y="237678"/>
                  </a:lnTo>
                  <a:lnTo>
                    <a:pt x="842010" y="237678"/>
                  </a:lnTo>
                  <a:lnTo>
                    <a:pt x="869633" y="237678"/>
                  </a:lnTo>
                  <a:lnTo>
                    <a:pt x="902018" y="237678"/>
                  </a:lnTo>
                  <a:lnTo>
                    <a:pt x="934403" y="237678"/>
                  </a:lnTo>
                  <a:lnTo>
                    <a:pt x="966788" y="237678"/>
                  </a:lnTo>
                  <a:lnTo>
                    <a:pt x="1000125" y="237678"/>
                  </a:lnTo>
                  <a:lnTo>
                    <a:pt x="1036320" y="237678"/>
                  </a:lnTo>
                  <a:lnTo>
                    <a:pt x="1074420" y="237678"/>
                  </a:lnTo>
                  <a:lnTo>
                    <a:pt x="1114425" y="237678"/>
                  </a:lnTo>
                  <a:lnTo>
                    <a:pt x="1153478" y="237678"/>
                  </a:lnTo>
                  <a:lnTo>
                    <a:pt x="1186815" y="237678"/>
                  </a:lnTo>
                  <a:lnTo>
                    <a:pt x="1210628" y="237678"/>
                  </a:lnTo>
                  <a:lnTo>
                    <a:pt x="1223010" y="237678"/>
                  </a:lnTo>
                  <a:lnTo>
                    <a:pt x="1226820" y="237678"/>
                  </a:lnTo>
                  <a:lnTo>
                    <a:pt x="1226820" y="23767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7678"/>
                  </a:lnTo>
                  <a:close/>
                </a:path>
              </a:pathLst>
            </a:custGeom>
            <a:solidFill>
              <a:srgbClr val="BBBDBF">
                <a:alpha val="60000"/>
              </a:srgbClr>
            </a:solidFill>
            <a:ln w="9525" cap="flat">
              <a:noFill/>
              <a:prstDash val="solid"/>
              <a:miter/>
            </a:ln>
          </p:spPr>
          <p:txBody>
            <a:bodyPr rtlCol="0" anchor="ctr"/>
            <a:lstStyle/>
            <a:p>
              <a:endParaRPr lang="en-US" sz="1050"/>
            </a:p>
          </p:txBody>
        </p:sp>
        <p:sp>
          <p:nvSpPr>
            <p:cNvPr id="194" name="Freeform 246">
              <a:extLst>
                <a:ext uri="{FF2B5EF4-FFF2-40B4-BE49-F238E27FC236}">
                  <a16:creationId xmlns:a16="http://schemas.microsoft.com/office/drawing/2014/main" id="{D46A7E12-AA47-92D7-B134-4B9A0969C2FC}"/>
                </a:ext>
              </a:extLst>
            </p:cNvPr>
            <p:cNvSpPr/>
            <p:nvPr/>
          </p:nvSpPr>
          <p:spPr>
            <a:xfrm>
              <a:off x="3987133" y="4115099"/>
              <a:ext cx="1226819" cy="237678"/>
            </a:xfrm>
            <a:custGeom>
              <a:avLst/>
              <a:gdLst>
                <a:gd name="connsiteX0" fmla="*/ 0 w 1226819"/>
                <a:gd name="connsiteY0" fmla="*/ 237678 h 237678"/>
                <a:gd name="connsiteX1" fmla="*/ 1905 w 1226819"/>
                <a:gd name="connsiteY1" fmla="*/ 237678 h 237678"/>
                <a:gd name="connsiteX2" fmla="*/ 9525 w 1226819"/>
                <a:gd name="connsiteY2" fmla="*/ 237678 h 237678"/>
                <a:gd name="connsiteX3" fmla="*/ 27623 w 1226819"/>
                <a:gd name="connsiteY3" fmla="*/ 237678 h 237678"/>
                <a:gd name="connsiteX4" fmla="*/ 56198 w 1226819"/>
                <a:gd name="connsiteY4" fmla="*/ 237678 h 237678"/>
                <a:gd name="connsiteX5" fmla="*/ 93345 w 1226819"/>
                <a:gd name="connsiteY5" fmla="*/ 237678 h 237678"/>
                <a:gd name="connsiteX6" fmla="*/ 132398 w 1226819"/>
                <a:gd name="connsiteY6" fmla="*/ 237678 h 237678"/>
                <a:gd name="connsiteX7" fmla="*/ 172403 w 1226819"/>
                <a:gd name="connsiteY7" fmla="*/ 237678 h 237678"/>
                <a:gd name="connsiteX8" fmla="*/ 209550 w 1226819"/>
                <a:gd name="connsiteY8" fmla="*/ 237678 h 237678"/>
                <a:gd name="connsiteX9" fmla="*/ 244793 w 1226819"/>
                <a:gd name="connsiteY9" fmla="*/ 237678 h 237678"/>
                <a:gd name="connsiteX10" fmla="*/ 277178 w 1226819"/>
                <a:gd name="connsiteY10" fmla="*/ 237678 h 237678"/>
                <a:gd name="connsiteX11" fmla="*/ 308610 w 1226819"/>
                <a:gd name="connsiteY11" fmla="*/ 237678 h 237678"/>
                <a:gd name="connsiteX12" fmla="*/ 340995 w 1226819"/>
                <a:gd name="connsiteY12" fmla="*/ 237678 h 237678"/>
                <a:gd name="connsiteX13" fmla="*/ 358140 w 1226819"/>
                <a:gd name="connsiteY13" fmla="*/ 237678 h 237678"/>
                <a:gd name="connsiteX14" fmla="*/ 386715 w 1226819"/>
                <a:gd name="connsiteY14" fmla="*/ 237678 h 237678"/>
                <a:gd name="connsiteX15" fmla="*/ 417195 w 1226819"/>
                <a:gd name="connsiteY15" fmla="*/ 237678 h 237678"/>
                <a:gd name="connsiteX16" fmla="*/ 449580 w 1226819"/>
                <a:gd name="connsiteY16" fmla="*/ 237678 h 237678"/>
                <a:gd name="connsiteX17" fmla="*/ 483870 w 1226819"/>
                <a:gd name="connsiteY17" fmla="*/ 237678 h 237678"/>
                <a:gd name="connsiteX18" fmla="*/ 520065 w 1226819"/>
                <a:gd name="connsiteY18" fmla="*/ 237678 h 237678"/>
                <a:gd name="connsiteX19" fmla="*/ 557213 w 1226819"/>
                <a:gd name="connsiteY19" fmla="*/ 237678 h 237678"/>
                <a:gd name="connsiteX20" fmla="*/ 595313 w 1226819"/>
                <a:gd name="connsiteY20" fmla="*/ 237678 h 237678"/>
                <a:gd name="connsiteX21" fmla="*/ 634365 w 1226819"/>
                <a:gd name="connsiteY21" fmla="*/ 237678 h 237678"/>
                <a:gd name="connsiteX22" fmla="*/ 672465 w 1226819"/>
                <a:gd name="connsiteY22" fmla="*/ 237678 h 237678"/>
                <a:gd name="connsiteX23" fmla="*/ 709613 w 1226819"/>
                <a:gd name="connsiteY23" fmla="*/ 237678 h 237678"/>
                <a:gd name="connsiteX24" fmla="*/ 744855 w 1226819"/>
                <a:gd name="connsiteY24" fmla="*/ 237678 h 237678"/>
                <a:gd name="connsiteX25" fmla="*/ 779145 w 1226819"/>
                <a:gd name="connsiteY25" fmla="*/ 237678 h 237678"/>
                <a:gd name="connsiteX26" fmla="*/ 811530 w 1226819"/>
                <a:gd name="connsiteY26" fmla="*/ 237678 h 237678"/>
                <a:gd name="connsiteX27" fmla="*/ 842010 w 1226819"/>
                <a:gd name="connsiteY27" fmla="*/ 237678 h 237678"/>
                <a:gd name="connsiteX28" fmla="*/ 869633 w 1226819"/>
                <a:gd name="connsiteY28" fmla="*/ 237678 h 237678"/>
                <a:gd name="connsiteX29" fmla="*/ 902018 w 1226819"/>
                <a:gd name="connsiteY29" fmla="*/ 237678 h 237678"/>
                <a:gd name="connsiteX30" fmla="*/ 934403 w 1226819"/>
                <a:gd name="connsiteY30" fmla="*/ 237678 h 237678"/>
                <a:gd name="connsiteX31" fmla="*/ 966788 w 1226819"/>
                <a:gd name="connsiteY31" fmla="*/ 237678 h 237678"/>
                <a:gd name="connsiteX32" fmla="*/ 1000125 w 1226819"/>
                <a:gd name="connsiteY32" fmla="*/ 237678 h 237678"/>
                <a:gd name="connsiteX33" fmla="*/ 1036320 w 1226819"/>
                <a:gd name="connsiteY33" fmla="*/ 237678 h 237678"/>
                <a:gd name="connsiteX34" fmla="*/ 1074420 w 1226819"/>
                <a:gd name="connsiteY34" fmla="*/ 237678 h 237678"/>
                <a:gd name="connsiteX35" fmla="*/ 1114425 w 1226819"/>
                <a:gd name="connsiteY35" fmla="*/ 237678 h 237678"/>
                <a:gd name="connsiteX36" fmla="*/ 1153478 w 1226819"/>
                <a:gd name="connsiteY36" fmla="*/ 237678 h 237678"/>
                <a:gd name="connsiteX37" fmla="*/ 1186815 w 1226819"/>
                <a:gd name="connsiteY37" fmla="*/ 237678 h 237678"/>
                <a:gd name="connsiteX38" fmla="*/ 1210628 w 1226819"/>
                <a:gd name="connsiteY38" fmla="*/ 237678 h 237678"/>
                <a:gd name="connsiteX39" fmla="*/ 1223010 w 1226819"/>
                <a:gd name="connsiteY39" fmla="*/ 237678 h 237678"/>
                <a:gd name="connsiteX40" fmla="*/ 1226820 w 1226819"/>
                <a:gd name="connsiteY40" fmla="*/ 237678 h 237678"/>
                <a:gd name="connsiteX41" fmla="*/ 1226820 w 1226819"/>
                <a:gd name="connsiteY41" fmla="*/ 237678 h 237678"/>
                <a:gd name="connsiteX42" fmla="*/ 1226820 w 1226819"/>
                <a:gd name="connsiteY42" fmla="*/ 0 h 237678"/>
                <a:gd name="connsiteX43" fmla="*/ 1225868 w 1226819"/>
                <a:gd name="connsiteY43" fmla="*/ 0 h 237678"/>
                <a:gd name="connsiteX44" fmla="*/ 1218248 w 1226819"/>
                <a:gd name="connsiteY44" fmla="*/ 0 h 237678"/>
                <a:gd name="connsiteX45" fmla="*/ 1200150 w 1226819"/>
                <a:gd name="connsiteY45" fmla="*/ 0 h 237678"/>
                <a:gd name="connsiteX46" fmla="*/ 1170623 w 1226819"/>
                <a:gd name="connsiteY46" fmla="*/ 0 h 237678"/>
                <a:gd name="connsiteX47" fmla="*/ 1134428 w 1226819"/>
                <a:gd name="connsiteY47" fmla="*/ 0 h 237678"/>
                <a:gd name="connsiteX48" fmla="*/ 1095375 w 1226819"/>
                <a:gd name="connsiteY48" fmla="*/ 0 h 237678"/>
                <a:gd name="connsiteX49" fmla="*/ 1055370 w 1226819"/>
                <a:gd name="connsiteY49" fmla="*/ 0 h 237678"/>
                <a:gd name="connsiteX50" fmla="*/ 1018223 w 1226819"/>
                <a:gd name="connsiteY50" fmla="*/ 0 h 237678"/>
                <a:gd name="connsiteX51" fmla="*/ 982980 w 1226819"/>
                <a:gd name="connsiteY51" fmla="*/ 0 h 237678"/>
                <a:gd name="connsiteX52" fmla="*/ 950595 w 1226819"/>
                <a:gd name="connsiteY52" fmla="*/ 0 h 237678"/>
                <a:gd name="connsiteX53" fmla="*/ 918210 w 1226819"/>
                <a:gd name="connsiteY53" fmla="*/ 0 h 237678"/>
                <a:gd name="connsiteX54" fmla="*/ 886778 w 1226819"/>
                <a:gd name="connsiteY54" fmla="*/ 0 h 237678"/>
                <a:gd name="connsiteX55" fmla="*/ 869633 w 1226819"/>
                <a:gd name="connsiteY55" fmla="*/ 0 h 237678"/>
                <a:gd name="connsiteX56" fmla="*/ 840105 w 1226819"/>
                <a:gd name="connsiteY56" fmla="*/ 0 h 237678"/>
                <a:gd name="connsiteX57" fmla="*/ 809625 w 1226819"/>
                <a:gd name="connsiteY57" fmla="*/ 0 h 237678"/>
                <a:gd name="connsiteX58" fmla="*/ 777240 w 1226819"/>
                <a:gd name="connsiteY58" fmla="*/ 0 h 237678"/>
                <a:gd name="connsiteX59" fmla="*/ 743903 w 1226819"/>
                <a:gd name="connsiteY59" fmla="*/ 0 h 237678"/>
                <a:gd name="connsiteX60" fmla="*/ 707708 w 1226819"/>
                <a:gd name="connsiteY60" fmla="*/ 0 h 237678"/>
                <a:gd name="connsiteX61" fmla="*/ 670560 w 1226819"/>
                <a:gd name="connsiteY61" fmla="*/ 0 h 237678"/>
                <a:gd name="connsiteX62" fmla="*/ 632460 w 1226819"/>
                <a:gd name="connsiteY62" fmla="*/ 0 h 237678"/>
                <a:gd name="connsiteX63" fmla="*/ 593408 w 1226819"/>
                <a:gd name="connsiteY63" fmla="*/ 0 h 237678"/>
                <a:gd name="connsiteX64" fmla="*/ 555308 w 1226819"/>
                <a:gd name="connsiteY64" fmla="*/ 0 h 237678"/>
                <a:gd name="connsiteX65" fmla="*/ 518160 w 1226819"/>
                <a:gd name="connsiteY65" fmla="*/ 0 h 237678"/>
                <a:gd name="connsiteX66" fmla="*/ 482918 w 1226819"/>
                <a:gd name="connsiteY66" fmla="*/ 0 h 237678"/>
                <a:gd name="connsiteX67" fmla="*/ 448628 w 1226819"/>
                <a:gd name="connsiteY67" fmla="*/ 0 h 237678"/>
                <a:gd name="connsiteX68" fmla="*/ 416243 w 1226819"/>
                <a:gd name="connsiteY68" fmla="*/ 0 h 237678"/>
                <a:gd name="connsiteX69" fmla="*/ 385763 w 1226819"/>
                <a:gd name="connsiteY69" fmla="*/ 0 h 237678"/>
                <a:gd name="connsiteX70" fmla="*/ 358140 w 1226819"/>
                <a:gd name="connsiteY70" fmla="*/ 0 h 237678"/>
                <a:gd name="connsiteX71" fmla="*/ 325755 w 1226819"/>
                <a:gd name="connsiteY71" fmla="*/ 0 h 237678"/>
                <a:gd name="connsiteX72" fmla="*/ 293370 w 1226819"/>
                <a:gd name="connsiteY72" fmla="*/ 0 h 237678"/>
                <a:gd name="connsiteX73" fmla="*/ 260985 w 1226819"/>
                <a:gd name="connsiteY73" fmla="*/ 0 h 237678"/>
                <a:gd name="connsiteX74" fmla="*/ 227648 w 1226819"/>
                <a:gd name="connsiteY74" fmla="*/ 0 h 237678"/>
                <a:gd name="connsiteX75" fmla="*/ 191453 w 1226819"/>
                <a:gd name="connsiteY75" fmla="*/ 0 h 237678"/>
                <a:gd name="connsiteX76" fmla="*/ 153353 w 1226819"/>
                <a:gd name="connsiteY76" fmla="*/ 0 h 237678"/>
                <a:gd name="connsiteX77" fmla="*/ 113348 w 1226819"/>
                <a:gd name="connsiteY77" fmla="*/ 0 h 237678"/>
                <a:gd name="connsiteX78" fmla="*/ 74295 w 1226819"/>
                <a:gd name="connsiteY78" fmla="*/ 0 h 237678"/>
                <a:gd name="connsiteX79" fmla="*/ 40958 w 1226819"/>
                <a:gd name="connsiteY79" fmla="*/ 0 h 237678"/>
                <a:gd name="connsiteX80" fmla="*/ 17145 w 1226819"/>
                <a:gd name="connsiteY80" fmla="*/ 0 h 237678"/>
                <a:gd name="connsiteX81" fmla="*/ 4763 w 1226819"/>
                <a:gd name="connsiteY81" fmla="*/ 0 h 237678"/>
                <a:gd name="connsiteX82" fmla="*/ 953 w 1226819"/>
                <a:gd name="connsiteY82" fmla="*/ 0 h 237678"/>
                <a:gd name="connsiteX83" fmla="*/ 0 w 1226819"/>
                <a:gd name="connsiteY83" fmla="*/ 0 h 237678"/>
                <a:gd name="connsiteX84" fmla="*/ 0 w 1226819"/>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7678">
                  <a:moveTo>
                    <a:pt x="0" y="237678"/>
                  </a:moveTo>
                  <a:lnTo>
                    <a:pt x="1905" y="237678"/>
                  </a:lnTo>
                  <a:lnTo>
                    <a:pt x="9525" y="237678"/>
                  </a:lnTo>
                  <a:lnTo>
                    <a:pt x="27623" y="237678"/>
                  </a:lnTo>
                  <a:lnTo>
                    <a:pt x="56198" y="237678"/>
                  </a:lnTo>
                  <a:lnTo>
                    <a:pt x="93345" y="237678"/>
                  </a:lnTo>
                  <a:lnTo>
                    <a:pt x="132398" y="237678"/>
                  </a:lnTo>
                  <a:lnTo>
                    <a:pt x="172403" y="237678"/>
                  </a:lnTo>
                  <a:lnTo>
                    <a:pt x="209550" y="237678"/>
                  </a:lnTo>
                  <a:lnTo>
                    <a:pt x="244793" y="237678"/>
                  </a:lnTo>
                  <a:lnTo>
                    <a:pt x="277178" y="237678"/>
                  </a:lnTo>
                  <a:lnTo>
                    <a:pt x="308610" y="237678"/>
                  </a:lnTo>
                  <a:lnTo>
                    <a:pt x="340995" y="237678"/>
                  </a:lnTo>
                  <a:lnTo>
                    <a:pt x="358140" y="237678"/>
                  </a:lnTo>
                  <a:lnTo>
                    <a:pt x="386715" y="237678"/>
                  </a:lnTo>
                  <a:lnTo>
                    <a:pt x="417195" y="237678"/>
                  </a:lnTo>
                  <a:lnTo>
                    <a:pt x="449580" y="237678"/>
                  </a:lnTo>
                  <a:lnTo>
                    <a:pt x="483870" y="237678"/>
                  </a:lnTo>
                  <a:lnTo>
                    <a:pt x="520065" y="237678"/>
                  </a:lnTo>
                  <a:lnTo>
                    <a:pt x="557213" y="237678"/>
                  </a:lnTo>
                  <a:lnTo>
                    <a:pt x="595313" y="237678"/>
                  </a:lnTo>
                  <a:lnTo>
                    <a:pt x="634365" y="237678"/>
                  </a:lnTo>
                  <a:lnTo>
                    <a:pt x="672465" y="237678"/>
                  </a:lnTo>
                  <a:lnTo>
                    <a:pt x="709613" y="237678"/>
                  </a:lnTo>
                  <a:lnTo>
                    <a:pt x="744855" y="237678"/>
                  </a:lnTo>
                  <a:lnTo>
                    <a:pt x="779145" y="237678"/>
                  </a:lnTo>
                  <a:lnTo>
                    <a:pt x="811530" y="237678"/>
                  </a:lnTo>
                  <a:lnTo>
                    <a:pt x="842010" y="237678"/>
                  </a:lnTo>
                  <a:lnTo>
                    <a:pt x="869633" y="237678"/>
                  </a:lnTo>
                  <a:lnTo>
                    <a:pt x="902018" y="237678"/>
                  </a:lnTo>
                  <a:lnTo>
                    <a:pt x="934403" y="237678"/>
                  </a:lnTo>
                  <a:lnTo>
                    <a:pt x="966788" y="237678"/>
                  </a:lnTo>
                  <a:lnTo>
                    <a:pt x="1000125" y="237678"/>
                  </a:lnTo>
                  <a:lnTo>
                    <a:pt x="1036320" y="237678"/>
                  </a:lnTo>
                  <a:lnTo>
                    <a:pt x="1074420" y="237678"/>
                  </a:lnTo>
                  <a:lnTo>
                    <a:pt x="1114425" y="237678"/>
                  </a:lnTo>
                  <a:lnTo>
                    <a:pt x="1153478" y="237678"/>
                  </a:lnTo>
                  <a:lnTo>
                    <a:pt x="1186815" y="237678"/>
                  </a:lnTo>
                  <a:lnTo>
                    <a:pt x="1210628" y="237678"/>
                  </a:lnTo>
                  <a:lnTo>
                    <a:pt x="1223010" y="237678"/>
                  </a:lnTo>
                  <a:lnTo>
                    <a:pt x="1226820" y="237678"/>
                  </a:lnTo>
                  <a:lnTo>
                    <a:pt x="1226820" y="23767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7678"/>
                  </a:lnTo>
                  <a:close/>
                </a:path>
              </a:pathLst>
            </a:custGeom>
            <a:noFill/>
            <a:ln w="9525" cap="flat">
              <a:solidFill>
                <a:srgbClr val="BBBDBF"/>
              </a:solidFill>
              <a:prstDash val="solid"/>
              <a:miter/>
            </a:ln>
          </p:spPr>
          <p:txBody>
            <a:bodyPr rtlCol="0" anchor="ctr"/>
            <a:lstStyle/>
            <a:p>
              <a:endParaRPr lang="en-US" sz="1050"/>
            </a:p>
          </p:txBody>
        </p:sp>
        <p:sp>
          <p:nvSpPr>
            <p:cNvPr id="195" name="Freeform 247">
              <a:extLst>
                <a:ext uri="{FF2B5EF4-FFF2-40B4-BE49-F238E27FC236}">
                  <a16:creationId xmlns:a16="http://schemas.microsoft.com/office/drawing/2014/main" id="{868A5E4F-5F08-0334-1B02-9CCCE0104307}"/>
                </a:ext>
              </a:extLst>
            </p:cNvPr>
            <p:cNvSpPr/>
            <p:nvPr/>
          </p:nvSpPr>
          <p:spPr>
            <a:xfrm>
              <a:off x="3987133" y="4352777"/>
              <a:ext cx="1226819" cy="236727"/>
            </a:xfrm>
            <a:custGeom>
              <a:avLst/>
              <a:gdLst>
                <a:gd name="connsiteX0" fmla="*/ 0 w 1226819"/>
                <a:gd name="connsiteY0" fmla="*/ 236728 h 236727"/>
                <a:gd name="connsiteX1" fmla="*/ 1905 w 1226819"/>
                <a:gd name="connsiteY1" fmla="*/ 236728 h 236727"/>
                <a:gd name="connsiteX2" fmla="*/ 9525 w 1226819"/>
                <a:gd name="connsiteY2" fmla="*/ 236728 h 236727"/>
                <a:gd name="connsiteX3" fmla="*/ 27623 w 1226819"/>
                <a:gd name="connsiteY3" fmla="*/ 236728 h 236727"/>
                <a:gd name="connsiteX4" fmla="*/ 56198 w 1226819"/>
                <a:gd name="connsiteY4" fmla="*/ 236728 h 236727"/>
                <a:gd name="connsiteX5" fmla="*/ 93345 w 1226819"/>
                <a:gd name="connsiteY5" fmla="*/ 236728 h 236727"/>
                <a:gd name="connsiteX6" fmla="*/ 132398 w 1226819"/>
                <a:gd name="connsiteY6" fmla="*/ 236728 h 236727"/>
                <a:gd name="connsiteX7" fmla="*/ 172403 w 1226819"/>
                <a:gd name="connsiteY7" fmla="*/ 236728 h 236727"/>
                <a:gd name="connsiteX8" fmla="*/ 209550 w 1226819"/>
                <a:gd name="connsiteY8" fmla="*/ 236728 h 236727"/>
                <a:gd name="connsiteX9" fmla="*/ 244793 w 1226819"/>
                <a:gd name="connsiteY9" fmla="*/ 236728 h 236727"/>
                <a:gd name="connsiteX10" fmla="*/ 277178 w 1226819"/>
                <a:gd name="connsiteY10" fmla="*/ 236728 h 236727"/>
                <a:gd name="connsiteX11" fmla="*/ 308610 w 1226819"/>
                <a:gd name="connsiteY11" fmla="*/ 236728 h 236727"/>
                <a:gd name="connsiteX12" fmla="*/ 340995 w 1226819"/>
                <a:gd name="connsiteY12" fmla="*/ 236728 h 236727"/>
                <a:gd name="connsiteX13" fmla="*/ 358140 w 1226819"/>
                <a:gd name="connsiteY13" fmla="*/ 236728 h 236727"/>
                <a:gd name="connsiteX14" fmla="*/ 386715 w 1226819"/>
                <a:gd name="connsiteY14" fmla="*/ 236728 h 236727"/>
                <a:gd name="connsiteX15" fmla="*/ 417195 w 1226819"/>
                <a:gd name="connsiteY15" fmla="*/ 236728 h 236727"/>
                <a:gd name="connsiteX16" fmla="*/ 449580 w 1226819"/>
                <a:gd name="connsiteY16" fmla="*/ 236728 h 236727"/>
                <a:gd name="connsiteX17" fmla="*/ 483870 w 1226819"/>
                <a:gd name="connsiteY17" fmla="*/ 236728 h 236727"/>
                <a:gd name="connsiteX18" fmla="*/ 520065 w 1226819"/>
                <a:gd name="connsiteY18" fmla="*/ 236728 h 236727"/>
                <a:gd name="connsiteX19" fmla="*/ 557213 w 1226819"/>
                <a:gd name="connsiteY19" fmla="*/ 236728 h 236727"/>
                <a:gd name="connsiteX20" fmla="*/ 595313 w 1226819"/>
                <a:gd name="connsiteY20" fmla="*/ 236728 h 236727"/>
                <a:gd name="connsiteX21" fmla="*/ 634365 w 1226819"/>
                <a:gd name="connsiteY21" fmla="*/ 236728 h 236727"/>
                <a:gd name="connsiteX22" fmla="*/ 672465 w 1226819"/>
                <a:gd name="connsiteY22" fmla="*/ 236728 h 236727"/>
                <a:gd name="connsiteX23" fmla="*/ 709613 w 1226819"/>
                <a:gd name="connsiteY23" fmla="*/ 236728 h 236727"/>
                <a:gd name="connsiteX24" fmla="*/ 744855 w 1226819"/>
                <a:gd name="connsiteY24" fmla="*/ 236728 h 236727"/>
                <a:gd name="connsiteX25" fmla="*/ 779145 w 1226819"/>
                <a:gd name="connsiteY25" fmla="*/ 236728 h 236727"/>
                <a:gd name="connsiteX26" fmla="*/ 811530 w 1226819"/>
                <a:gd name="connsiteY26" fmla="*/ 236728 h 236727"/>
                <a:gd name="connsiteX27" fmla="*/ 842010 w 1226819"/>
                <a:gd name="connsiteY27" fmla="*/ 236728 h 236727"/>
                <a:gd name="connsiteX28" fmla="*/ 869633 w 1226819"/>
                <a:gd name="connsiteY28" fmla="*/ 236728 h 236727"/>
                <a:gd name="connsiteX29" fmla="*/ 902018 w 1226819"/>
                <a:gd name="connsiteY29" fmla="*/ 236728 h 236727"/>
                <a:gd name="connsiteX30" fmla="*/ 934403 w 1226819"/>
                <a:gd name="connsiteY30" fmla="*/ 236728 h 236727"/>
                <a:gd name="connsiteX31" fmla="*/ 966788 w 1226819"/>
                <a:gd name="connsiteY31" fmla="*/ 236728 h 236727"/>
                <a:gd name="connsiteX32" fmla="*/ 1000125 w 1226819"/>
                <a:gd name="connsiteY32" fmla="*/ 236728 h 236727"/>
                <a:gd name="connsiteX33" fmla="*/ 1036320 w 1226819"/>
                <a:gd name="connsiteY33" fmla="*/ 236728 h 236727"/>
                <a:gd name="connsiteX34" fmla="*/ 1074420 w 1226819"/>
                <a:gd name="connsiteY34" fmla="*/ 236728 h 236727"/>
                <a:gd name="connsiteX35" fmla="*/ 1114425 w 1226819"/>
                <a:gd name="connsiteY35" fmla="*/ 236728 h 236727"/>
                <a:gd name="connsiteX36" fmla="*/ 1153478 w 1226819"/>
                <a:gd name="connsiteY36" fmla="*/ 236728 h 236727"/>
                <a:gd name="connsiteX37" fmla="*/ 1186815 w 1226819"/>
                <a:gd name="connsiteY37" fmla="*/ 236728 h 236727"/>
                <a:gd name="connsiteX38" fmla="*/ 1210628 w 1226819"/>
                <a:gd name="connsiteY38" fmla="*/ 236728 h 236727"/>
                <a:gd name="connsiteX39" fmla="*/ 1223010 w 1226819"/>
                <a:gd name="connsiteY39" fmla="*/ 236728 h 236727"/>
                <a:gd name="connsiteX40" fmla="*/ 1226820 w 1226819"/>
                <a:gd name="connsiteY40" fmla="*/ 236728 h 236727"/>
                <a:gd name="connsiteX41" fmla="*/ 1226820 w 1226819"/>
                <a:gd name="connsiteY41" fmla="*/ 236728 h 236727"/>
                <a:gd name="connsiteX42" fmla="*/ 1226820 w 1226819"/>
                <a:gd name="connsiteY42" fmla="*/ 0 h 236727"/>
                <a:gd name="connsiteX43" fmla="*/ 1225868 w 1226819"/>
                <a:gd name="connsiteY43" fmla="*/ 0 h 236727"/>
                <a:gd name="connsiteX44" fmla="*/ 1218248 w 1226819"/>
                <a:gd name="connsiteY44" fmla="*/ 0 h 236727"/>
                <a:gd name="connsiteX45" fmla="*/ 1200150 w 1226819"/>
                <a:gd name="connsiteY45" fmla="*/ 0 h 236727"/>
                <a:gd name="connsiteX46" fmla="*/ 1170623 w 1226819"/>
                <a:gd name="connsiteY46" fmla="*/ 0 h 236727"/>
                <a:gd name="connsiteX47" fmla="*/ 1134428 w 1226819"/>
                <a:gd name="connsiteY47" fmla="*/ 0 h 236727"/>
                <a:gd name="connsiteX48" fmla="*/ 1095375 w 1226819"/>
                <a:gd name="connsiteY48" fmla="*/ 0 h 236727"/>
                <a:gd name="connsiteX49" fmla="*/ 1055370 w 1226819"/>
                <a:gd name="connsiteY49" fmla="*/ 0 h 236727"/>
                <a:gd name="connsiteX50" fmla="*/ 1018223 w 1226819"/>
                <a:gd name="connsiteY50" fmla="*/ 0 h 236727"/>
                <a:gd name="connsiteX51" fmla="*/ 982980 w 1226819"/>
                <a:gd name="connsiteY51" fmla="*/ 0 h 236727"/>
                <a:gd name="connsiteX52" fmla="*/ 950595 w 1226819"/>
                <a:gd name="connsiteY52" fmla="*/ 0 h 236727"/>
                <a:gd name="connsiteX53" fmla="*/ 918210 w 1226819"/>
                <a:gd name="connsiteY53" fmla="*/ 0 h 236727"/>
                <a:gd name="connsiteX54" fmla="*/ 886778 w 1226819"/>
                <a:gd name="connsiteY54" fmla="*/ 0 h 236727"/>
                <a:gd name="connsiteX55" fmla="*/ 869633 w 1226819"/>
                <a:gd name="connsiteY55" fmla="*/ 0 h 236727"/>
                <a:gd name="connsiteX56" fmla="*/ 840105 w 1226819"/>
                <a:gd name="connsiteY56" fmla="*/ 0 h 236727"/>
                <a:gd name="connsiteX57" fmla="*/ 809625 w 1226819"/>
                <a:gd name="connsiteY57" fmla="*/ 0 h 236727"/>
                <a:gd name="connsiteX58" fmla="*/ 777240 w 1226819"/>
                <a:gd name="connsiteY58" fmla="*/ 0 h 236727"/>
                <a:gd name="connsiteX59" fmla="*/ 743903 w 1226819"/>
                <a:gd name="connsiteY59" fmla="*/ 0 h 236727"/>
                <a:gd name="connsiteX60" fmla="*/ 707708 w 1226819"/>
                <a:gd name="connsiteY60" fmla="*/ 0 h 236727"/>
                <a:gd name="connsiteX61" fmla="*/ 670560 w 1226819"/>
                <a:gd name="connsiteY61" fmla="*/ 0 h 236727"/>
                <a:gd name="connsiteX62" fmla="*/ 632460 w 1226819"/>
                <a:gd name="connsiteY62" fmla="*/ 0 h 236727"/>
                <a:gd name="connsiteX63" fmla="*/ 593408 w 1226819"/>
                <a:gd name="connsiteY63" fmla="*/ 0 h 236727"/>
                <a:gd name="connsiteX64" fmla="*/ 555308 w 1226819"/>
                <a:gd name="connsiteY64" fmla="*/ 0 h 236727"/>
                <a:gd name="connsiteX65" fmla="*/ 518160 w 1226819"/>
                <a:gd name="connsiteY65" fmla="*/ 0 h 236727"/>
                <a:gd name="connsiteX66" fmla="*/ 482918 w 1226819"/>
                <a:gd name="connsiteY66" fmla="*/ 0 h 236727"/>
                <a:gd name="connsiteX67" fmla="*/ 448628 w 1226819"/>
                <a:gd name="connsiteY67" fmla="*/ 0 h 236727"/>
                <a:gd name="connsiteX68" fmla="*/ 416243 w 1226819"/>
                <a:gd name="connsiteY68" fmla="*/ 0 h 236727"/>
                <a:gd name="connsiteX69" fmla="*/ 385763 w 1226819"/>
                <a:gd name="connsiteY69" fmla="*/ 0 h 236727"/>
                <a:gd name="connsiteX70" fmla="*/ 358140 w 1226819"/>
                <a:gd name="connsiteY70" fmla="*/ 0 h 236727"/>
                <a:gd name="connsiteX71" fmla="*/ 325755 w 1226819"/>
                <a:gd name="connsiteY71" fmla="*/ 0 h 236727"/>
                <a:gd name="connsiteX72" fmla="*/ 293370 w 1226819"/>
                <a:gd name="connsiteY72" fmla="*/ 0 h 236727"/>
                <a:gd name="connsiteX73" fmla="*/ 260985 w 1226819"/>
                <a:gd name="connsiteY73" fmla="*/ 0 h 236727"/>
                <a:gd name="connsiteX74" fmla="*/ 227648 w 1226819"/>
                <a:gd name="connsiteY74" fmla="*/ 0 h 236727"/>
                <a:gd name="connsiteX75" fmla="*/ 191453 w 1226819"/>
                <a:gd name="connsiteY75" fmla="*/ 0 h 236727"/>
                <a:gd name="connsiteX76" fmla="*/ 153353 w 1226819"/>
                <a:gd name="connsiteY76" fmla="*/ 0 h 236727"/>
                <a:gd name="connsiteX77" fmla="*/ 113348 w 1226819"/>
                <a:gd name="connsiteY77" fmla="*/ 0 h 236727"/>
                <a:gd name="connsiteX78" fmla="*/ 74295 w 1226819"/>
                <a:gd name="connsiteY78" fmla="*/ 0 h 236727"/>
                <a:gd name="connsiteX79" fmla="*/ 40958 w 1226819"/>
                <a:gd name="connsiteY79" fmla="*/ 0 h 236727"/>
                <a:gd name="connsiteX80" fmla="*/ 17145 w 1226819"/>
                <a:gd name="connsiteY80" fmla="*/ 0 h 236727"/>
                <a:gd name="connsiteX81" fmla="*/ 4763 w 1226819"/>
                <a:gd name="connsiteY81" fmla="*/ 0 h 236727"/>
                <a:gd name="connsiteX82" fmla="*/ 953 w 1226819"/>
                <a:gd name="connsiteY82" fmla="*/ 0 h 236727"/>
                <a:gd name="connsiteX83" fmla="*/ 0 w 1226819"/>
                <a:gd name="connsiteY83" fmla="*/ 0 h 236727"/>
                <a:gd name="connsiteX84" fmla="*/ 0 w 1226819"/>
                <a:gd name="connsiteY84" fmla="*/ 236728 h 2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6727">
                  <a:moveTo>
                    <a:pt x="0" y="236728"/>
                  </a:moveTo>
                  <a:lnTo>
                    <a:pt x="1905" y="236728"/>
                  </a:lnTo>
                  <a:lnTo>
                    <a:pt x="9525" y="236728"/>
                  </a:lnTo>
                  <a:lnTo>
                    <a:pt x="27623" y="236728"/>
                  </a:lnTo>
                  <a:lnTo>
                    <a:pt x="56198" y="236728"/>
                  </a:lnTo>
                  <a:lnTo>
                    <a:pt x="93345" y="236728"/>
                  </a:lnTo>
                  <a:lnTo>
                    <a:pt x="132398" y="236728"/>
                  </a:lnTo>
                  <a:lnTo>
                    <a:pt x="172403" y="236728"/>
                  </a:lnTo>
                  <a:lnTo>
                    <a:pt x="209550" y="236728"/>
                  </a:lnTo>
                  <a:lnTo>
                    <a:pt x="244793" y="236728"/>
                  </a:lnTo>
                  <a:lnTo>
                    <a:pt x="277178" y="236728"/>
                  </a:lnTo>
                  <a:lnTo>
                    <a:pt x="308610" y="236728"/>
                  </a:lnTo>
                  <a:lnTo>
                    <a:pt x="340995" y="236728"/>
                  </a:lnTo>
                  <a:lnTo>
                    <a:pt x="358140" y="236728"/>
                  </a:lnTo>
                  <a:lnTo>
                    <a:pt x="386715" y="236728"/>
                  </a:lnTo>
                  <a:lnTo>
                    <a:pt x="417195" y="236728"/>
                  </a:lnTo>
                  <a:lnTo>
                    <a:pt x="449580" y="236728"/>
                  </a:lnTo>
                  <a:lnTo>
                    <a:pt x="483870" y="236728"/>
                  </a:lnTo>
                  <a:lnTo>
                    <a:pt x="520065" y="236728"/>
                  </a:lnTo>
                  <a:lnTo>
                    <a:pt x="557213" y="236728"/>
                  </a:lnTo>
                  <a:lnTo>
                    <a:pt x="595313" y="236728"/>
                  </a:lnTo>
                  <a:lnTo>
                    <a:pt x="634365" y="236728"/>
                  </a:lnTo>
                  <a:lnTo>
                    <a:pt x="672465" y="236728"/>
                  </a:lnTo>
                  <a:lnTo>
                    <a:pt x="709613" y="236728"/>
                  </a:lnTo>
                  <a:lnTo>
                    <a:pt x="744855" y="236728"/>
                  </a:lnTo>
                  <a:lnTo>
                    <a:pt x="779145" y="236728"/>
                  </a:lnTo>
                  <a:lnTo>
                    <a:pt x="811530" y="236728"/>
                  </a:lnTo>
                  <a:lnTo>
                    <a:pt x="842010" y="236728"/>
                  </a:lnTo>
                  <a:lnTo>
                    <a:pt x="869633" y="236728"/>
                  </a:lnTo>
                  <a:lnTo>
                    <a:pt x="902018" y="236728"/>
                  </a:lnTo>
                  <a:lnTo>
                    <a:pt x="934403" y="236728"/>
                  </a:lnTo>
                  <a:lnTo>
                    <a:pt x="966788" y="236728"/>
                  </a:lnTo>
                  <a:lnTo>
                    <a:pt x="1000125" y="236728"/>
                  </a:lnTo>
                  <a:lnTo>
                    <a:pt x="1036320" y="236728"/>
                  </a:lnTo>
                  <a:lnTo>
                    <a:pt x="1074420" y="236728"/>
                  </a:lnTo>
                  <a:lnTo>
                    <a:pt x="1114425" y="236728"/>
                  </a:lnTo>
                  <a:lnTo>
                    <a:pt x="1153478" y="236728"/>
                  </a:lnTo>
                  <a:lnTo>
                    <a:pt x="1186815" y="236728"/>
                  </a:lnTo>
                  <a:lnTo>
                    <a:pt x="1210628" y="236728"/>
                  </a:lnTo>
                  <a:lnTo>
                    <a:pt x="1223010" y="236728"/>
                  </a:lnTo>
                  <a:lnTo>
                    <a:pt x="1226820" y="236728"/>
                  </a:lnTo>
                  <a:lnTo>
                    <a:pt x="1226820" y="23672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6728"/>
                  </a:lnTo>
                  <a:close/>
                </a:path>
              </a:pathLst>
            </a:custGeom>
            <a:solidFill>
              <a:srgbClr val="BBBDBF">
                <a:alpha val="60000"/>
              </a:srgbClr>
            </a:solidFill>
            <a:ln w="9525" cap="flat">
              <a:noFill/>
              <a:prstDash val="solid"/>
              <a:miter/>
            </a:ln>
          </p:spPr>
          <p:txBody>
            <a:bodyPr rtlCol="0" anchor="ctr"/>
            <a:lstStyle/>
            <a:p>
              <a:endParaRPr lang="en-US" sz="1050"/>
            </a:p>
          </p:txBody>
        </p:sp>
        <p:sp>
          <p:nvSpPr>
            <p:cNvPr id="196" name="Freeform 248">
              <a:extLst>
                <a:ext uri="{FF2B5EF4-FFF2-40B4-BE49-F238E27FC236}">
                  <a16:creationId xmlns:a16="http://schemas.microsoft.com/office/drawing/2014/main" id="{FAFCD726-A415-31C6-FB5C-1DC99B0E4C7C}"/>
                </a:ext>
              </a:extLst>
            </p:cNvPr>
            <p:cNvSpPr/>
            <p:nvPr/>
          </p:nvSpPr>
          <p:spPr>
            <a:xfrm>
              <a:off x="3987133" y="4352777"/>
              <a:ext cx="1226819" cy="236727"/>
            </a:xfrm>
            <a:custGeom>
              <a:avLst/>
              <a:gdLst>
                <a:gd name="connsiteX0" fmla="*/ 0 w 1226819"/>
                <a:gd name="connsiteY0" fmla="*/ 236728 h 236727"/>
                <a:gd name="connsiteX1" fmla="*/ 1905 w 1226819"/>
                <a:gd name="connsiteY1" fmla="*/ 236728 h 236727"/>
                <a:gd name="connsiteX2" fmla="*/ 9525 w 1226819"/>
                <a:gd name="connsiteY2" fmla="*/ 236728 h 236727"/>
                <a:gd name="connsiteX3" fmla="*/ 27623 w 1226819"/>
                <a:gd name="connsiteY3" fmla="*/ 236728 h 236727"/>
                <a:gd name="connsiteX4" fmla="*/ 56198 w 1226819"/>
                <a:gd name="connsiteY4" fmla="*/ 236728 h 236727"/>
                <a:gd name="connsiteX5" fmla="*/ 93345 w 1226819"/>
                <a:gd name="connsiteY5" fmla="*/ 236728 h 236727"/>
                <a:gd name="connsiteX6" fmla="*/ 132398 w 1226819"/>
                <a:gd name="connsiteY6" fmla="*/ 236728 h 236727"/>
                <a:gd name="connsiteX7" fmla="*/ 172403 w 1226819"/>
                <a:gd name="connsiteY7" fmla="*/ 236728 h 236727"/>
                <a:gd name="connsiteX8" fmla="*/ 209550 w 1226819"/>
                <a:gd name="connsiteY8" fmla="*/ 236728 h 236727"/>
                <a:gd name="connsiteX9" fmla="*/ 244793 w 1226819"/>
                <a:gd name="connsiteY9" fmla="*/ 236728 h 236727"/>
                <a:gd name="connsiteX10" fmla="*/ 277178 w 1226819"/>
                <a:gd name="connsiteY10" fmla="*/ 236728 h 236727"/>
                <a:gd name="connsiteX11" fmla="*/ 308610 w 1226819"/>
                <a:gd name="connsiteY11" fmla="*/ 236728 h 236727"/>
                <a:gd name="connsiteX12" fmla="*/ 340995 w 1226819"/>
                <a:gd name="connsiteY12" fmla="*/ 236728 h 236727"/>
                <a:gd name="connsiteX13" fmla="*/ 358140 w 1226819"/>
                <a:gd name="connsiteY13" fmla="*/ 236728 h 236727"/>
                <a:gd name="connsiteX14" fmla="*/ 386715 w 1226819"/>
                <a:gd name="connsiteY14" fmla="*/ 236728 h 236727"/>
                <a:gd name="connsiteX15" fmla="*/ 417195 w 1226819"/>
                <a:gd name="connsiteY15" fmla="*/ 236728 h 236727"/>
                <a:gd name="connsiteX16" fmla="*/ 449580 w 1226819"/>
                <a:gd name="connsiteY16" fmla="*/ 236728 h 236727"/>
                <a:gd name="connsiteX17" fmla="*/ 483870 w 1226819"/>
                <a:gd name="connsiteY17" fmla="*/ 236728 h 236727"/>
                <a:gd name="connsiteX18" fmla="*/ 520065 w 1226819"/>
                <a:gd name="connsiteY18" fmla="*/ 236728 h 236727"/>
                <a:gd name="connsiteX19" fmla="*/ 557213 w 1226819"/>
                <a:gd name="connsiteY19" fmla="*/ 236728 h 236727"/>
                <a:gd name="connsiteX20" fmla="*/ 595313 w 1226819"/>
                <a:gd name="connsiteY20" fmla="*/ 236728 h 236727"/>
                <a:gd name="connsiteX21" fmla="*/ 634365 w 1226819"/>
                <a:gd name="connsiteY21" fmla="*/ 236728 h 236727"/>
                <a:gd name="connsiteX22" fmla="*/ 672465 w 1226819"/>
                <a:gd name="connsiteY22" fmla="*/ 236728 h 236727"/>
                <a:gd name="connsiteX23" fmla="*/ 709613 w 1226819"/>
                <a:gd name="connsiteY23" fmla="*/ 236728 h 236727"/>
                <a:gd name="connsiteX24" fmla="*/ 744855 w 1226819"/>
                <a:gd name="connsiteY24" fmla="*/ 236728 h 236727"/>
                <a:gd name="connsiteX25" fmla="*/ 779145 w 1226819"/>
                <a:gd name="connsiteY25" fmla="*/ 236728 h 236727"/>
                <a:gd name="connsiteX26" fmla="*/ 811530 w 1226819"/>
                <a:gd name="connsiteY26" fmla="*/ 236728 h 236727"/>
                <a:gd name="connsiteX27" fmla="*/ 842010 w 1226819"/>
                <a:gd name="connsiteY27" fmla="*/ 236728 h 236727"/>
                <a:gd name="connsiteX28" fmla="*/ 869633 w 1226819"/>
                <a:gd name="connsiteY28" fmla="*/ 236728 h 236727"/>
                <a:gd name="connsiteX29" fmla="*/ 902018 w 1226819"/>
                <a:gd name="connsiteY29" fmla="*/ 236728 h 236727"/>
                <a:gd name="connsiteX30" fmla="*/ 934403 w 1226819"/>
                <a:gd name="connsiteY30" fmla="*/ 236728 h 236727"/>
                <a:gd name="connsiteX31" fmla="*/ 966788 w 1226819"/>
                <a:gd name="connsiteY31" fmla="*/ 236728 h 236727"/>
                <a:gd name="connsiteX32" fmla="*/ 1000125 w 1226819"/>
                <a:gd name="connsiteY32" fmla="*/ 236728 h 236727"/>
                <a:gd name="connsiteX33" fmla="*/ 1036320 w 1226819"/>
                <a:gd name="connsiteY33" fmla="*/ 236728 h 236727"/>
                <a:gd name="connsiteX34" fmla="*/ 1074420 w 1226819"/>
                <a:gd name="connsiteY34" fmla="*/ 236728 h 236727"/>
                <a:gd name="connsiteX35" fmla="*/ 1114425 w 1226819"/>
                <a:gd name="connsiteY35" fmla="*/ 236728 h 236727"/>
                <a:gd name="connsiteX36" fmla="*/ 1153478 w 1226819"/>
                <a:gd name="connsiteY36" fmla="*/ 236728 h 236727"/>
                <a:gd name="connsiteX37" fmla="*/ 1186815 w 1226819"/>
                <a:gd name="connsiteY37" fmla="*/ 236728 h 236727"/>
                <a:gd name="connsiteX38" fmla="*/ 1210628 w 1226819"/>
                <a:gd name="connsiteY38" fmla="*/ 236728 h 236727"/>
                <a:gd name="connsiteX39" fmla="*/ 1223010 w 1226819"/>
                <a:gd name="connsiteY39" fmla="*/ 236728 h 236727"/>
                <a:gd name="connsiteX40" fmla="*/ 1226820 w 1226819"/>
                <a:gd name="connsiteY40" fmla="*/ 236728 h 236727"/>
                <a:gd name="connsiteX41" fmla="*/ 1226820 w 1226819"/>
                <a:gd name="connsiteY41" fmla="*/ 236728 h 236727"/>
                <a:gd name="connsiteX42" fmla="*/ 1226820 w 1226819"/>
                <a:gd name="connsiteY42" fmla="*/ 0 h 236727"/>
                <a:gd name="connsiteX43" fmla="*/ 1225868 w 1226819"/>
                <a:gd name="connsiteY43" fmla="*/ 0 h 236727"/>
                <a:gd name="connsiteX44" fmla="*/ 1218248 w 1226819"/>
                <a:gd name="connsiteY44" fmla="*/ 0 h 236727"/>
                <a:gd name="connsiteX45" fmla="*/ 1200150 w 1226819"/>
                <a:gd name="connsiteY45" fmla="*/ 0 h 236727"/>
                <a:gd name="connsiteX46" fmla="*/ 1170623 w 1226819"/>
                <a:gd name="connsiteY46" fmla="*/ 0 h 236727"/>
                <a:gd name="connsiteX47" fmla="*/ 1134428 w 1226819"/>
                <a:gd name="connsiteY47" fmla="*/ 0 h 236727"/>
                <a:gd name="connsiteX48" fmla="*/ 1095375 w 1226819"/>
                <a:gd name="connsiteY48" fmla="*/ 0 h 236727"/>
                <a:gd name="connsiteX49" fmla="*/ 1055370 w 1226819"/>
                <a:gd name="connsiteY49" fmla="*/ 0 h 236727"/>
                <a:gd name="connsiteX50" fmla="*/ 1018223 w 1226819"/>
                <a:gd name="connsiteY50" fmla="*/ 0 h 236727"/>
                <a:gd name="connsiteX51" fmla="*/ 982980 w 1226819"/>
                <a:gd name="connsiteY51" fmla="*/ 0 h 236727"/>
                <a:gd name="connsiteX52" fmla="*/ 950595 w 1226819"/>
                <a:gd name="connsiteY52" fmla="*/ 0 h 236727"/>
                <a:gd name="connsiteX53" fmla="*/ 918210 w 1226819"/>
                <a:gd name="connsiteY53" fmla="*/ 0 h 236727"/>
                <a:gd name="connsiteX54" fmla="*/ 886778 w 1226819"/>
                <a:gd name="connsiteY54" fmla="*/ 0 h 236727"/>
                <a:gd name="connsiteX55" fmla="*/ 869633 w 1226819"/>
                <a:gd name="connsiteY55" fmla="*/ 0 h 236727"/>
                <a:gd name="connsiteX56" fmla="*/ 840105 w 1226819"/>
                <a:gd name="connsiteY56" fmla="*/ 0 h 236727"/>
                <a:gd name="connsiteX57" fmla="*/ 809625 w 1226819"/>
                <a:gd name="connsiteY57" fmla="*/ 0 h 236727"/>
                <a:gd name="connsiteX58" fmla="*/ 777240 w 1226819"/>
                <a:gd name="connsiteY58" fmla="*/ 0 h 236727"/>
                <a:gd name="connsiteX59" fmla="*/ 743903 w 1226819"/>
                <a:gd name="connsiteY59" fmla="*/ 0 h 236727"/>
                <a:gd name="connsiteX60" fmla="*/ 707708 w 1226819"/>
                <a:gd name="connsiteY60" fmla="*/ 0 h 236727"/>
                <a:gd name="connsiteX61" fmla="*/ 670560 w 1226819"/>
                <a:gd name="connsiteY61" fmla="*/ 0 h 236727"/>
                <a:gd name="connsiteX62" fmla="*/ 632460 w 1226819"/>
                <a:gd name="connsiteY62" fmla="*/ 0 h 236727"/>
                <a:gd name="connsiteX63" fmla="*/ 593408 w 1226819"/>
                <a:gd name="connsiteY63" fmla="*/ 0 h 236727"/>
                <a:gd name="connsiteX64" fmla="*/ 555308 w 1226819"/>
                <a:gd name="connsiteY64" fmla="*/ 0 h 236727"/>
                <a:gd name="connsiteX65" fmla="*/ 518160 w 1226819"/>
                <a:gd name="connsiteY65" fmla="*/ 0 h 236727"/>
                <a:gd name="connsiteX66" fmla="*/ 482918 w 1226819"/>
                <a:gd name="connsiteY66" fmla="*/ 0 h 236727"/>
                <a:gd name="connsiteX67" fmla="*/ 448628 w 1226819"/>
                <a:gd name="connsiteY67" fmla="*/ 0 h 236727"/>
                <a:gd name="connsiteX68" fmla="*/ 416243 w 1226819"/>
                <a:gd name="connsiteY68" fmla="*/ 0 h 236727"/>
                <a:gd name="connsiteX69" fmla="*/ 385763 w 1226819"/>
                <a:gd name="connsiteY69" fmla="*/ 0 h 236727"/>
                <a:gd name="connsiteX70" fmla="*/ 358140 w 1226819"/>
                <a:gd name="connsiteY70" fmla="*/ 0 h 236727"/>
                <a:gd name="connsiteX71" fmla="*/ 325755 w 1226819"/>
                <a:gd name="connsiteY71" fmla="*/ 0 h 236727"/>
                <a:gd name="connsiteX72" fmla="*/ 293370 w 1226819"/>
                <a:gd name="connsiteY72" fmla="*/ 0 h 236727"/>
                <a:gd name="connsiteX73" fmla="*/ 260985 w 1226819"/>
                <a:gd name="connsiteY73" fmla="*/ 0 h 236727"/>
                <a:gd name="connsiteX74" fmla="*/ 227648 w 1226819"/>
                <a:gd name="connsiteY74" fmla="*/ 0 h 236727"/>
                <a:gd name="connsiteX75" fmla="*/ 191453 w 1226819"/>
                <a:gd name="connsiteY75" fmla="*/ 0 h 236727"/>
                <a:gd name="connsiteX76" fmla="*/ 153353 w 1226819"/>
                <a:gd name="connsiteY76" fmla="*/ 0 h 236727"/>
                <a:gd name="connsiteX77" fmla="*/ 113348 w 1226819"/>
                <a:gd name="connsiteY77" fmla="*/ 0 h 236727"/>
                <a:gd name="connsiteX78" fmla="*/ 74295 w 1226819"/>
                <a:gd name="connsiteY78" fmla="*/ 0 h 236727"/>
                <a:gd name="connsiteX79" fmla="*/ 40958 w 1226819"/>
                <a:gd name="connsiteY79" fmla="*/ 0 h 236727"/>
                <a:gd name="connsiteX80" fmla="*/ 17145 w 1226819"/>
                <a:gd name="connsiteY80" fmla="*/ 0 h 236727"/>
                <a:gd name="connsiteX81" fmla="*/ 4763 w 1226819"/>
                <a:gd name="connsiteY81" fmla="*/ 0 h 236727"/>
                <a:gd name="connsiteX82" fmla="*/ 953 w 1226819"/>
                <a:gd name="connsiteY82" fmla="*/ 0 h 236727"/>
                <a:gd name="connsiteX83" fmla="*/ 0 w 1226819"/>
                <a:gd name="connsiteY83" fmla="*/ 0 h 236727"/>
                <a:gd name="connsiteX84" fmla="*/ 0 w 1226819"/>
                <a:gd name="connsiteY84" fmla="*/ 236728 h 2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6727">
                  <a:moveTo>
                    <a:pt x="0" y="236728"/>
                  </a:moveTo>
                  <a:lnTo>
                    <a:pt x="1905" y="236728"/>
                  </a:lnTo>
                  <a:lnTo>
                    <a:pt x="9525" y="236728"/>
                  </a:lnTo>
                  <a:lnTo>
                    <a:pt x="27623" y="236728"/>
                  </a:lnTo>
                  <a:lnTo>
                    <a:pt x="56198" y="236728"/>
                  </a:lnTo>
                  <a:lnTo>
                    <a:pt x="93345" y="236728"/>
                  </a:lnTo>
                  <a:lnTo>
                    <a:pt x="132398" y="236728"/>
                  </a:lnTo>
                  <a:lnTo>
                    <a:pt x="172403" y="236728"/>
                  </a:lnTo>
                  <a:lnTo>
                    <a:pt x="209550" y="236728"/>
                  </a:lnTo>
                  <a:lnTo>
                    <a:pt x="244793" y="236728"/>
                  </a:lnTo>
                  <a:lnTo>
                    <a:pt x="277178" y="236728"/>
                  </a:lnTo>
                  <a:lnTo>
                    <a:pt x="308610" y="236728"/>
                  </a:lnTo>
                  <a:lnTo>
                    <a:pt x="340995" y="236728"/>
                  </a:lnTo>
                  <a:lnTo>
                    <a:pt x="358140" y="236728"/>
                  </a:lnTo>
                  <a:lnTo>
                    <a:pt x="386715" y="236728"/>
                  </a:lnTo>
                  <a:lnTo>
                    <a:pt x="417195" y="236728"/>
                  </a:lnTo>
                  <a:lnTo>
                    <a:pt x="449580" y="236728"/>
                  </a:lnTo>
                  <a:lnTo>
                    <a:pt x="483870" y="236728"/>
                  </a:lnTo>
                  <a:lnTo>
                    <a:pt x="520065" y="236728"/>
                  </a:lnTo>
                  <a:lnTo>
                    <a:pt x="557213" y="236728"/>
                  </a:lnTo>
                  <a:lnTo>
                    <a:pt x="595313" y="236728"/>
                  </a:lnTo>
                  <a:lnTo>
                    <a:pt x="634365" y="236728"/>
                  </a:lnTo>
                  <a:lnTo>
                    <a:pt x="672465" y="236728"/>
                  </a:lnTo>
                  <a:lnTo>
                    <a:pt x="709613" y="236728"/>
                  </a:lnTo>
                  <a:lnTo>
                    <a:pt x="744855" y="236728"/>
                  </a:lnTo>
                  <a:lnTo>
                    <a:pt x="779145" y="236728"/>
                  </a:lnTo>
                  <a:lnTo>
                    <a:pt x="811530" y="236728"/>
                  </a:lnTo>
                  <a:lnTo>
                    <a:pt x="842010" y="236728"/>
                  </a:lnTo>
                  <a:lnTo>
                    <a:pt x="869633" y="236728"/>
                  </a:lnTo>
                  <a:lnTo>
                    <a:pt x="902018" y="236728"/>
                  </a:lnTo>
                  <a:lnTo>
                    <a:pt x="934403" y="236728"/>
                  </a:lnTo>
                  <a:lnTo>
                    <a:pt x="966788" y="236728"/>
                  </a:lnTo>
                  <a:lnTo>
                    <a:pt x="1000125" y="236728"/>
                  </a:lnTo>
                  <a:lnTo>
                    <a:pt x="1036320" y="236728"/>
                  </a:lnTo>
                  <a:lnTo>
                    <a:pt x="1074420" y="236728"/>
                  </a:lnTo>
                  <a:lnTo>
                    <a:pt x="1114425" y="236728"/>
                  </a:lnTo>
                  <a:lnTo>
                    <a:pt x="1153478" y="236728"/>
                  </a:lnTo>
                  <a:lnTo>
                    <a:pt x="1186815" y="236728"/>
                  </a:lnTo>
                  <a:lnTo>
                    <a:pt x="1210628" y="236728"/>
                  </a:lnTo>
                  <a:lnTo>
                    <a:pt x="1223010" y="236728"/>
                  </a:lnTo>
                  <a:lnTo>
                    <a:pt x="1226820" y="236728"/>
                  </a:lnTo>
                  <a:lnTo>
                    <a:pt x="1226820" y="23672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6728"/>
                  </a:lnTo>
                  <a:close/>
                </a:path>
              </a:pathLst>
            </a:custGeom>
            <a:noFill/>
            <a:ln w="9525" cap="flat">
              <a:solidFill>
                <a:srgbClr val="BBBDBF"/>
              </a:solidFill>
              <a:prstDash val="solid"/>
              <a:miter/>
            </a:ln>
          </p:spPr>
          <p:txBody>
            <a:bodyPr rtlCol="0" anchor="ctr"/>
            <a:lstStyle/>
            <a:p>
              <a:endParaRPr lang="en-US" sz="1050"/>
            </a:p>
          </p:txBody>
        </p:sp>
        <p:sp>
          <p:nvSpPr>
            <p:cNvPr id="197" name="Freeform 249">
              <a:extLst>
                <a:ext uri="{FF2B5EF4-FFF2-40B4-BE49-F238E27FC236}">
                  <a16:creationId xmlns:a16="http://schemas.microsoft.com/office/drawing/2014/main" id="{CAE81226-9FD1-FC1E-0C90-013689B60030}"/>
                </a:ext>
              </a:extLst>
            </p:cNvPr>
            <p:cNvSpPr/>
            <p:nvPr/>
          </p:nvSpPr>
          <p:spPr>
            <a:xfrm>
              <a:off x="3987133" y="4589505"/>
              <a:ext cx="1226819" cy="237678"/>
            </a:xfrm>
            <a:custGeom>
              <a:avLst/>
              <a:gdLst>
                <a:gd name="connsiteX0" fmla="*/ 0 w 1226819"/>
                <a:gd name="connsiteY0" fmla="*/ 237678 h 237678"/>
                <a:gd name="connsiteX1" fmla="*/ 1905 w 1226819"/>
                <a:gd name="connsiteY1" fmla="*/ 237678 h 237678"/>
                <a:gd name="connsiteX2" fmla="*/ 9525 w 1226819"/>
                <a:gd name="connsiteY2" fmla="*/ 237678 h 237678"/>
                <a:gd name="connsiteX3" fmla="*/ 27623 w 1226819"/>
                <a:gd name="connsiteY3" fmla="*/ 237678 h 237678"/>
                <a:gd name="connsiteX4" fmla="*/ 56198 w 1226819"/>
                <a:gd name="connsiteY4" fmla="*/ 237678 h 237678"/>
                <a:gd name="connsiteX5" fmla="*/ 93345 w 1226819"/>
                <a:gd name="connsiteY5" fmla="*/ 237678 h 237678"/>
                <a:gd name="connsiteX6" fmla="*/ 132398 w 1226819"/>
                <a:gd name="connsiteY6" fmla="*/ 237678 h 237678"/>
                <a:gd name="connsiteX7" fmla="*/ 172403 w 1226819"/>
                <a:gd name="connsiteY7" fmla="*/ 237678 h 237678"/>
                <a:gd name="connsiteX8" fmla="*/ 209550 w 1226819"/>
                <a:gd name="connsiteY8" fmla="*/ 237678 h 237678"/>
                <a:gd name="connsiteX9" fmla="*/ 244793 w 1226819"/>
                <a:gd name="connsiteY9" fmla="*/ 237678 h 237678"/>
                <a:gd name="connsiteX10" fmla="*/ 277178 w 1226819"/>
                <a:gd name="connsiteY10" fmla="*/ 237678 h 237678"/>
                <a:gd name="connsiteX11" fmla="*/ 308610 w 1226819"/>
                <a:gd name="connsiteY11" fmla="*/ 237678 h 237678"/>
                <a:gd name="connsiteX12" fmla="*/ 340995 w 1226819"/>
                <a:gd name="connsiteY12" fmla="*/ 237678 h 237678"/>
                <a:gd name="connsiteX13" fmla="*/ 358140 w 1226819"/>
                <a:gd name="connsiteY13" fmla="*/ 237678 h 237678"/>
                <a:gd name="connsiteX14" fmla="*/ 386715 w 1226819"/>
                <a:gd name="connsiteY14" fmla="*/ 237678 h 237678"/>
                <a:gd name="connsiteX15" fmla="*/ 417195 w 1226819"/>
                <a:gd name="connsiteY15" fmla="*/ 237678 h 237678"/>
                <a:gd name="connsiteX16" fmla="*/ 449580 w 1226819"/>
                <a:gd name="connsiteY16" fmla="*/ 237678 h 237678"/>
                <a:gd name="connsiteX17" fmla="*/ 483870 w 1226819"/>
                <a:gd name="connsiteY17" fmla="*/ 237678 h 237678"/>
                <a:gd name="connsiteX18" fmla="*/ 520065 w 1226819"/>
                <a:gd name="connsiteY18" fmla="*/ 237678 h 237678"/>
                <a:gd name="connsiteX19" fmla="*/ 557213 w 1226819"/>
                <a:gd name="connsiteY19" fmla="*/ 237678 h 237678"/>
                <a:gd name="connsiteX20" fmla="*/ 595313 w 1226819"/>
                <a:gd name="connsiteY20" fmla="*/ 237678 h 237678"/>
                <a:gd name="connsiteX21" fmla="*/ 634365 w 1226819"/>
                <a:gd name="connsiteY21" fmla="*/ 237678 h 237678"/>
                <a:gd name="connsiteX22" fmla="*/ 672465 w 1226819"/>
                <a:gd name="connsiteY22" fmla="*/ 237678 h 237678"/>
                <a:gd name="connsiteX23" fmla="*/ 709613 w 1226819"/>
                <a:gd name="connsiteY23" fmla="*/ 237678 h 237678"/>
                <a:gd name="connsiteX24" fmla="*/ 744855 w 1226819"/>
                <a:gd name="connsiteY24" fmla="*/ 237678 h 237678"/>
                <a:gd name="connsiteX25" fmla="*/ 779145 w 1226819"/>
                <a:gd name="connsiteY25" fmla="*/ 237678 h 237678"/>
                <a:gd name="connsiteX26" fmla="*/ 811530 w 1226819"/>
                <a:gd name="connsiteY26" fmla="*/ 237678 h 237678"/>
                <a:gd name="connsiteX27" fmla="*/ 842010 w 1226819"/>
                <a:gd name="connsiteY27" fmla="*/ 237678 h 237678"/>
                <a:gd name="connsiteX28" fmla="*/ 869633 w 1226819"/>
                <a:gd name="connsiteY28" fmla="*/ 237678 h 237678"/>
                <a:gd name="connsiteX29" fmla="*/ 902018 w 1226819"/>
                <a:gd name="connsiteY29" fmla="*/ 237678 h 237678"/>
                <a:gd name="connsiteX30" fmla="*/ 934403 w 1226819"/>
                <a:gd name="connsiteY30" fmla="*/ 237678 h 237678"/>
                <a:gd name="connsiteX31" fmla="*/ 966788 w 1226819"/>
                <a:gd name="connsiteY31" fmla="*/ 237678 h 237678"/>
                <a:gd name="connsiteX32" fmla="*/ 1000125 w 1226819"/>
                <a:gd name="connsiteY32" fmla="*/ 237678 h 237678"/>
                <a:gd name="connsiteX33" fmla="*/ 1036320 w 1226819"/>
                <a:gd name="connsiteY33" fmla="*/ 237678 h 237678"/>
                <a:gd name="connsiteX34" fmla="*/ 1074420 w 1226819"/>
                <a:gd name="connsiteY34" fmla="*/ 237678 h 237678"/>
                <a:gd name="connsiteX35" fmla="*/ 1114425 w 1226819"/>
                <a:gd name="connsiteY35" fmla="*/ 237678 h 237678"/>
                <a:gd name="connsiteX36" fmla="*/ 1153478 w 1226819"/>
                <a:gd name="connsiteY36" fmla="*/ 237678 h 237678"/>
                <a:gd name="connsiteX37" fmla="*/ 1186815 w 1226819"/>
                <a:gd name="connsiteY37" fmla="*/ 237678 h 237678"/>
                <a:gd name="connsiteX38" fmla="*/ 1210628 w 1226819"/>
                <a:gd name="connsiteY38" fmla="*/ 237678 h 237678"/>
                <a:gd name="connsiteX39" fmla="*/ 1223010 w 1226819"/>
                <a:gd name="connsiteY39" fmla="*/ 237678 h 237678"/>
                <a:gd name="connsiteX40" fmla="*/ 1226820 w 1226819"/>
                <a:gd name="connsiteY40" fmla="*/ 237678 h 237678"/>
                <a:gd name="connsiteX41" fmla="*/ 1226820 w 1226819"/>
                <a:gd name="connsiteY41" fmla="*/ 237678 h 237678"/>
                <a:gd name="connsiteX42" fmla="*/ 1226820 w 1226819"/>
                <a:gd name="connsiteY42" fmla="*/ 0 h 237678"/>
                <a:gd name="connsiteX43" fmla="*/ 1225868 w 1226819"/>
                <a:gd name="connsiteY43" fmla="*/ 0 h 237678"/>
                <a:gd name="connsiteX44" fmla="*/ 1218248 w 1226819"/>
                <a:gd name="connsiteY44" fmla="*/ 0 h 237678"/>
                <a:gd name="connsiteX45" fmla="*/ 1200150 w 1226819"/>
                <a:gd name="connsiteY45" fmla="*/ 0 h 237678"/>
                <a:gd name="connsiteX46" fmla="*/ 1170623 w 1226819"/>
                <a:gd name="connsiteY46" fmla="*/ 0 h 237678"/>
                <a:gd name="connsiteX47" fmla="*/ 1134428 w 1226819"/>
                <a:gd name="connsiteY47" fmla="*/ 0 h 237678"/>
                <a:gd name="connsiteX48" fmla="*/ 1095375 w 1226819"/>
                <a:gd name="connsiteY48" fmla="*/ 0 h 237678"/>
                <a:gd name="connsiteX49" fmla="*/ 1055370 w 1226819"/>
                <a:gd name="connsiteY49" fmla="*/ 0 h 237678"/>
                <a:gd name="connsiteX50" fmla="*/ 1018223 w 1226819"/>
                <a:gd name="connsiteY50" fmla="*/ 0 h 237678"/>
                <a:gd name="connsiteX51" fmla="*/ 982980 w 1226819"/>
                <a:gd name="connsiteY51" fmla="*/ 0 h 237678"/>
                <a:gd name="connsiteX52" fmla="*/ 950595 w 1226819"/>
                <a:gd name="connsiteY52" fmla="*/ 0 h 237678"/>
                <a:gd name="connsiteX53" fmla="*/ 918210 w 1226819"/>
                <a:gd name="connsiteY53" fmla="*/ 0 h 237678"/>
                <a:gd name="connsiteX54" fmla="*/ 886778 w 1226819"/>
                <a:gd name="connsiteY54" fmla="*/ 0 h 237678"/>
                <a:gd name="connsiteX55" fmla="*/ 869633 w 1226819"/>
                <a:gd name="connsiteY55" fmla="*/ 0 h 237678"/>
                <a:gd name="connsiteX56" fmla="*/ 840105 w 1226819"/>
                <a:gd name="connsiteY56" fmla="*/ 0 h 237678"/>
                <a:gd name="connsiteX57" fmla="*/ 809625 w 1226819"/>
                <a:gd name="connsiteY57" fmla="*/ 0 h 237678"/>
                <a:gd name="connsiteX58" fmla="*/ 777240 w 1226819"/>
                <a:gd name="connsiteY58" fmla="*/ 0 h 237678"/>
                <a:gd name="connsiteX59" fmla="*/ 743903 w 1226819"/>
                <a:gd name="connsiteY59" fmla="*/ 0 h 237678"/>
                <a:gd name="connsiteX60" fmla="*/ 707708 w 1226819"/>
                <a:gd name="connsiteY60" fmla="*/ 0 h 237678"/>
                <a:gd name="connsiteX61" fmla="*/ 670560 w 1226819"/>
                <a:gd name="connsiteY61" fmla="*/ 0 h 237678"/>
                <a:gd name="connsiteX62" fmla="*/ 632460 w 1226819"/>
                <a:gd name="connsiteY62" fmla="*/ 0 h 237678"/>
                <a:gd name="connsiteX63" fmla="*/ 593408 w 1226819"/>
                <a:gd name="connsiteY63" fmla="*/ 0 h 237678"/>
                <a:gd name="connsiteX64" fmla="*/ 555308 w 1226819"/>
                <a:gd name="connsiteY64" fmla="*/ 0 h 237678"/>
                <a:gd name="connsiteX65" fmla="*/ 518160 w 1226819"/>
                <a:gd name="connsiteY65" fmla="*/ 0 h 237678"/>
                <a:gd name="connsiteX66" fmla="*/ 482918 w 1226819"/>
                <a:gd name="connsiteY66" fmla="*/ 0 h 237678"/>
                <a:gd name="connsiteX67" fmla="*/ 448628 w 1226819"/>
                <a:gd name="connsiteY67" fmla="*/ 0 h 237678"/>
                <a:gd name="connsiteX68" fmla="*/ 416243 w 1226819"/>
                <a:gd name="connsiteY68" fmla="*/ 0 h 237678"/>
                <a:gd name="connsiteX69" fmla="*/ 385763 w 1226819"/>
                <a:gd name="connsiteY69" fmla="*/ 0 h 237678"/>
                <a:gd name="connsiteX70" fmla="*/ 358140 w 1226819"/>
                <a:gd name="connsiteY70" fmla="*/ 0 h 237678"/>
                <a:gd name="connsiteX71" fmla="*/ 325755 w 1226819"/>
                <a:gd name="connsiteY71" fmla="*/ 0 h 237678"/>
                <a:gd name="connsiteX72" fmla="*/ 293370 w 1226819"/>
                <a:gd name="connsiteY72" fmla="*/ 0 h 237678"/>
                <a:gd name="connsiteX73" fmla="*/ 260985 w 1226819"/>
                <a:gd name="connsiteY73" fmla="*/ 0 h 237678"/>
                <a:gd name="connsiteX74" fmla="*/ 227648 w 1226819"/>
                <a:gd name="connsiteY74" fmla="*/ 0 h 237678"/>
                <a:gd name="connsiteX75" fmla="*/ 191453 w 1226819"/>
                <a:gd name="connsiteY75" fmla="*/ 0 h 237678"/>
                <a:gd name="connsiteX76" fmla="*/ 153353 w 1226819"/>
                <a:gd name="connsiteY76" fmla="*/ 0 h 237678"/>
                <a:gd name="connsiteX77" fmla="*/ 113348 w 1226819"/>
                <a:gd name="connsiteY77" fmla="*/ 0 h 237678"/>
                <a:gd name="connsiteX78" fmla="*/ 74295 w 1226819"/>
                <a:gd name="connsiteY78" fmla="*/ 0 h 237678"/>
                <a:gd name="connsiteX79" fmla="*/ 40958 w 1226819"/>
                <a:gd name="connsiteY79" fmla="*/ 0 h 237678"/>
                <a:gd name="connsiteX80" fmla="*/ 17145 w 1226819"/>
                <a:gd name="connsiteY80" fmla="*/ 0 h 237678"/>
                <a:gd name="connsiteX81" fmla="*/ 4763 w 1226819"/>
                <a:gd name="connsiteY81" fmla="*/ 0 h 237678"/>
                <a:gd name="connsiteX82" fmla="*/ 953 w 1226819"/>
                <a:gd name="connsiteY82" fmla="*/ 0 h 237678"/>
                <a:gd name="connsiteX83" fmla="*/ 0 w 1226819"/>
                <a:gd name="connsiteY83" fmla="*/ 0 h 237678"/>
                <a:gd name="connsiteX84" fmla="*/ 0 w 1226819"/>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7678">
                  <a:moveTo>
                    <a:pt x="0" y="237678"/>
                  </a:moveTo>
                  <a:lnTo>
                    <a:pt x="1905" y="237678"/>
                  </a:lnTo>
                  <a:lnTo>
                    <a:pt x="9525" y="237678"/>
                  </a:lnTo>
                  <a:lnTo>
                    <a:pt x="27623" y="237678"/>
                  </a:lnTo>
                  <a:lnTo>
                    <a:pt x="56198" y="237678"/>
                  </a:lnTo>
                  <a:lnTo>
                    <a:pt x="93345" y="237678"/>
                  </a:lnTo>
                  <a:lnTo>
                    <a:pt x="132398" y="237678"/>
                  </a:lnTo>
                  <a:lnTo>
                    <a:pt x="172403" y="237678"/>
                  </a:lnTo>
                  <a:lnTo>
                    <a:pt x="209550" y="237678"/>
                  </a:lnTo>
                  <a:lnTo>
                    <a:pt x="244793" y="237678"/>
                  </a:lnTo>
                  <a:lnTo>
                    <a:pt x="277178" y="237678"/>
                  </a:lnTo>
                  <a:lnTo>
                    <a:pt x="308610" y="237678"/>
                  </a:lnTo>
                  <a:lnTo>
                    <a:pt x="340995" y="237678"/>
                  </a:lnTo>
                  <a:lnTo>
                    <a:pt x="358140" y="237678"/>
                  </a:lnTo>
                  <a:lnTo>
                    <a:pt x="386715" y="237678"/>
                  </a:lnTo>
                  <a:lnTo>
                    <a:pt x="417195" y="237678"/>
                  </a:lnTo>
                  <a:lnTo>
                    <a:pt x="449580" y="237678"/>
                  </a:lnTo>
                  <a:lnTo>
                    <a:pt x="483870" y="237678"/>
                  </a:lnTo>
                  <a:lnTo>
                    <a:pt x="520065" y="237678"/>
                  </a:lnTo>
                  <a:lnTo>
                    <a:pt x="557213" y="237678"/>
                  </a:lnTo>
                  <a:lnTo>
                    <a:pt x="595313" y="237678"/>
                  </a:lnTo>
                  <a:lnTo>
                    <a:pt x="634365" y="237678"/>
                  </a:lnTo>
                  <a:lnTo>
                    <a:pt x="672465" y="237678"/>
                  </a:lnTo>
                  <a:lnTo>
                    <a:pt x="709613" y="237678"/>
                  </a:lnTo>
                  <a:lnTo>
                    <a:pt x="744855" y="237678"/>
                  </a:lnTo>
                  <a:lnTo>
                    <a:pt x="779145" y="237678"/>
                  </a:lnTo>
                  <a:lnTo>
                    <a:pt x="811530" y="237678"/>
                  </a:lnTo>
                  <a:lnTo>
                    <a:pt x="842010" y="237678"/>
                  </a:lnTo>
                  <a:lnTo>
                    <a:pt x="869633" y="237678"/>
                  </a:lnTo>
                  <a:lnTo>
                    <a:pt x="902018" y="237678"/>
                  </a:lnTo>
                  <a:lnTo>
                    <a:pt x="934403" y="237678"/>
                  </a:lnTo>
                  <a:lnTo>
                    <a:pt x="966788" y="237678"/>
                  </a:lnTo>
                  <a:lnTo>
                    <a:pt x="1000125" y="237678"/>
                  </a:lnTo>
                  <a:lnTo>
                    <a:pt x="1036320" y="237678"/>
                  </a:lnTo>
                  <a:lnTo>
                    <a:pt x="1074420" y="237678"/>
                  </a:lnTo>
                  <a:lnTo>
                    <a:pt x="1114425" y="237678"/>
                  </a:lnTo>
                  <a:lnTo>
                    <a:pt x="1153478" y="237678"/>
                  </a:lnTo>
                  <a:lnTo>
                    <a:pt x="1186815" y="237678"/>
                  </a:lnTo>
                  <a:lnTo>
                    <a:pt x="1210628" y="237678"/>
                  </a:lnTo>
                  <a:lnTo>
                    <a:pt x="1223010" y="237678"/>
                  </a:lnTo>
                  <a:lnTo>
                    <a:pt x="1226820" y="237678"/>
                  </a:lnTo>
                  <a:lnTo>
                    <a:pt x="1226820" y="23767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7678"/>
                  </a:lnTo>
                  <a:close/>
                </a:path>
              </a:pathLst>
            </a:custGeom>
            <a:solidFill>
              <a:srgbClr val="BBBDBF">
                <a:alpha val="60000"/>
              </a:srgbClr>
            </a:solidFill>
            <a:ln w="9525" cap="flat">
              <a:noFill/>
              <a:prstDash val="solid"/>
              <a:miter/>
            </a:ln>
          </p:spPr>
          <p:txBody>
            <a:bodyPr rtlCol="0" anchor="ctr"/>
            <a:lstStyle/>
            <a:p>
              <a:endParaRPr lang="en-US" sz="1050"/>
            </a:p>
          </p:txBody>
        </p:sp>
        <p:sp>
          <p:nvSpPr>
            <p:cNvPr id="198" name="Freeform 250">
              <a:extLst>
                <a:ext uri="{FF2B5EF4-FFF2-40B4-BE49-F238E27FC236}">
                  <a16:creationId xmlns:a16="http://schemas.microsoft.com/office/drawing/2014/main" id="{F52212F1-64DD-10D4-3480-6201E0CBA928}"/>
                </a:ext>
              </a:extLst>
            </p:cNvPr>
            <p:cNvSpPr/>
            <p:nvPr/>
          </p:nvSpPr>
          <p:spPr>
            <a:xfrm>
              <a:off x="3987133" y="4589505"/>
              <a:ext cx="1226819" cy="237678"/>
            </a:xfrm>
            <a:custGeom>
              <a:avLst/>
              <a:gdLst>
                <a:gd name="connsiteX0" fmla="*/ 0 w 1226819"/>
                <a:gd name="connsiteY0" fmla="*/ 237678 h 237678"/>
                <a:gd name="connsiteX1" fmla="*/ 1905 w 1226819"/>
                <a:gd name="connsiteY1" fmla="*/ 237678 h 237678"/>
                <a:gd name="connsiteX2" fmla="*/ 9525 w 1226819"/>
                <a:gd name="connsiteY2" fmla="*/ 237678 h 237678"/>
                <a:gd name="connsiteX3" fmla="*/ 27623 w 1226819"/>
                <a:gd name="connsiteY3" fmla="*/ 237678 h 237678"/>
                <a:gd name="connsiteX4" fmla="*/ 56198 w 1226819"/>
                <a:gd name="connsiteY4" fmla="*/ 237678 h 237678"/>
                <a:gd name="connsiteX5" fmla="*/ 93345 w 1226819"/>
                <a:gd name="connsiteY5" fmla="*/ 237678 h 237678"/>
                <a:gd name="connsiteX6" fmla="*/ 132398 w 1226819"/>
                <a:gd name="connsiteY6" fmla="*/ 237678 h 237678"/>
                <a:gd name="connsiteX7" fmla="*/ 172403 w 1226819"/>
                <a:gd name="connsiteY7" fmla="*/ 237678 h 237678"/>
                <a:gd name="connsiteX8" fmla="*/ 209550 w 1226819"/>
                <a:gd name="connsiteY8" fmla="*/ 237678 h 237678"/>
                <a:gd name="connsiteX9" fmla="*/ 244793 w 1226819"/>
                <a:gd name="connsiteY9" fmla="*/ 237678 h 237678"/>
                <a:gd name="connsiteX10" fmla="*/ 277178 w 1226819"/>
                <a:gd name="connsiteY10" fmla="*/ 237678 h 237678"/>
                <a:gd name="connsiteX11" fmla="*/ 308610 w 1226819"/>
                <a:gd name="connsiteY11" fmla="*/ 237678 h 237678"/>
                <a:gd name="connsiteX12" fmla="*/ 340995 w 1226819"/>
                <a:gd name="connsiteY12" fmla="*/ 237678 h 237678"/>
                <a:gd name="connsiteX13" fmla="*/ 358140 w 1226819"/>
                <a:gd name="connsiteY13" fmla="*/ 237678 h 237678"/>
                <a:gd name="connsiteX14" fmla="*/ 386715 w 1226819"/>
                <a:gd name="connsiteY14" fmla="*/ 237678 h 237678"/>
                <a:gd name="connsiteX15" fmla="*/ 417195 w 1226819"/>
                <a:gd name="connsiteY15" fmla="*/ 237678 h 237678"/>
                <a:gd name="connsiteX16" fmla="*/ 449580 w 1226819"/>
                <a:gd name="connsiteY16" fmla="*/ 237678 h 237678"/>
                <a:gd name="connsiteX17" fmla="*/ 483870 w 1226819"/>
                <a:gd name="connsiteY17" fmla="*/ 237678 h 237678"/>
                <a:gd name="connsiteX18" fmla="*/ 520065 w 1226819"/>
                <a:gd name="connsiteY18" fmla="*/ 237678 h 237678"/>
                <a:gd name="connsiteX19" fmla="*/ 557213 w 1226819"/>
                <a:gd name="connsiteY19" fmla="*/ 237678 h 237678"/>
                <a:gd name="connsiteX20" fmla="*/ 595313 w 1226819"/>
                <a:gd name="connsiteY20" fmla="*/ 237678 h 237678"/>
                <a:gd name="connsiteX21" fmla="*/ 634365 w 1226819"/>
                <a:gd name="connsiteY21" fmla="*/ 237678 h 237678"/>
                <a:gd name="connsiteX22" fmla="*/ 672465 w 1226819"/>
                <a:gd name="connsiteY22" fmla="*/ 237678 h 237678"/>
                <a:gd name="connsiteX23" fmla="*/ 709613 w 1226819"/>
                <a:gd name="connsiteY23" fmla="*/ 237678 h 237678"/>
                <a:gd name="connsiteX24" fmla="*/ 744855 w 1226819"/>
                <a:gd name="connsiteY24" fmla="*/ 237678 h 237678"/>
                <a:gd name="connsiteX25" fmla="*/ 779145 w 1226819"/>
                <a:gd name="connsiteY25" fmla="*/ 237678 h 237678"/>
                <a:gd name="connsiteX26" fmla="*/ 811530 w 1226819"/>
                <a:gd name="connsiteY26" fmla="*/ 237678 h 237678"/>
                <a:gd name="connsiteX27" fmla="*/ 842010 w 1226819"/>
                <a:gd name="connsiteY27" fmla="*/ 237678 h 237678"/>
                <a:gd name="connsiteX28" fmla="*/ 869633 w 1226819"/>
                <a:gd name="connsiteY28" fmla="*/ 237678 h 237678"/>
                <a:gd name="connsiteX29" fmla="*/ 902018 w 1226819"/>
                <a:gd name="connsiteY29" fmla="*/ 237678 h 237678"/>
                <a:gd name="connsiteX30" fmla="*/ 934403 w 1226819"/>
                <a:gd name="connsiteY30" fmla="*/ 237678 h 237678"/>
                <a:gd name="connsiteX31" fmla="*/ 966788 w 1226819"/>
                <a:gd name="connsiteY31" fmla="*/ 237678 h 237678"/>
                <a:gd name="connsiteX32" fmla="*/ 1000125 w 1226819"/>
                <a:gd name="connsiteY32" fmla="*/ 237678 h 237678"/>
                <a:gd name="connsiteX33" fmla="*/ 1036320 w 1226819"/>
                <a:gd name="connsiteY33" fmla="*/ 237678 h 237678"/>
                <a:gd name="connsiteX34" fmla="*/ 1074420 w 1226819"/>
                <a:gd name="connsiteY34" fmla="*/ 237678 h 237678"/>
                <a:gd name="connsiteX35" fmla="*/ 1114425 w 1226819"/>
                <a:gd name="connsiteY35" fmla="*/ 237678 h 237678"/>
                <a:gd name="connsiteX36" fmla="*/ 1153478 w 1226819"/>
                <a:gd name="connsiteY36" fmla="*/ 237678 h 237678"/>
                <a:gd name="connsiteX37" fmla="*/ 1186815 w 1226819"/>
                <a:gd name="connsiteY37" fmla="*/ 237678 h 237678"/>
                <a:gd name="connsiteX38" fmla="*/ 1210628 w 1226819"/>
                <a:gd name="connsiteY38" fmla="*/ 237678 h 237678"/>
                <a:gd name="connsiteX39" fmla="*/ 1223010 w 1226819"/>
                <a:gd name="connsiteY39" fmla="*/ 237678 h 237678"/>
                <a:gd name="connsiteX40" fmla="*/ 1226820 w 1226819"/>
                <a:gd name="connsiteY40" fmla="*/ 237678 h 237678"/>
                <a:gd name="connsiteX41" fmla="*/ 1226820 w 1226819"/>
                <a:gd name="connsiteY41" fmla="*/ 237678 h 237678"/>
                <a:gd name="connsiteX42" fmla="*/ 1226820 w 1226819"/>
                <a:gd name="connsiteY42" fmla="*/ 0 h 237678"/>
                <a:gd name="connsiteX43" fmla="*/ 1225868 w 1226819"/>
                <a:gd name="connsiteY43" fmla="*/ 0 h 237678"/>
                <a:gd name="connsiteX44" fmla="*/ 1218248 w 1226819"/>
                <a:gd name="connsiteY44" fmla="*/ 0 h 237678"/>
                <a:gd name="connsiteX45" fmla="*/ 1200150 w 1226819"/>
                <a:gd name="connsiteY45" fmla="*/ 0 h 237678"/>
                <a:gd name="connsiteX46" fmla="*/ 1170623 w 1226819"/>
                <a:gd name="connsiteY46" fmla="*/ 0 h 237678"/>
                <a:gd name="connsiteX47" fmla="*/ 1134428 w 1226819"/>
                <a:gd name="connsiteY47" fmla="*/ 0 h 237678"/>
                <a:gd name="connsiteX48" fmla="*/ 1095375 w 1226819"/>
                <a:gd name="connsiteY48" fmla="*/ 0 h 237678"/>
                <a:gd name="connsiteX49" fmla="*/ 1055370 w 1226819"/>
                <a:gd name="connsiteY49" fmla="*/ 0 h 237678"/>
                <a:gd name="connsiteX50" fmla="*/ 1018223 w 1226819"/>
                <a:gd name="connsiteY50" fmla="*/ 0 h 237678"/>
                <a:gd name="connsiteX51" fmla="*/ 982980 w 1226819"/>
                <a:gd name="connsiteY51" fmla="*/ 0 h 237678"/>
                <a:gd name="connsiteX52" fmla="*/ 950595 w 1226819"/>
                <a:gd name="connsiteY52" fmla="*/ 0 h 237678"/>
                <a:gd name="connsiteX53" fmla="*/ 918210 w 1226819"/>
                <a:gd name="connsiteY53" fmla="*/ 0 h 237678"/>
                <a:gd name="connsiteX54" fmla="*/ 886778 w 1226819"/>
                <a:gd name="connsiteY54" fmla="*/ 0 h 237678"/>
                <a:gd name="connsiteX55" fmla="*/ 869633 w 1226819"/>
                <a:gd name="connsiteY55" fmla="*/ 0 h 237678"/>
                <a:gd name="connsiteX56" fmla="*/ 840105 w 1226819"/>
                <a:gd name="connsiteY56" fmla="*/ 0 h 237678"/>
                <a:gd name="connsiteX57" fmla="*/ 809625 w 1226819"/>
                <a:gd name="connsiteY57" fmla="*/ 0 h 237678"/>
                <a:gd name="connsiteX58" fmla="*/ 777240 w 1226819"/>
                <a:gd name="connsiteY58" fmla="*/ 0 h 237678"/>
                <a:gd name="connsiteX59" fmla="*/ 743903 w 1226819"/>
                <a:gd name="connsiteY59" fmla="*/ 0 h 237678"/>
                <a:gd name="connsiteX60" fmla="*/ 707708 w 1226819"/>
                <a:gd name="connsiteY60" fmla="*/ 0 h 237678"/>
                <a:gd name="connsiteX61" fmla="*/ 670560 w 1226819"/>
                <a:gd name="connsiteY61" fmla="*/ 0 h 237678"/>
                <a:gd name="connsiteX62" fmla="*/ 632460 w 1226819"/>
                <a:gd name="connsiteY62" fmla="*/ 0 h 237678"/>
                <a:gd name="connsiteX63" fmla="*/ 593408 w 1226819"/>
                <a:gd name="connsiteY63" fmla="*/ 0 h 237678"/>
                <a:gd name="connsiteX64" fmla="*/ 555308 w 1226819"/>
                <a:gd name="connsiteY64" fmla="*/ 0 h 237678"/>
                <a:gd name="connsiteX65" fmla="*/ 518160 w 1226819"/>
                <a:gd name="connsiteY65" fmla="*/ 0 h 237678"/>
                <a:gd name="connsiteX66" fmla="*/ 482918 w 1226819"/>
                <a:gd name="connsiteY66" fmla="*/ 0 h 237678"/>
                <a:gd name="connsiteX67" fmla="*/ 448628 w 1226819"/>
                <a:gd name="connsiteY67" fmla="*/ 0 h 237678"/>
                <a:gd name="connsiteX68" fmla="*/ 416243 w 1226819"/>
                <a:gd name="connsiteY68" fmla="*/ 0 h 237678"/>
                <a:gd name="connsiteX69" fmla="*/ 385763 w 1226819"/>
                <a:gd name="connsiteY69" fmla="*/ 0 h 237678"/>
                <a:gd name="connsiteX70" fmla="*/ 358140 w 1226819"/>
                <a:gd name="connsiteY70" fmla="*/ 0 h 237678"/>
                <a:gd name="connsiteX71" fmla="*/ 325755 w 1226819"/>
                <a:gd name="connsiteY71" fmla="*/ 0 h 237678"/>
                <a:gd name="connsiteX72" fmla="*/ 293370 w 1226819"/>
                <a:gd name="connsiteY72" fmla="*/ 0 h 237678"/>
                <a:gd name="connsiteX73" fmla="*/ 260985 w 1226819"/>
                <a:gd name="connsiteY73" fmla="*/ 0 h 237678"/>
                <a:gd name="connsiteX74" fmla="*/ 227648 w 1226819"/>
                <a:gd name="connsiteY74" fmla="*/ 0 h 237678"/>
                <a:gd name="connsiteX75" fmla="*/ 191453 w 1226819"/>
                <a:gd name="connsiteY75" fmla="*/ 0 h 237678"/>
                <a:gd name="connsiteX76" fmla="*/ 153353 w 1226819"/>
                <a:gd name="connsiteY76" fmla="*/ 0 h 237678"/>
                <a:gd name="connsiteX77" fmla="*/ 113348 w 1226819"/>
                <a:gd name="connsiteY77" fmla="*/ 0 h 237678"/>
                <a:gd name="connsiteX78" fmla="*/ 74295 w 1226819"/>
                <a:gd name="connsiteY78" fmla="*/ 0 h 237678"/>
                <a:gd name="connsiteX79" fmla="*/ 40958 w 1226819"/>
                <a:gd name="connsiteY79" fmla="*/ 0 h 237678"/>
                <a:gd name="connsiteX80" fmla="*/ 17145 w 1226819"/>
                <a:gd name="connsiteY80" fmla="*/ 0 h 237678"/>
                <a:gd name="connsiteX81" fmla="*/ 4763 w 1226819"/>
                <a:gd name="connsiteY81" fmla="*/ 0 h 237678"/>
                <a:gd name="connsiteX82" fmla="*/ 953 w 1226819"/>
                <a:gd name="connsiteY82" fmla="*/ 0 h 237678"/>
                <a:gd name="connsiteX83" fmla="*/ 0 w 1226819"/>
                <a:gd name="connsiteY83" fmla="*/ 0 h 237678"/>
                <a:gd name="connsiteX84" fmla="*/ 0 w 1226819"/>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7678">
                  <a:moveTo>
                    <a:pt x="0" y="237678"/>
                  </a:moveTo>
                  <a:lnTo>
                    <a:pt x="1905" y="237678"/>
                  </a:lnTo>
                  <a:lnTo>
                    <a:pt x="9525" y="237678"/>
                  </a:lnTo>
                  <a:lnTo>
                    <a:pt x="27623" y="237678"/>
                  </a:lnTo>
                  <a:lnTo>
                    <a:pt x="56198" y="237678"/>
                  </a:lnTo>
                  <a:lnTo>
                    <a:pt x="93345" y="237678"/>
                  </a:lnTo>
                  <a:lnTo>
                    <a:pt x="132398" y="237678"/>
                  </a:lnTo>
                  <a:lnTo>
                    <a:pt x="172403" y="237678"/>
                  </a:lnTo>
                  <a:lnTo>
                    <a:pt x="209550" y="237678"/>
                  </a:lnTo>
                  <a:lnTo>
                    <a:pt x="244793" y="237678"/>
                  </a:lnTo>
                  <a:lnTo>
                    <a:pt x="277178" y="237678"/>
                  </a:lnTo>
                  <a:lnTo>
                    <a:pt x="308610" y="237678"/>
                  </a:lnTo>
                  <a:lnTo>
                    <a:pt x="340995" y="237678"/>
                  </a:lnTo>
                  <a:lnTo>
                    <a:pt x="358140" y="237678"/>
                  </a:lnTo>
                  <a:lnTo>
                    <a:pt x="386715" y="237678"/>
                  </a:lnTo>
                  <a:lnTo>
                    <a:pt x="417195" y="237678"/>
                  </a:lnTo>
                  <a:lnTo>
                    <a:pt x="449580" y="237678"/>
                  </a:lnTo>
                  <a:lnTo>
                    <a:pt x="483870" y="237678"/>
                  </a:lnTo>
                  <a:lnTo>
                    <a:pt x="520065" y="237678"/>
                  </a:lnTo>
                  <a:lnTo>
                    <a:pt x="557213" y="237678"/>
                  </a:lnTo>
                  <a:lnTo>
                    <a:pt x="595313" y="237678"/>
                  </a:lnTo>
                  <a:lnTo>
                    <a:pt x="634365" y="237678"/>
                  </a:lnTo>
                  <a:lnTo>
                    <a:pt x="672465" y="237678"/>
                  </a:lnTo>
                  <a:lnTo>
                    <a:pt x="709613" y="237678"/>
                  </a:lnTo>
                  <a:lnTo>
                    <a:pt x="744855" y="237678"/>
                  </a:lnTo>
                  <a:lnTo>
                    <a:pt x="779145" y="237678"/>
                  </a:lnTo>
                  <a:lnTo>
                    <a:pt x="811530" y="237678"/>
                  </a:lnTo>
                  <a:lnTo>
                    <a:pt x="842010" y="237678"/>
                  </a:lnTo>
                  <a:lnTo>
                    <a:pt x="869633" y="237678"/>
                  </a:lnTo>
                  <a:lnTo>
                    <a:pt x="902018" y="237678"/>
                  </a:lnTo>
                  <a:lnTo>
                    <a:pt x="934403" y="237678"/>
                  </a:lnTo>
                  <a:lnTo>
                    <a:pt x="966788" y="237678"/>
                  </a:lnTo>
                  <a:lnTo>
                    <a:pt x="1000125" y="237678"/>
                  </a:lnTo>
                  <a:lnTo>
                    <a:pt x="1036320" y="237678"/>
                  </a:lnTo>
                  <a:lnTo>
                    <a:pt x="1074420" y="237678"/>
                  </a:lnTo>
                  <a:lnTo>
                    <a:pt x="1114425" y="237678"/>
                  </a:lnTo>
                  <a:lnTo>
                    <a:pt x="1153478" y="237678"/>
                  </a:lnTo>
                  <a:lnTo>
                    <a:pt x="1186815" y="237678"/>
                  </a:lnTo>
                  <a:lnTo>
                    <a:pt x="1210628" y="237678"/>
                  </a:lnTo>
                  <a:lnTo>
                    <a:pt x="1223010" y="237678"/>
                  </a:lnTo>
                  <a:lnTo>
                    <a:pt x="1226820" y="237678"/>
                  </a:lnTo>
                  <a:lnTo>
                    <a:pt x="1226820" y="23767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7678"/>
                  </a:lnTo>
                  <a:close/>
                </a:path>
              </a:pathLst>
            </a:custGeom>
            <a:noFill/>
            <a:ln w="9525" cap="flat">
              <a:solidFill>
                <a:srgbClr val="BBBDBF"/>
              </a:solidFill>
              <a:prstDash val="solid"/>
              <a:miter/>
            </a:ln>
          </p:spPr>
          <p:txBody>
            <a:bodyPr rtlCol="0" anchor="ctr"/>
            <a:lstStyle/>
            <a:p>
              <a:endParaRPr lang="en-US" sz="1050"/>
            </a:p>
          </p:txBody>
        </p:sp>
        <p:sp>
          <p:nvSpPr>
            <p:cNvPr id="199" name="Freeform 251">
              <a:extLst>
                <a:ext uri="{FF2B5EF4-FFF2-40B4-BE49-F238E27FC236}">
                  <a16:creationId xmlns:a16="http://schemas.microsoft.com/office/drawing/2014/main" id="{E33C8C06-358B-C5E3-50D6-217BB8C25BF9}"/>
                </a:ext>
              </a:extLst>
            </p:cNvPr>
            <p:cNvSpPr/>
            <p:nvPr/>
          </p:nvSpPr>
          <p:spPr>
            <a:xfrm>
              <a:off x="3987133" y="4827183"/>
              <a:ext cx="1226819" cy="237678"/>
            </a:xfrm>
            <a:custGeom>
              <a:avLst/>
              <a:gdLst>
                <a:gd name="connsiteX0" fmla="*/ 0 w 1226819"/>
                <a:gd name="connsiteY0" fmla="*/ 237678 h 237678"/>
                <a:gd name="connsiteX1" fmla="*/ 1905 w 1226819"/>
                <a:gd name="connsiteY1" fmla="*/ 237678 h 237678"/>
                <a:gd name="connsiteX2" fmla="*/ 9525 w 1226819"/>
                <a:gd name="connsiteY2" fmla="*/ 237678 h 237678"/>
                <a:gd name="connsiteX3" fmla="*/ 27623 w 1226819"/>
                <a:gd name="connsiteY3" fmla="*/ 237678 h 237678"/>
                <a:gd name="connsiteX4" fmla="*/ 56198 w 1226819"/>
                <a:gd name="connsiteY4" fmla="*/ 237678 h 237678"/>
                <a:gd name="connsiteX5" fmla="*/ 93345 w 1226819"/>
                <a:gd name="connsiteY5" fmla="*/ 237678 h 237678"/>
                <a:gd name="connsiteX6" fmla="*/ 132398 w 1226819"/>
                <a:gd name="connsiteY6" fmla="*/ 237678 h 237678"/>
                <a:gd name="connsiteX7" fmla="*/ 172403 w 1226819"/>
                <a:gd name="connsiteY7" fmla="*/ 237678 h 237678"/>
                <a:gd name="connsiteX8" fmla="*/ 209550 w 1226819"/>
                <a:gd name="connsiteY8" fmla="*/ 237678 h 237678"/>
                <a:gd name="connsiteX9" fmla="*/ 244793 w 1226819"/>
                <a:gd name="connsiteY9" fmla="*/ 237678 h 237678"/>
                <a:gd name="connsiteX10" fmla="*/ 277178 w 1226819"/>
                <a:gd name="connsiteY10" fmla="*/ 237678 h 237678"/>
                <a:gd name="connsiteX11" fmla="*/ 308610 w 1226819"/>
                <a:gd name="connsiteY11" fmla="*/ 237678 h 237678"/>
                <a:gd name="connsiteX12" fmla="*/ 340995 w 1226819"/>
                <a:gd name="connsiteY12" fmla="*/ 237678 h 237678"/>
                <a:gd name="connsiteX13" fmla="*/ 358140 w 1226819"/>
                <a:gd name="connsiteY13" fmla="*/ 237678 h 237678"/>
                <a:gd name="connsiteX14" fmla="*/ 386715 w 1226819"/>
                <a:gd name="connsiteY14" fmla="*/ 237678 h 237678"/>
                <a:gd name="connsiteX15" fmla="*/ 417195 w 1226819"/>
                <a:gd name="connsiteY15" fmla="*/ 237678 h 237678"/>
                <a:gd name="connsiteX16" fmla="*/ 449580 w 1226819"/>
                <a:gd name="connsiteY16" fmla="*/ 237678 h 237678"/>
                <a:gd name="connsiteX17" fmla="*/ 483870 w 1226819"/>
                <a:gd name="connsiteY17" fmla="*/ 237678 h 237678"/>
                <a:gd name="connsiteX18" fmla="*/ 520065 w 1226819"/>
                <a:gd name="connsiteY18" fmla="*/ 237678 h 237678"/>
                <a:gd name="connsiteX19" fmla="*/ 557213 w 1226819"/>
                <a:gd name="connsiteY19" fmla="*/ 237678 h 237678"/>
                <a:gd name="connsiteX20" fmla="*/ 595313 w 1226819"/>
                <a:gd name="connsiteY20" fmla="*/ 237678 h 237678"/>
                <a:gd name="connsiteX21" fmla="*/ 634365 w 1226819"/>
                <a:gd name="connsiteY21" fmla="*/ 237678 h 237678"/>
                <a:gd name="connsiteX22" fmla="*/ 672465 w 1226819"/>
                <a:gd name="connsiteY22" fmla="*/ 237678 h 237678"/>
                <a:gd name="connsiteX23" fmla="*/ 709613 w 1226819"/>
                <a:gd name="connsiteY23" fmla="*/ 237678 h 237678"/>
                <a:gd name="connsiteX24" fmla="*/ 744855 w 1226819"/>
                <a:gd name="connsiteY24" fmla="*/ 237678 h 237678"/>
                <a:gd name="connsiteX25" fmla="*/ 779145 w 1226819"/>
                <a:gd name="connsiteY25" fmla="*/ 237678 h 237678"/>
                <a:gd name="connsiteX26" fmla="*/ 811530 w 1226819"/>
                <a:gd name="connsiteY26" fmla="*/ 237678 h 237678"/>
                <a:gd name="connsiteX27" fmla="*/ 842010 w 1226819"/>
                <a:gd name="connsiteY27" fmla="*/ 237678 h 237678"/>
                <a:gd name="connsiteX28" fmla="*/ 869633 w 1226819"/>
                <a:gd name="connsiteY28" fmla="*/ 237678 h 237678"/>
                <a:gd name="connsiteX29" fmla="*/ 902018 w 1226819"/>
                <a:gd name="connsiteY29" fmla="*/ 237678 h 237678"/>
                <a:gd name="connsiteX30" fmla="*/ 934403 w 1226819"/>
                <a:gd name="connsiteY30" fmla="*/ 237678 h 237678"/>
                <a:gd name="connsiteX31" fmla="*/ 966788 w 1226819"/>
                <a:gd name="connsiteY31" fmla="*/ 237678 h 237678"/>
                <a:gd name="connsiteX32" fmla="*/ 1000125 w 1226819"/>
                <a:gd name="connsiteY32" fmla="*/ 237678 h 237678"/>
                <a:gd name="connsiteX33" fmla="*/ 1036320 w 1226819"/>
                <a:gd name="connsiteY33" fmla="*/ 237678 h 237678"/>
                <a:gd name="connsiteX34" fmla="*/ 1074420 w 1226819"/>
                <a:gd name="connsiteY34" fmla="*/ 237678 h 237678"/>
                <a:gd name="connsiteX35" fmla="*/ 1114425 w 1226819"/>
                <a:gd name="connsiteY35" fmla="*/ 237678 h 237678"/>
                <a:gd name="connsiteX36" fmla="*/ 1153478 w 1226819"/>
                <a:gd name="connsiteY36" fmla="*/ 237678 h 237678"/>
                <a:gd name="connsiteX37" fmla="*/ 1186815 w 1226819"/>
                <a:gd name="connsiteY37" fmla="*/ 237678 h 237678"/>
                <a:gd name="connsiteX38" fmla="*/ 1210628 w 1226819"/>
                <a:gd name="connsiteY38" fmla="*/ 237678 h 237678"/>
                <a:gd name="connsiteX39" fmla="*/ 1223010 w 1226819"/>
                <a:gd name="connsiteY39" fmla="*/ 237678 h 237678"/>
                <a:gd name="connsiteX40" fmla="*/ 1226820 w 1226819"/>
                <a:gd name="connsiteY40" fmla="*/ 237678 h 237678"/>
                <a:gd name="connsiteX41" fmla="*/ 1226820 w 1226819"/>
                <a:gd name="connsiteY41" fmla="*/ 237678 h 237678"/>
                <a:gd name="connsiteX42" fmla="*/ 1226820 w 1226819"/>
                <a:gd name="connsiteY42" fmla="*/ 0 h 237678"/>
                <a:gd name="connsiteX43" fmla="*/ 1225868 w 1226819"/>
                <a:gd name="connsiteY43" fmla="*/ 0 h 237678"/>
                <a:gd name="connsiteX44" fmla="*/ 1218248 w 1226819"/>
                <a:gd name="connsiteY44" fmla="*/ 0 h 237678"/>
                <a:gd name="connsiteX45" fmla="*/ 1200150 w 1226819"/>
                <a:gd name="connsiteY45" fmla="*/ 0 h 237678"/>
                <a:gd name="connsiteX46" fmla="*/ 1170623 w 1226819"/>
                <a:gd name="connsiteY46" fmla="*/ 0 h 237678"/>
                <a:gd name="connsiteX47" fmla="*/ 1134428 w 1226819"/>
                <a:gd name="connsiteY47" fmla="*/ 0 h 237678"/>
                <a:gd name="connsiteX48" fmla="*/ 1095375 w 1226819"/>
                <a:gd name="connsiteY48" fmla="*/ 0 h 237678"/>
                <a:gd name="connsiteX49" fmla="*/ 1055370 w 1226819"/>
                <a:gd name="connsiteY49" fmla="*/ 0 h 237678"/>
                <a:gd name="connsiteX50" fmla="*/ 1018223 w 1226819"/>
                <a:gd name="connsiteY50" fmla="*/ 0 h 237678"/>
                <a:gd name="connsiteX51" fmla="*/ 982980 w 1226819"/>
                <a:gd name="connsiteY51" fmla="*/ 0 h 237678"/>
                <a:gd name="connsiteX52" fmla="*/ 950595 w 1226819"/>
                <a:gd name="connsiteY52" fmla="*/ 0 h 237678"/>
                <a:gd name="connsiteX53" fmla="*/ 918210 w 1226819"/>
                <a:gd name="connsiteY53" fmla="*/ 0 h 237678"/>
                <a:gd name="connsiteX54" fmla="*/ 886778 w 1226819"/>
                <a:gd name="connsiteY54" fmla="*/ 0 h 237678"/>
                <a:gd name="connsiteX55" fmla="*/ 869633 w 1226819"/>
                <a:gd name="connsiteY55" fmla="*/ 0 h 237678"/>
                <a:gd name="connsiteX56" fmla="*/ 840105 w 1226819"/>
                <a:gd name="connsiteY56" fmla="*/ 0 h 237678"/>
                <a:gd name="connsiteX57" fmla="*/ 809625 w 1226819"/>
                <a:gd name="connsiteY57" fmla="*/ 0 h 237678"/>
                <a:gd name="connsiteX58" fmla="*/ 777240 w 1226819"/>
                <a:gd name="connsiteY58" fmla="*/ 0 h 237678"/>
                <a:gd name="connsiteX59" fmla="*/ 743903 w 1226819"/>
                <a:gd name="connsiteY59" fmla="*/ 0 h 237678"/>
                <a:gd name="connsiteX60" fmla="*/ 707708 w 1226819"/>
                <a:gd name="connsiteY60" fmla="*/ 0 h 237678"/>
                <a:gd name="connsiteX61" fmla="*/ 670560 w 1226819"/>
                <a:gd name="connsiteY61" fmla="*/ 0 h 237678"/>
                <a:gd name="connsiteX62" fmla="*/ 632460 w 1226819"/>
                <a:gd name="connsiteY62" fmla="*/ 0 h 237678"/>
                <a:gd name="connsiteX63" fmla="*/ 593408 w 1226819"/>
                <a:gd name="connsiteY63" fmla="*/ 0 h 237678"/>
                <a:gd name="connsiteX64" fmla="*/ 555308 w 1226819"/>
                <a:gd name="connsiteY64" fmla="*/ 0 h 237678"/>
                <a:gd name="connsiteX65" fmla="*/ 518160 w 1226819"/>
                <a:gd name="connsiteY65" fmla="*/ 0 h 237678"/>
                <a:gd name="connsiteX66" fmla="*/ 482918 w 1226819"/>
                <a:gd name="connsiteY66" fmla="*/ 0 h 237678"/>
                <a:gd name="connsiteX67" fmla="*/ 448628 w 1226819"/>
                <a:gd name="connsiteY67" fmla="*/ 0 h 237678"/>
                <a:gd name="connsiteX68" fmla="*/ 416243 w 1226819"/>
                <a:gd name="connsiteY68" fmla="*/ 0 h 237678"/>
                <a:gd name="connsiteX69" fmla="*/ 385763 w 1226819"/>
                <a:gd name="connsiteY69" fmla="*/ 0 h 237678"/>
                <a:gd name="connsiteX70" fmla="*/ 358140 w 1226819"/>
                <a:gd name="connsiteY70" fmla="*/ 0 h 237678"/>
                <a:gd name="connsiteX71" fmla="*/ 325755 w 1226819"/>
                <a:gd name="connsiteY71" fmla="*/ 0 h 237678"/>
                <a:gd name="connsiteX72" fmla="*/ 293370 w 1226819"/>
                <a:gd name="connsiteY72" fmla="*/ 0 h 237678"/>
                <a:gd name="connsiteX73" fmla="*/ 260985 w 1226819"/>
                <a:gd name="connsiteY73" fmla="*/ 0 h 237678"/>
                <a:gd name="connsiteX74" fmla="*/ 227648 w 1226819"/>
                <a:gd name="connsiteY74" fmla="*/ 0 h 237678"/>
                <a:gd name="connsiteX75" fmla="*/ 191453 w 1226819"/>
                <a:gd name="connsiteY75" fmla="*/ 0 h 237678"/>
                <a:gd name="connsiteX76" fmla="*/ 153353 w 1226819"/>
                <a:gd name="connsiteY76" fmla="*/ 0 h 237678"/>
                <a:gd name="connsiteX77" fmla="*/ 113348 w 1226819"/>
                <a:gd name="connsiteY77" fmla="*/ 0 h 237678"/>
                <a:gd name="connsiteX78" fmla="*/ 74295 w 1226819"/>
                <a:gd name="connsiteY78" fmla="*/ 0 h 237678"/>
                <a:gd name="connsiteX79" fmla="*/ 40958 w 1226819"/>
                <a:gd name="connsiteY79" fmla="*/ 0 h 237678"/>
                <a:gd name="connsiteX80" fmla="*/ 17145 w 1226819"/>
                <a:gd name="connsiteY80" fmla="*/ 0 h 237678"/>
                <a:gd name="connsiteX81" fmla="*/ 4763 w 1226819"/>
                <a:gd name="connsiteY81" fmla="*/ 0 h 237678"/>
                <a:gd name="connsiteX82" fmla="*/ 953 w 1226819"/>
                <a:gd name="connsiteY82" fmla="*/ 0 h 237678"/>
                <a:gd name="connsiteX83" fmla="*/ 0 w 1226819"/>
                <a:gd name="connsiteY83" fmla="*/ 0 h 237678"/>
                <a:gd name="connsiteX84" fmla="*/ 0 w 1226819"/>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7678">
                  <a:moveTo>
                    <a:pt x="0" y="237678"/>
                  </a:moveTo>
                  <a:lnTo>
                    <a:pt x="1905" y="237678"/>
                  </a:lnTo>
                  <a:lnTo>
                    <a:pt x="9525" y="237678"/>
                  </a:lnTo>
                  <a:lnTo>
                    <a:pt x="27623" y="237678"/>
                  </a:lnTo>
                  <a:lnTo>
                    <a:pt x="56198" y="237678"/>
                  </a:lnTo>
                  <a:lnTo>
                    <a:pt x="93345" y="237678"/>
                  </a:lnTo>
                  <a:lnTo>
                    <a:pt x="132398" y="237678"/>
                  </a:lnTo>
                  <a:lnTo>
                    <a:pt x="172403" y="237678"/>
                  </a:lnTo>
                  <a:lnTo>
                    <a:pt x="209550" y="237678"/>
                  </a:lnTo>
                  <a:lnTo>
                    <a:pt x="244793" y="237678"/>
                  </a:lnTo>
                  <a:lnTo>
                    <a:pt x="277178" y="237678"/>
                  </a:lnTo>
                  <a:lnTo>
                    <a:pt x="308610" y="237678"/>
                  </a:lnTo>
                  <a:lnTo>
                    <a:pt x="340995" y="237678"/>
                  </a:lnTo>
                  <a:lnTo>
                    <a:pt x="358140" y="237678"/>
                  </a:lnTo>
                  <a:lnTo>
                    <a:pt x="386715" y="237678"/>
                  </a:lnTo>
                  <a:lnTo>
                    <a:pt x="417195" y="237678"/>
                  </a:lnTo>
                  <a:lnTo>
                    <a:pt x="449580" y="237678"/>
                  </a:lnTo>
                  <a:lnTo>
                    <a:pt x="483870" y="237678"/>
                  </a:lnTo>
                  <a:lnTo>
                    <a:pt x="520065" y="237678"/>
                  </a:lnTo>
                  <a:lnTo>
                    <a:pt x="557213" y="237678"/>
                  </a:lnTo>
                  <a:lnTo>
                    <a:pt x="595313" y="237678"/>
                  </a:lnTo>
                  <a:lnTo>
                    <a:pt x="634365" y="237678"/>
                  </a:lnTo>
                  <a:lnTo>
                    <a:pt x="672465" y="237678"/>
                  </a:lnTo>
                  <a:lnTo>
                    <a:pt x="709613" y="237678"/>
                  </a:lnTo>
                  <a:lnTo>
                    <a:pt x="744855" y="237678"/>
                  </a:lnTo>
                  <a:lnTo>
                    <a:pt x="779145" y="237678"/>
                  </a:lnTo>
                  <a:lnTo>
                    <a:pt x="811530" y="237678"/>
                  </a:lnTo>
                  <a:lnTo>
                    <a:pt x="842010" y="237678"/>
                  </a:lnTo>
                  <a:lnTo>
                    <a:pt x="869633" y="237678"/>
                  </a:lnTo>
                  <a:lnTo>
                    <a:pt x="902018" y="237678"/>
                  </a:lnTo>
                  <a:lnTo>
                    <a:pt x="934403" y="237678"/>
                  </a:lnTo>
                  <a:lnTo>
                    <a:pt x="966788" y="237678"/>
                  </a:lnTo>
                  <a:lnTo>
                    <a:pt x="1000125" y="237678"/>
                  </a:lnTo>
                  <a:lnTo>
                    <a:pt x="1036320" y="237678"/>
                  </a:lnTo>
                  <a:lnTo>
                    <a:pt x="1074420" y="237678"/>
                  </a:lnTo>
                  <a:lnTo>
                    <a:pt x="1114425" y="237678"/>
                  </a:lnTo>
                  <a:lnTo>
                    <a:pt x="1153478" y="237678"/>
                  </a:lnTo>
                  <a:lnTo>
                    <a:pt x="1186815" y="237678"/>
                  </a:lnTo>
                  <a:lnTo>
                    <a:pt x="1210628" y="237678"/>
                  </a:lnTo>
                  <a:lnTo>
                    <a:pt x="1223010" y="237678"/>
                  </a:lnTo>
                  <a:lnTo>
                    <a:pt x="1226820" y="237678"/>
                  </a:lnTo>
                  <a:lnTo>
                    <a:pt x="1226820" y="23767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7678"/>
                  </a:lnTo>
                  <a:close/>
                </a:path>
              </a:pathLst>
            </a:custGeom>
            <a:solidFill>
              <a:srgbClr val="BBBDBF">
                <a:alpha val="60000"/>
              </a:srgbClr>
            </a:solidFill>
            <a:ln w="9525" cap="flat">
              <a:noFill/>
              <a:prstDash val="solid"/>
              <a:miter/>
            </a:ln>
          </p:spPr>
          <p:txBody>
            <a:bodyPr rtlCol="0" anchor="ctr"/>
            <a:lstStyle/>
            <a:p>
              <a:endParaRPr lang="en-US" sz="1050"/>
            </a:p>
          </p:txBody>
        </p:sp>
        <p:sp>
          <p:nvSpPr>
            <p:cNvPr id="200" name="Freeform 252">
              <a:extLst>
                <a:ext uri="{FF2B5EF4-FFF2-40B4-BE49-F238E27FC236}">
                  <a16:creationId xmlns:a16="http://schemas.microsoft.com/office/drawing/2014/main" id="{C75D394B-B9C0-0E4C-D0D3-EC9F605AB5B5}"/>
                </a:ext>
              </a:extLst>
            </p:cNvPr>
            <p:cNvSpPr/>
            <p:nvPr/>
          </p:nvSpPr>
          <p:spPr>
            <a:xfrm>
              <a:off x="3987133" y="4827183"/>
              <a:ext cx="1226819" cy="237678"/>
            </a:xfrm>
            <a:custGeom>
              <a:avLst/>
              <a:gdLst>
                <a:gd name="connsiteX0" fmla="*/ 0 w 1226819"/>
                <a:gd name="connsiteY0" fmla="*/ 237678 h 237678"/>
                <a:gd name="connsiteX1" fmla="*/ 1905 w 1226819"/>
                <a:gd name="connsiteY1" fmla="*/ 237678 h 237678"/>
                <a:gd name="connsiteX2" fmla="*/ 9525 w 1226819"/>
                <a:gd name="connsiteY2" fmla="*/ 237678 h 237678"/>
                <a:gd name="connsiteX3" fmla="*/ 27623 w 1226819"/>
                <a:gd name="connsiteY3" fmla="*/ 237678 h 237678"/>
                <a:gd name="connsiteX4" fmla="*/ 56198 w 1226819"/>
                <a:gd name="connsiteY4" fmla="*/ 237678 h 237678"/>
                <a:gd name="connsiteX5" fmla="*/ 93345 w 1226819"/>
                <a:gd name="connsiteY5" fmla="*/ 237678 h 237678"/>
                <a:gd name="connsiteX6" fmla="*/ 132398 w 1226819"/>
                <a:gd name="connsiteY6" fmla="*/ 237678 h 237678"/>
                <a:gd name="connsiteX7" fmla="*/ 172403 w 1226819"/>
                <a:gd name="connsiteY7" fmla="*/ 237678 h 237678"/>
                <a:gd name="connsiteX8" fmla="*/ 209550 w 1226819"/>
                <a:gd name="connsiteY8" fmla="*/ 237678 h 237678"/>
                <a:gd name="connsiteX9" fmla="*/ 244793 w 1226819"/>
                <a:gd name="connsiteY9" fmla="*/ 237678 h 237678"/>
                <a:gd name="connsiteX10" fmla="*/ 277178 w 1226819"/>
                <a:gd name="connsiteY10" fmla="*/ 237678 h 237678"/>
                <a:gd name="connsiteX11" fmla="*/ 308610 w 1226819"/>
                <a:gd name="connsiteY11" fmla="*/ 237678 h 237678"/>
                <a:gd name="connsiteX12" fmla="*/ 340995 w 1226819"/>
                <a:gd name="connsiteY12" fmla="*/ 237678 h 237678"/>
                <a:gd name="connsiteX13" fmla="*/ 358140 w 1226819"/>
                <a:gd name="connsiteY13" fmla="*/ 237678 h 237678"/>
                <a:gd name="connsiteX14" fmla="*/ 386715 w 1226819"/>
                <a:gd name="connsiteY14" fmla="*/ 237678 h 237678"/>
                <a:gd name="connsiteX15" fmla="*/ 417195 w 1226819"/>
                <a:gd name="connsiteY15" fmla="*/ 237678 h 237678"/>
                <a:gd name="connsiteX16" fmla="*/ 449580 w 1226819"/>
                <a:gd name="connsiteY16" fmla="*/ 237678 h 237678"/>
                <a:gd name="connsiteX17" fmla="*/ 483870 w 1226819"/>
                <a:gd name="connsiteY17" fmla="*/ 237678 h 237678"/>
                <a:gd name="connsiteX18" fmla="*/ 520065 w 1226819"/>
                <a:gd name="connsiteY18" fmla="*/ 237678 h 237678"/>
                <a:gd name="connsiteX19" fmla="*/ 557213 w 1226819"/>
                <a:gd name="connsiteY19" fmla="*/ 237678 h 237678"/>
                <a:gd name="connsiteX20" fmla="*/ 595313 w 1226819"/>
                <a:gd name="connsiteY20" fmla="*/ 237678 h 237678"/>
                <a:gd name="connsiteX21" fmla="*/ 634365 w 1226819"/>
                <a:gd name="connsiteY21" fmla="*/ 237678 h 237678"/>
                <a:gd name="connsiteX22" fmla="*/ 672465 w 1226819"/>
                <a:gd name="connsiteY22" fmla="*/ 237678 h 237678"/>
                <a:gd name="connsiteX23" fmla="*/ 709613 w 1226819"/>
                <a:gd name="connsiteY23" fmla="*/ 237678 h 237678"/>
                <a:gd name="connsiteX24" fmla="*/ 744855 w 1226819"/>
                <a:gd name="connsiteY24" fmla="*/ 237678 h 237678"/>
                <a:gd name="connsiteX25" fmla="*/ 779145 w 1226819"/>
                <a:gd name="connsiteY25" fmla="*/ 237678 h 237678"/>
                <a:gd name="connsiteX26" fmla="*/ 811530 w 1226819"/>
                <a:gd name="connsiteY26" fmla="*/ 237678 h 237678"/>
                <a:gd name="connsiteX27" fmla="*/ 842010 w 1226819"/>
                <a:gd name="connsiteY27" fmla="*/ 237678 h 237678"/>
                <a:gd name="connsiteX28" fmla="*/ 869633 w 1226819"/>
                <a:gd name="connsiteY28" fmla="*/ 237678 h 237678"/>
                <a:gd name="connsiteX29" fmla="*/ 902018 w 1226819"/>
                <a:gd name="connsiteY29" fmla="*/ 237678 h 237678"/>
                <a:gd name="connsiteX30" fmla="*/ 934403 w 1226819"/>
                <a:gd name="connsiteY30" fmla="*/ 237678 h 237678"/>
                <a:gd name="connsiteX31" fmla="*/ 966788 w 1226819"/>
                <a:gd name="connsiteY31" fmla="*/ 237678 h 237678"/>
                <a:gd name="connsiteX32" fmla="*/ 1000125 w 1226819"/>
                <a:gd name="connsiteY32" fmla="*/ 237678 h 237678"/>
                <a:gd name="connsiteX33" fmla="*/ 1036320 w 1226819"/>
                <a:gd name="connsiteY33" fmla="*/ 237678 h 237678"/>
                <a:gd name="connsiteX34" fmla="*/ 1074420 w 1226819"/>
                <a:gd name="connsiteY34" fmla="*/ 237678 h 237678"/>
                <a:gd name="connsiteX35" fmla="*/ 1114425 w 1226819"/>
                <a:gd name="connsiteY35" fmla="*/ 237678 h 237678"/>
                <a:gd name="connsiteX36" fmla="*/ 1153478 w 1226819"/>
                <a:gd name="connsiteY36" fmla="*/ 237678 h 237678"/>
                <a:gd name="connsiteX37" fmla="*/ 1186815 w 1226819"/>
                <a:gd name="connsiteY37" fmla="*/ 237678 h 237678"/>
                <a:gd name="connsiteX38" fmla="*/ 1210628 w 1226819"/>
                <a:gd name="connsiteY38" fmla="*/ 237678 h 237678"/>
                <a:gd name="connsiteX39" fmla="*/ 1223010 w 1226819"/>
                <a:gd name="connsiteY39" fmla="*/ 237678 h 237678"/>
                <a:gd name="connsiteX40" fmla="*/ 1226820 w 1226819"/>
                <a:gd name="connsiteY40" fmla="*/ 237678 h 237678"/>
                <a:gd name="connsiteX41" fmla="*/ 1226820 w 1226819"/>
                <a:gd name="connsiteY41" fmla="*/ 237678 h 237678"/>
                <a:gd name="connsiteX42" fmla="*/ 1226820 w 1226819"/>
                <a:gd name="connsiteY42" fmla="*/ 0 h 237678"/>
                <a:gd name="connsiteX43" fmla="*/ 1225868 w 1226819"/>
                <a:gd name="connsiteY43" fmla="*/ 0 h 237678"/>
                <a:gd name="connsiteX44" fmla="*/ 1218248 w 1226819"/>
                <a:gd name="connsiteY44" fmla="*/ 0 h 237678"/>
                <a:gd name="connsiteX45" fmla="*/ 1200150 w 1226819"/>
                <a:gd name="connsiteY45" fmla="*/ 0 h 237678"/>
                <a:gd name="connsiteX46" fmla="*/ 1170623 w 1226819"/>
                <a:gd name="connsiteY46" fmla="*/ 0 h 237678"/>
                <a:gd name="connsiteX47" fmla="*/ 1134428 w 1226819"/>
                <a:gd name="connsiteY47" fmla="*/ 0 h 237678"/>
                <a:gd name="connsiteX48" fmla="*/ 1095375 w 1226819"/>
                <a:gd name="connsiteY48" fmla="*/ 0 h 237678"/>
                <a:gd name="connsiteX49" fmla="*/ 1055370 w 1226819"/>
                <a:gd name="connsiteY49" fmla="*/ 0 h 237678"/>
                <a:gd name="connsiteX50" fmla="*/ 1018223 w 1226819"/>
                <a:gd name="connsiteY50" fmla="*/ 0 h 237678"/>
                <a:gd name="connsiteX51" fmla="*/ 982980 w 1226819"/>
                <a:gd name="connsiteY51" fmla="*/ 0 h 237678"/>
                <a:gd name="connsiteX52" fmla="*/ 950595 w 1226819"/>
                <a:gd name="connsiteY52" fmla="*/ 0 h 237678"/>
                <a:gd name="connsiteX53" fmla="*/ 918210 w 1226819"/>
                <a:gd name="connsiteY53" fmla="*/ 0 h 237678"/>
                <a:gd name="connsiteX54" fmla="*/ 886778 w 1226819"/>
                <a:gd name="connsiteY54" fmla="*/ 0 h 237678"/>
                <a:gd name="connsiteX55" fmla="*/ 869633 w 1226819"/>
                <a:gd name="connsiteY55" fmla="*/ 0 h 237678"/>
                <a:gd name="connsiteX56" fmla="*/ 840105 w 1226819"/>
                <a:gd name="connsiteY56" fmla="*/ 0 h 237678"/>
                <a:gd name="connsiteX57" fmla="*/ 809625 w 1226819"/>
                <a:gd name="connsiteY57" fmla="*/ 0 h 237678"/>
                <a:gd name="connsiteX58" fmla="*/ 777240 w 1226819"/>
                <a:gd name="connsiteY58" fmla="*/ 0 h 237678"/>
                <a:gd name="connsiteX59" fmla="*/ 743903 w 1226819"/>
                <a:gd name="connsiteY59" fmla="*/ 0 h 237678"/>
                <a:gd name="connsiteX60" fmla="*/ 707708 w 1226819"/>
                <a:gd name="connsiteY60" fmla="*/ 0 h 237678"/>
                <a:gd name="connsiteX61" fmla="*/ 670560 w 1226819"/>
                <a:gd name="connsiteY61" fmla="*/ 0 h 237678"/>
                <a:gd name="connsiteX62" fmla="*/ 632460 w 1226819"/>
                <a:gd name="connsiteY62" fmla="*/ 0 h 237678"/>
                <a:gd name="connsiteX63" fmla="*/ 593408 w 1226819"/>
                <a:gd name="connsiteY63" fmla="*/ 0 h 237678"/>
                <a:gd name="connsiteX64" fmla="*/ 555308 w 1226819"/>
                <a:gd name="connsiteY64" fmla="*/ 0 h 237678"/>
                <a:gd name="connsiteX65" fmla="*/ 518160 w 1226819"/>
                <a:gd name="connsiteY65" fmla="*/ 0 h 237678"/>
                <a:gd name="connsiteX66" fmla="*/ 482918 w 1226819"/>
                <a:gd name="connsiteY66" fmla="*/ 0 h 237678"/>
                <a:gd name="connsiteX67" fmla="*/ 448628 w 1226819"/>
                <a:gd name="connsiteY67" fmla="*/ 0 h 237678"/>
                <a:gd name="connsiteX68" fmla="*/ 416243 w 1226819"/>
                <a:gd name="connsiteY68" fmla="*/ 0 h 237678"/>
                <a:gd name="connsiteX69" fmla="*/ 385763 w 1226819"/>
                <a:gd name="connsiteY69" fmla="*/ 0 h 237678"/>
                <a:gd name="connsiteX70" fmla="*/ 358140 w 1226819"/>
                <a:gd name="connsiteY70" fmla="*/ 0 h 237678"/>
                <a:gd name="connsiteX71" fmla="*/ 325755 w 1226819"/>
                <a:gd name="connsiteY71" fmla="*/ 0 h 237678"/>
                <a:gd name="connsiteX72" fmla="*/ 293370 w 1226819"/>
                <a:gd name="connsiteY72" fmla="*/ 0 h 237678"/>
                <a:gd name="connsiteX73" fmla="*/ 260985 w 1226819"/>
                <a:gd name="connsiteY73" fmla="*/ 0 h 237678"/>
                <a:gd name="connsiteX74" fmla="*/ 227648 w 1226819"/>
                <a:gd name="connsiteY74" fmla="*/ 0 h 237678"/>
                <a:gd name="connsiteX75" fmla="*/ 191453 w 1226819"/>
                <a:gd name="connsiteY75" fmla="*/ 0 h 237678"/>
                <a:gd name="connsiteX76" fmla="*/ 153353 w 1226819"/>
                <a:gd name="connsiteY76" fmla="*/ 0 h 237678"/>
                <a:gd name="connsiteX77" fmla="*/ 113348 w 1226819"/>
                <a:gd name="connsiteY77" fmla="*/ 0 h 237678"/>
                <a:gd name="connsiteX78" fmla="*/ 74295 w 1226819"/>
                <a:gd name="connsiteY78" fmla="*/ 0 h 237678"/>
                <a:gd name="connsiteX79" fmla="*/ 40958 w 1226819"/>
                <a:gd name="connsiteY79" fmla="*/ 0 h 237678"/>
                <a:gd name="connsiteX80" fmla="*/ 17145 w 1226819"/>
                <a:gd name="connsiteY80" fmla="*/ 0 h 237678"/>
                <a:gd name="connsiteX81" fmla="*/ 4763 w 1226819"/>
                <a:gd name="connsiteY81" fmla="*/ 0 h 237678"/>
                <a:gd name="connsiteX82" fmla="*/ 953 w 1226819"/>
                <a:gd name="connsiteY82" fmla="*/ 0 h 237678"/>
                <a:gd name="connsiteX83" fmla="*/ 0 w 1226819"/>
                <a:gd name="connsiteY83" fmla="*/ 0 h 237678"/>
                <a:gd name="connsiteX84" fmla="*/ 0 w 1226819"/>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7678">
                  <a:moveTo>
                    <a:pt x="0" y="237678"/>
                  </a:moveTo>
                  <a:lnTo>
                    <a:pt x="1905" y="237678"/>
                  </a:lnTo>
                  <a:lnTo>
                    <a:pt x="9525" y="237678"/>
                  </a:lnTo>
                  <a:lnTo>
                    <a:pt x="27623" y="237678"/>
                  </a:lnTo>
                  <a:lnTo>
                    <a:pt x="56198" y="237678"/>
                  </a:lnTo>
                  <a:lnTo>
                    <a:pt x="93345" y="237678"/>
                  </a:lnTo>
                  <a:lnTo>
                    <a:pt x="132398" y="237678"/>
                  </a:lnTo>
                  <a:lnTo>
                    <a:pt x="172403" y="237678"/>
                  </a:lnTo>
                  <a:lnTo>
                    <a:pt x="209550" y="237678"/>
                  </a:lnTo>
                  <a:lnTo>
                    <a:pt x="244793" y="237678"/>
                  </a:lnTo>
                  <a:lnTo>
                    <a:pt x="277178" y="237678"/>
                  </a:lnTo>
                  <a:lnTo>
                    <a:pt x="308610" y="237678"/>
                  </a:lnTo>
                  <a:lnTo>
                    <a:pt x="340995" y="237678"/>
                  </a:lnTo>
                  <a:lnTo>
                    <a:pt x="358140" y="237678"/>
                  </a:lnTo>
                  <a:lnTo>
                    <a:pt x="386715" y="237678"/>
                  </a:lnTo>
                  <a:lnTo>
                    <a:pt x="417195" y="237678"/>
                  </a:lnTo>
                  <a:lnTo>
                    <a:pt x="449580" y="237678"/>
                  </a:lnTo>
                  <a:lnTo>
                    <a:pt x="483870" y="237678"/>
                  </a:lnTo>
                  <a:lnTo>
                    <a:pt x="520065" y="237678"/>
                  </a:lnTo>
                  <a:lnTo>
                    <a:pt x="557213" y="237678"/>
                  </a:lnTo>
                  <a:lnTo>
                    <a:pt x="595313" y="237678"/>
                  </a:lnTo>
                  <a:lnTo>
                    <a:pt x="634365" y="237678"/>
                  </a:lnTo>
                  <a:lnTo>
                    <a:pt x="672465" y="237678"/>
                  </a:lnTo>
                  <a:lnTo>
                    <a:pt x="709613" y="237678"/>
                  </a:lnTo>
                  <a:lnTo>
                    <a:pt x="744855" y="237678"/>
                  </a:lnTo>
                  <a:lnTo>
                    <a:pt x="779145" y="237678"/>
                  </a:lnTo>
                  <a:lnTo>
                    <a:pt x="811530" y="237678"/>
                  </a:lnTo>
                  <a:lnTo>
                    <a:pt x="842010" y="237678"/>
                  </a:lnTo>
                  <a:lnTo>
                    <a:pt x="869633" y="237678"/>
                  </a:lnTo>
                  <a:lnTo>
                    <a:pt x="902018" y="237678"/>
                  </a:lnTo>
                  <a:lnTo>
                    <a:pt x="934403" y="237678"/>
                  </a:lnTo>
                  <a:lnTo>
                    <a:pt x="966788" y="237678"/>
                  </a:lnTo>
                  <a:lnTo>
                    <a:pt x="1000125" y="237678"/>
                  </a:lnTo>
                  <a:lnTo>
                    <a:pt x="1036320" y="237678"/>
                  </a:lnTo>
                  <a:lnTo>
                    <a:pt x="1074420" y="237678"/>
                  </a:lnTo>
                  <a:lnTo>
                    <a:pt x="1114425" y="237678"/>
                  </a:lnTo>
                  <a:lnTo>
                    <a:pt x="1153478" y="237678"/>
                  </a:lnTo>
                  <a:lnTo>
                    <a:pt x="1186815" y="237678"/>
                  </a:lnTo>
                  <a:lnTo>
                    <a:pt x="1210628" y="237678"/>
                  </a:lnTo>
                  <a:lnTo>
                    <a:pt x="1223010" y="237678"/>
                  </a:lnTo>
                  <a:lnTo>
                    <a:pt x="1226820" y="237678"/>
                  </a:lnTo>
                  <a:lnTo>
                    <a:pt x="1226820" y="23767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7678"/>
                  </a:lnTo>
                  <a:close/>
                </a:path>
              </a:pathLst>
            </a:custGeom>
            <a:noFill/>
            <a:ln w="9525" cap="flat">
              <a:solidFill>
                <a:srgbClr val="BBBDBF"/>
              </a:solidFill>
              <a:prstDash val="solid"/>
              <a:miter/>
            </a:ln>
          </p:spPr>
          <p:txBody>
            <a:bodyPr rtlCol="0" anchor="ctr"/>
            <a:lstStyle/>
            <a:p>
              <a:endParaRPr lang="en-US" sz="1050"/>
            </a:p>
          </p:txBody>
        </p:sp>
        <p:sp>
          <p:nvSpPr>
            <p:cNvPr id="201" name="Freeform 253">
              <a:extLst>
                <a:ext uri="{FF2B5EF4-FFF2-40B4-BE49-F238E27FC236}">
                  <a16:creationId xmlns:a16="http://schemas.microsoft.com/office/drawing/2014/main" id="{DEC55B3E-F770-AC73-BA8F-718571ECD3C0}"/>
                </a:ext>
              </a:extLst>
            </p:cNvPr>
            <p:cNvSpPr/>
            <p:nvPr/>
          </p:nvSpPr>
          <p:spPr>
            <a:xfrm>
              <a:off x="3987133" y="5064862"/>
              <a:ext cx="1226819" cy="237678"/>
            </a:xfrm>
            <a:custGeom>
              <a:avLst/>
              <a:gdLst>
                <a:gd name="connsiteX0" fmla="*/ 0 w 1226819"/>
                <a:gd name="connsiteY0" fmla="*/ 237678 h 237678"/>
                <a:gd name="connsiteX1" fmla="*/ 1905 w 1226819"/>
                <a:gd name="connsiteY1" fmla="*/ 237678 h 237678"/>
                <a:gd name="connsiteX2" fmla="*/ 9525 w 1226819"/>
                <a:gd name="connsiteY2" fmla="*/ 237678 h 237678"/>
                <a:gd name="connsiteX3" fmla="*/ 27623 w 1226819"/>
                <a:gd name="connsiteY3" fmla="*/ 237678 h 237678"/>
                <a:gd name="connsiteX4" fmla="*/ 56198 w 1226819"/>
                <a:gd name="connsiteY4" fmla="*/ 237678 h 237678"/>
                <a:gd name="connsiteX5" fmla="*/ 93345 w 1226819"/>
                <a:gd name="connsiteY5" fmla="*/ 237678 h 237678"/>
                <a:gd name="connsiteX6" fmla="*/ 132398 w 1226819"/>
                <a:gd name="connsiteY6" fmla="*/ 237678 h 237678"/>
                <a:gd name="connsiteX7" fmla="*/ 172403 w 1226819"/>
                <a:gd name="connsiteY7" fmla="*/ 237678 h 237678"/>
                <a:gd name="connsiteX8" fmla="*/ 209550 w 1226819"/>
                <a:gd name="connsiteY8" fmla="*/ 237678 h 237678"/>
                <a:gd name="connsiteX9" fmla="*/ 244793 w 1226819"/>
                <a:gd name="connsiteY9" fmla="*/ 237678 h 237678"/>
                <a:gd name="connsiteX10" fmla="*/ 277178 w 1226819"/>
                <a:gd name="connsiteY10" fmla="*/ 237678 h 237678"/>
                <a:gd name="connsiteX11" fmla="*/ 308610 w 1226819"/>
                <a:gd name="connsiteY11" fmla="*/ 237678 h 237678"/>
                <a:gd name="connsiteX12" fmla="*/ 340995 w 1226819"/>
                <a:gd name="connsiteY12" fmla="*/ 237678 h 237678"/>
                <a:gd name="connsiteX13" fmla="*/ 358140 w 1226819"/>
                <a:gd name="connsiteY13" fmla="*/ 237678 h 237678"/>
                <a:gd name="connsiteX14" fmla="*/ 386715 w 1226819"/>
                <a:gd name="connsiteY14" fmla="*/ 237678 h 237678"/>
                <a:gd name="connsiteX15" fmla="*/ 417195 w 1226819"/>
                <a:gd name="connsiteY15" fmla="*/ 237678 h 237678"/>
                <a:gd name="connsiteX16" fmla="*/ 449580 w 1226819"/>
                <a:gd name="connsiteY16" fmla="*/ 237678 h 237678"/>
                <a:gd name="connsiteX17" fmla="*/ 483870 w 1226819"/>
                <a:gd name="connsiteY17" fmla="*/ 237678 h 237678"/>
                <a:gd name="connsiteX18" fmla="*/ 520065 w 1226819"/>
                <a:gd name="connsiteY18" fmla="*/ 237678 h 237678"/>
                <a:gd name="connsiteX19" fmla="*/ 557213 w 1226819"/>
                <a:gd name="connsiteY19" fmla="*/ 237678 h 237678"/>
                <a:gd name="connsiteX20" fmla="*/ 595313 w 1226819"/>
                <a:gd name="connsiteY20" fmla="*/ 237678 h 237678"/>
                <a:gd name="connsiteX21" fmla="*/ 634365 w 1226819"/>
                <a:gd name="connsiteY21" fmla="*/ 237678 h 237678"/>
                <a:gd name="connsiteX22" fmla="*/ 672465 w 1226819"/>
                <a:gd name="connsiteY22" fmla="*/ 237678 h 237678"/>
                <a:gd name="connsiteX23" fmla="*/ 709613 w 1226819"/>
                <a:gd name="connsiteY23" fmla="*/ 237678 h 237678"/>
                <a:gd name="connsiteX24" fmla="*/ 744855 w 1226819"/>
                <a:gd name="connsiteY24" fmla="*/ 237678 h 237678"/>
                <a:gd name="connsiteX25" fmla="*/ 779145 w 1226819"/>
                <a:gd name="connsiteY25" fmla="*/ 237678 h 237678"/>
                <a:gd name="connsiteX26" fmla="*/ 811530 w 1226819"/>
                <a:gd name="connsiteY26" fmla="*/ 237678 h 237678"/>
                <a:gd name="connsiteX27" fmla="*/ 842010 w 1226819"/>
                <a:gd name="connsiteY27" fmla="*/ 237678 h 237678"/>
                <a:gd name="connsiteX28" fmla="*/ 869633 w 1226819"/>
                <a:gd name="connsiteY28" fmla="*/ 237678 h 237678"/>
                <a:gd name="connsiteX29" fmla="*/ 902018 w 1226819"/>
                <a:gd name="connsiteY29" fmla="*/ 237678 h 237678"/>
                <a:gd name="connsiteX30" fmla="*/ 934403 w 1226819"/>
                <a:gd name="connsiteY30" fmla="*/ 237678 h 237678"/>
                <a:gd name="connsiteX31" fmla="*/ 966788 w 1226819"/>
                <a:gd name="connsiteY31" fmla="*/ 237678 h 237678"/>
                <a:gd name="connsiteX32" fmla="*/ 1000125 w 1226819"/>
                <a:gd name="connsiteY32" fmla="*/ 237678 h 237678"/>
                <a:gd name="connsiteX33" fmla="*/ 1036320 w 1226819"/>
                <a:gd name="connsiteY33" fmla="*/ 237678 h 237678"/>
                <a:gd name="connsiteX34" fmla="*/ 1074420 w 1226819"/>
                <a:gd name="connsiteY34" fmla="*/ 237678 h 237678"/>
                <a:gd name="connsiteX35" fmla="*/ 1114425 w 1226819"/>
                <a:gd name="connsiteY35" fmla="*/ 237678 h 237678"/>
                <a:gd name="connsiteX36" fmla="*/ 1153478 w 1226819"/>
                <a:gd name="connsiteY36" fmla="*/ 237678 h 237678"/>
                <a:gd name="connsiteX37" fmla="*/ 1186815 w 1226819"/>
                <a:gd name="connsiteY37" fmla="*/ 237678 h 237678"/>
                <a:gd name="connsiteX38" fmla="*/ 1210628 w 1226819"/>
                <a:gd name="connsiteY38" fmla="*/ 237678 h 237678"/>
                <a:gd name="connsiteX39" fmla="*/ 1223010 w 1226819"/>
                <a:gd name="connsiteY39" fmla="*/ 237678 h 237678"/>
                <a:gd name="connsiteX40" fmla="*/ 1226820 w 1226819"/>
                <a:gd name="connsiteY40" fmla="*/ 237678 h 237678"/>
                <a:gd name="connsiteX41" fmla="*/ 1226820 w 1226819"/>
                <a:gd name="connsiteY41" fmla="*/ 237678 h 237678"/>
                <a:gd name="connsiteX42" fmla="*/ 1226820 w 1226819"/>
                <a:gd name="connsiteY42" fmla="*/ 0 h 237678"/>
                <a:gd name="connsiteX43" fmla="*/ 1225868 w 1226819"/>
                <a:gd name="connsiteY43" fmla="*/ 0 h 237678"/>
                <a:gd name="connsiteX44" fmla="*/ 1218248 w 1226819"/>
                <a:gd name="connsiteY44" fmla="*/ 0 h 237678"/>
                <a:gd name="connsiteX45" fmla="*/ 1200150 w 1226819"/>
                <a:gd name="connsiteY45" fmla="*/ 0 h 237678"/>
                <a:gd name="connsiteX46" fmla="*/ 1170623 w 1226819"/>
                <a:gd name="connsiteY46" fmla="*/ 0 h 237678"/>
                <a:gd name="connsiteX47" fmla="*/ 1134428 w 1226819"/>
                <a:gd name="connsiteY47" fmla="*/ 0 h 237678"/>
                <a:gd name="connsiteX48" fmla="*/ 1095375 w 1226819"/>
                <a:gd name="connsiteY48" fmla="*/ 0 h 237678"/>
                <a:gd name="connsiteX49" fmla="*/ 1055370 w 1226819"/>
                <a:gd name="connsiteY49" fmla="*/ 0 h 237678"/>
                <a:gd name="connsiteX50" fmla="*/ 1018223 w 1226819"/>
                <a:gd name="connsiteY50" fmla="*/ 0 h 237678"/>
                <a:gd name="connsiteX51" fmla="*/ 982980 w 1226819"/>
                <a:gd name="connsiteY51" fmla="*/ 0 h 237678"/>
                <a:gd name="connsiteX52" fmla="*/ 950595 w 1226819"/>
                <a:gd name="connsiteY52" fmla="*/ 0 h 237678"/>
                <a:gd name="connsiteX53" fmla="*/ 918210 w 1226819"/>
                <a:gd name="connsiteY53" fmla="*/ 0 h 237678"/>
                <a:gd name="connsiteX54" fmla="*/ 886778 w 1226819"/>
                <a:gd name="connsiteY54" fmla="*/ 0 h 237678"/>
                <a:gd name="connsiteX55" fmla="*/ 869633 w 1226819"/>
                <a:gd name="connsiteY55" fmla="*/ 0 h 237678"/>
                <a:gd name="connsiteX56" fmla="*/ 840105 w 1226819"/>
                <a:gd name="connsiteY56" fmla="*/ 0 h 237678"/>
                <a:gd name="connsiteX57" fmla="*/ 809625 w 1226819"/>
                <a:gd name="connsiteY57" fmla="*/ 0 h 237678"/>
                <a:gd name="connsiteX58" fmla="*/ 777240 w 1226819"/>
                <a:gd name="connsiteY58" fmla="*/ 0 h 237678"/>
                <a:gd name="connsiteX59" fmla="*/ 743903 w 1226819"/>
                <a:gd name="connsiteY59" fmla="*/ 0 h 237678"/>
                <a:gd name="connsiteX60" fmla="*/ 707708 w 1226819"/>
                <a:gd name="connsiteY60" fmla="*/ 0 h 237678"/>
                <a:gd name="connsiteX61" fmla="*/ 670560 w 1226819"/>
                <a:gd name="connsiteY61" fmla="*/ 0 h 237678"/>
                <a:gd name="connsiteX62" fmla="*/ 632460 w 1226819"/>
                <a:gd name="connsiteY62" fmla="*/ 0 h 237678"/>
                <a:gd name="connsiteX63" fmla="*/ 593408 w 1226819"/>
                <a:gd name="connsiteY63" fmla="*/ 0 h 237678"/>
                <a:gd name="connsiteX64" fmla="*/ 555308 w 1226819"/>
                <a:gd name="connsiteY64" fmla="*/ 0 h 237678"/>
                <a:gd name="connsiteX65" fmla="*/ 518160 w 1226819"/>
                <a:gd name="connsiteY65" fmla="*/ 0 h 237678"/>
                <a:gd name="connsiteX66" fmla="*/ 482918 w 1226819"/>
                <a:gd name="connsiteY66" fmla="*/ 0 h 237678"/>
                <a:gd name="connsiteX67" fmla="*/ 448628 w 1226819"/>
                <a:gd name="connsiteY67" fmla="*/ 0 h 237678"/>
                <a:gd name="connsiteX68" fmla="*/ 416243 w 1226819"/>
                <a:gd name="connsiteY68" fmla="*/ 0 h 237678"/>
                <a:gd name="connsiteX69" fmla="*/ 385763 w 1226819"/>
                <a:gd name="connsiteY69" fmla="*/ 0 h 237678"/>
                <a:gd name="connsiteX70" fmla="*/ 358140 w 1226819"/>
                <a:gd name="connsiteY70" fmla="*/ 0 h 237678"/>
                <a:gd name="connsiteX71" fmla="*/ 325755 w 1226819"/>
                <a:gd name="connsiteY71" fmla="*/ 0 h 237678"/>
                <a:gd name="connsiteX72" fmla="*/ 293370 w 1226819"/>
                <a:gd name="connsiteY72" fmla="*/ 0 h 237678"/>
                <a:gd name="connsiteX73" fmla="*/ 260985 w 1226819"/>
                <a:gd name="connsiteY73" fmla="*/ 0 h 237678"/>
                <a:gd name="connsiteX74" fmla="*/ 227648 w 1226819"/>
                <a:gd name="connsiteY74" fmla="*/ 0 h 237678"/>
                <a:gd name="connsiteX75" fmla="*/ 191453 w 1226819"/>
                <a:gd name="connsiteY75" fmla="*/ 0 h 237678"/>
                <a:gd name="connsiteX76" fmla="*/ 153353 w 1226819"/>
                <a:gd name="connsiteY76" fmla="*/ 0 h 237678"/>
                <a:gd name="connsiteX77" fmla="*/ 113348 w 1226819"/>
                <a:gd name="connsiteY77" fmla="*/ 0 h 237678"/>
                <a:gd name="connsiteX78" fmla="*/ 74295 w 1226819"/>
                <a:gd name="connsiteY78" fmla="*/ 0 h 237678"/>
                <a:gd name="connsiteX79" fmla="*/ 40958 w 1226819"/>
                <a:gd name="connsiteY79" fmla="*/ 0 h 237678"/>
                <a:gd name="connsiteX80" fmla="*/ 17145 w 1226819"/>
                <a:gd name="connsiteY80" fmla="*/ 0 h 237678"/>
                <a:gd name="connsiteX81" fmla="*/ 4763 w 1226819"/>
                <a:gd name="connsiteY81" fmla="*/ 0 h 237678"/>
                <a:gd name="connsiteX82" fmla="*/ 953 w 1226819"/>
                <a:gd name="connsiteY82" fmla="*/ 0 h 237678"/>
                <a:gd name="connsiteX83" fmla="*/ 0 w 1226819"/>
                <a:gd name="connsiteY83" fmla="*/ 0 h 237678"/>
                <a:gd name="connsiteX84" fmla="*/ 0 w 1226819"/>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7678">
                  <a:moveTo>
                    <a:pt x="0" y="237678"/>
                  </a:moveTo>
                  <a:lnTo>
                    <a:pt x="1905" y="237678"/>
                  </a:lnTo>
                  <a:lnTo>
                    <a:pt x="9525" y="237678"/>
                  </a:lnTo>
                  <a:lnTo>
                    <a:pt x="27623" y="237678"/>
                  </a:lnTo>
                  <a:lnTo>
                    <a:pt x="56198" y="237678"/>
                  </a:lnTo>
                  <a:lnTo>
                    <a:pt x="93345" y="237678"/>
                  </a:lnTo>
                  <a:lnTo>
                    <a:pt x="132398" y="237678"/>
                  </a:lnTo>
                  <a:lnTo>
                    <a:pt x="172403" y="237678"/>
                  </a:lnTo>
                  <a:lnTo>
                    <a:pt x="209550" y="237678"/>
                  </a:lnTo>
                  <a:lnTo>
                    <a:pt x="244793" y="237678"/>
                  </a:lnTo>
                  <a:lnTo>
                    <a:pt x="277178" y="237678"/>
                  </a:lnTo>
                  <a:lnTo>
                    <a:pt x="308610" y="237678"/>
                  </a:lnTo>
                  <a:lnTo>
                    <a:pt x="340995" y="237678"/>
                  </a:lnTo>
                  <a:lnTo>
                    <a:pt x="358140" y="237678"/>
                  </a:lnTo>
                  <a:lnTo>
                    <a:pt x="386715" y="237678"/>
                  </a:lnTo>
                  <a:lnTo>
                    <a:pt x="417195" y="237678"/>
                  </a:lnTo>
                  <a:lnTo>
                    <a:pt x="449580" y="237678"/>
                  </a:lnTo>
                  <a:lnTo>
                    <a:pt x="483870" y="237678"/>
                  </a:lnTo>
                  <a:lnTo>
                    <a:pt x="520065" y="237678"/>
                  </a:lnTo>
                  <a:lnTo>
                    <a:pt x="557213" y="237678"/>
                  </a:lnTo>
                  <a:lnTo>
                    <a:pt x="595313" y="237678"/>
                  </a:lnTo>
                  <a:lnTo>
                    <a:pt x="634365" y="237678"/>
                  </a:lnTo>
                  <a:lnTo>
                    <a:pt x="672465" y="237678"/>
                  </a:lnTo>
                  <a:lnTo>
                    <a:pt x="709613" y="237678"/>
                  </a:lnTo>
                  <a:lnTo>
                    <a:pt x="744855" y="237678"/>
                  </a:lnTo>
                  <a:lnTo>
                    <a:pt x="779145" y="237678"/>
                  </a:lnTo>
                  <a:lnTo>
                    <a:pt x="811530" y="237678"/>
                  </a:lnTo>
                  <a:lnTo>
                    <a:pt x="842010" y="237678"/>
                  </a:lnTo>
                  <a:lnTo>
                    <a:pt x="869633" y="237678"/>
                  </a:lnTo>
                  <a:lnTo>
                    <a:pt x="902018" y="237678"/>
                  </a:lnTo>
                  <a:lnTo>
                    <a:pt x="934403" y="237678"/>
                  </a:lnTo>
                  <a:lnTo>
                    <a:pt x="966788" y="237678"/>
                  </a:lnTo>
                  <a:lnTo>
                    <a:pt x="1000125" y="237678"/>
                  </a:lnTo>
                  <a:lnTo>
                    <a:pt x="1036320" y="237678"/>
                  </a:lnTo>
                  <a:lnTo>
                    <a:pt x="1074420" y="237678"/>
                  </a:lnTo>
                  <a:lnTo>
                    <a:pt x="1114425" y="237678"/>
                  </a:lnTo>
                  <a:lnTo>
                    <a:pt x="1153478" y="237678"/>
                  </a:lnTo>
                  <a:lnTo>
                    <a:pt x="1186815" y="237678"/>
                  </a:lnTo>
                  <a:lnTo>
                    <a:pt x="1210628" y="237678"/>
                  </a:lnTo>
                  <a:lnTo>
                    <a:pt x="1223010" y="237678"/>
                  </a:lnTo>
                  <a:lnTo>
                    <a:pt x="1226820" y="237678"/>
                  </a:lnTo>
                  <a:lnTo>
                    <a:pt x="1226820" y="23767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7678"/>
                  </a:lnTo>
                  <a:close/>
                </a:path>
              </a:pathLst>
            </a:custGeom>
            <a:solidFill>
              <a:srgbClr val="BBBDBF">
                <a:alpha val="60000"/>
              </a:srgbClr>
            </a:solidFill>
            <a:ln w="9525" cap="flat">
              <a:noFill/>
              <a:prstDash val="solid"/>
              <a:miter/>
            </a:ln>
          </p:spPr>
          <p:txBody>
            <a:bodyPr rtlCol="0" anchor="ctr"/>
            <a:lstStyle/>
            <a:p>
              <a:endParaRPr lang="en-US" sz="1050"/>
            </a:p>
          </p:txBody>
        </p:sp>
        <p:sp>
          <p:nvSpPr>
            <p:cNvPr id="202" name="Freeform 254">
              <a:extLst>
                <a:ext uri="{FF2B5EF4-FFF2-40B4-BE49-F238E27FC236}">
                  <a16:creationId xmlns:a16="http://schemas.microsoft.com/office/drawing/2014/main" id="{346EE862-B802-66CB-967B-53A1A0525B2E}"/>
                </a:ext>
              </a:extLst>
            </p:cNvPr>
            <p:cNvSpPr/>
            <p:nvPr/>
          </p:nvSpPr>
          <p:spPr>
            <a:xfrm>
              <a:off x="3987133" y="5064862"/>
              <a:ext cx="1226819" cy="237678"/>
            </a:xfrm>
            <a:custGeom>
              <a:avLst/>
              <a:gdLst>
                <a:gd name="connsiteX0" fmla="*/ 0 w 1226819"/>
                <a:gd name="connsiteY0" fmla="*/ 237678 h 237678"/>
                <a:gd name="connsiteX1" fmla="*/ 1905 w 1226819"/>
                <a:gd name="connsiteY1" fmla="*/ 237678 h 237678"/>
                <a:gd name="connsiteX2" fmla="*/ 9525 w 1226819"/>
                <a:gd name="connsiteY2" fmla="*/ 237678 h 237678"/>
                <a:gd name="connsiteX3" fmla="*/ 27623 w 1226819"/>
                <a:gd name="connsiteY3" fmla="*/ 237678 h 237678"/>
                <a:gd name="connsiteX4" fmla="*/ 56198 w 1226819"/>
                <a:gd name="connsiteY4" fmla="*/ 237678 h 237678"/>
                <a:gd name="connsiteX5" fmla="*/ 93345 w 1226819"/>
                <a:gd name="connsiteY5" fmla="*/ 237678 h 237678"/>
                <a:gd name="connsiteX6" fmla="*/ 132398 w 1226819"/>
                <a:gd name="connsiteY6" fmla="*/ 237678 h 237678"/>
                <a:gd name="connsiteX7" fmla="*/ 172403 w 1226819"/>
                <a:gd name="connsiteY7" fmla="*/ 237678 h 237678"/>
                <a:gd name="connsiteX8" fmla="*/ 209550 w 1226819"/>
                <a:gd name="connsiteY8" fmla="*/ 237678 h 237678"/>
                <a:gd name="connsiteX9" fmla="*/ 244793 w 1226819"/>
                <a:gd name="connsiteY9" fmla="*/ 237678 h 237678"/>
                <a:gd name="connsiteX10" fmla="*/ 277178 w 1226819"/>
                <a:gd name="connsiteY10" fmla="*/ 237678 h 237678"/>
                <a:gd name="connsiteX11" fmla="*/ 308610 w 1226819"/>
                <a:gd name="connsiteY11" fmla="*/ 237678 h 237678"/>
                <a:gd name="connsiteX12" fmla="*/ 340995 w 1226819"/>
                <a:gd name="connsiteY12" fmla="*/ 237678 h 237678"/>
                <a:gd name="connsiteX13" fmla="*/ 358140 w 1226819"/>
                <a:gd name="connsiteY13" fmla="*/ 237678 h 237678"/>
                <a:gd name="connsiteX14" fmla="*/ 386715 w 1226819"/>
                <a:gd name="connsiteY14" fmla="*/ 237678 h 237678"/>
                <a:gd name="connsiteX15" fmla="*/ 417195 w 1226819"/>
                <a:gd name="connsiteY15" fmla="*/ 237678 h 237678"/>
                <a:gd name="connsiteX16" fmla="*/ 449580 w 1226819"/>
                <a:gd name="connsiteY16" fmla="*/ 237678 h 237678"/>
                <a:gd name="connsiteX17" fmla="*/ 483870 w 1226819"/>
                <a:gd name="connsiteY17" fmla="*/ 237678 h 237678"/>
                <a:gd name="connsiteX18" fmla="*/ 520065 w 1226819"/>
                <a:gd name="connsiteY18" fmla="*/ 237678 h 237678"/>
                <a:gd name="connsiteX19" fmla="*/ 557213 w 1226819"/>
                <a:gd name="connsiteY19" fmla="*/ 237678 h 237678"/>
                <a:gd name="connsiteX20" fmla="*/ 595313 w 1226819"/>
                <a:gd name="connsiteY20" fmla="*/ 237678 h 237678"/>
                <a:gd name="connsiteX21" fmla="*/ 634365 w 1226819"/>
                <a:gd name="connsiteY21" fmla="*/ 237678 h 237678"/>
                <a:gd name="connsiteX22" fmla="*/ 672465 w 1226819"/>
                <a:gd name="connsiteY22" fmla="*/ 237678 h 237678"/>
                <a:gd name="connsiteX23" fmla="*/ 709613 w 1226819"/>
                <a:gd name="connsiteY23" fmla="*/ 237678 h 237678"/>
                <a:gd name="connsiteX24" fmla="*/ 744855 w 1226819"/>
                <a:gd name="connsiteY24" fmla="*/ 237678 h 237678"/>
                <a:gd name="connsiteX25" fmla="*/ 779145 w 1226819"/>
                <a:gd name="connsiteY25" fmla="*/ 237678 h 237678"/>
                <a:gd name="connsiteX26" fmla="*/ 811530 w 1226819"/>
                <a:gd name="connsiteY26" fmla="*/ 237678 h 237678"/>
                <a:gd name="connsiteX27" fmla="*/ 842010 w 1226819"/>
                <a:gd name="connsiteY27" fmla="*/ 237678 h 237678"/>
                <a:gd name="connsiteX28" fmla="*/ 869633 w 1226819"/>
                <a:gd name="connsiteY28" fmla="*/ 237678 h 237678"/>
                <a:gd name="connsiteX29" fmla="*/ 902018 w 1226819"/>
                <a:gd name="connsiteY29" fmla="*/ 237678 h 237678"/>
                <a:gd name="connsiteX30" fmla="*/ 934403 w 1226819"/>
                <a:gd name="connsiteY30" fmla="*/ 237678 h 237678"/>
                <a:gd name="connsiteX31" fmla="*/ 966788 w 1226819"/>
                <a:gd name="connsiteY31" fmla="*/ 237678 h 237678"/>
                <a:gd name="connsiteX32" fmla="*/ 1000125 w 1226819"/>
                <a:gd name="connsiteY32" fmla="*/ 237678 h 237678"/>
                <a:gd name="connsiteX33" fmla="*/ 1036320 w 1226819"/>
                <a:gd name="connsiteY33" fmla="*/ 237678 h 237678"/>
                <a:gd name="connsiteX34" fmla="*/ 1074420 w 1226819"/>
                <a:gd name="connsiteY34" fmla="*/ 237678 h 237678"/>
                <a:gd name="connsiteX35" fmla="*/ 1114425 w 1226819"/>
                <a:gd name="connsiteY35" fmla="*/ 237678 h 237678"/>
                <a:gd name="connsiteX36" fmla="*/ 1153478 w 1226819"/>
                <a:gd name="connsiteY36" fmla="*/ 237678 h 237678"/>
                <a:gd name="connsiteX37" fmla="*/ 1186815 w 1226819"/>
                <a:gd name="connsiteY37" fmla="*/ 237678 h 237678"/>
                <a:gd name="connsiteX38" fmla="*/ 1210628 w 1226819"/>
                <a:gd name="connsiteY38" fmla="*/ 237678 h 237678"/>
                <a:gd name="connsiteX39" fmla="*/ 1223010 w 1226819"/>
                <a:gd name="connsiteY39" fmla="*/ 237678 h 237678"/>
                <a:gd name="connsiteX40" fmla="*/ 1226820 w 1226819"/>
                <a:gd name="connsiteY40" fmla="*/ 237678 h 237678"/>
                <a:gd name="connsiteX41" fmla="*/ 1226820 w 1226819"/>
                <a:gd name="connsiteY41" fmla="*/ 237678 h 237678"/>
                <a:gd name="connsiteX42" fmla="*/ 1226820 w 1226819"/>
                <a:gd name="connsiteY42" fmla="*/ 0 h 237678"/>
                <a:gd name="connsiteX43" fmla="*/ 1225868 w 1226819"/>
                <a:gd name="connsiteY43" fmla="*/ 0 h 237678"/>
                <a:gd name="connsiteX44" fmla="*/ 1218248 w 1226819"/>
                <a:gd name="connsiteY44" fmla="*/ 0 h 237678"/>
                <a:gd name="connsiteX45" fmla="*/ 1200150 w 1226819"/>
                <a:gd name="connsiteY45" fmla="*/ 0 h 237678"/>
                <a:gd name="connsiteX46" fmla="*/ 1170623 w 1226819"/>
                <a:gd name="connsiteY46" fmla="*/ 0 h 237678"/>
                <a:gd name="connsiteX47" fmla="*/ 1134428 w 1226819"/>
                <a:gd name="connsiteY47" fmla="*/ 0 h 237678"/>
                <a:gd name="connsiteX48" fmla="*/ 1095375 w 1226819"/>
                <a:gd name="connsiteY48" fmla="*/ 0 h 237678"/>
                <a:gd name="connsiteX49" fmla="*/ 1055370 w 1226819"/>
                <a:gd name="connsiteY49" fmla="*/ 0 h 237678"/>
                <a:gd name="connsiteX50" fmla="*/ 1018223 w 1226819"/>
                <a:gd name="connsiteY50" fmla="*/ 0 h 237678"/>
                <a:gd name="connsiteX51" fmla="*/ 982980 w 1226819"/>
                <a:gd name="connsiteY51" fmla="*/ 0 h 237678"/>
                <a:gd name="connsiteX52" fmla="*/ 950595 w 1226819"/>
                <a:gd name="connsiteY52" fmla="*/ 0 h 237678"/>
                <a:gd name="connsiteX53" fmla="*/ 918210 w 1226819"/>
                <a:gd name="connsiteY53" fmla="*/ 0 h 237678"/>
                <a:gd name="connsiteX54" fmla="*/ 886778 w 1226819"/>
                <a:gd name="connsiteY54" fmla="*/ 0 h 237678"/>
                <a:gd name="connsiteX55" fmla="*/ 869633 w 1226819"/>
                <a:gd name="connsiteY55" fmla="*/ 0 h 237678"/>
                <a:gd name="connsiteX56" fmla="*/ 840105 w 1226819"/>
                <a:gd name="connsiteY56" fmla="*/ 0 h 237678"/>
                <a:gd name="connsiteX57" fmla="*/ 809625 w 1226819"/>
                <a:gd name="connsiteY57" fmla="*/ 0 h 237678"/>
                <a:gd name="connsiteX58" fmla="*/ 777240 w 1226819"/>
                <a:gd name="connsiteY58" fmla="*/ 0 h 237678"/>
                <a:gd name="connsiteX59" fmla="*/ 743903 w 1226819"/>
                <a:gd name="connsiteY59" fmla="*/ 0 h 237678"/>
                <a:gd name="connsiteX60" fmla="*/ 707708 w 1226819"/>
                <a:gd name="connsiteY60" fmla="*/ 0 h 237678"/>
                <a:gd name="connsiteX61" fmla="*/ 670560 w 1226819"/>
                <a:gd name="connsiteY61" fmla="*/ 0 h 237678"/>
                <a:gd name="connsiteX62" fmla="*/ 632460 w 1226819"/>
                <a:gd name="connsiteY62" fmla="*/ 0 h 237678"/>
                <a:gd name="connsiteX63" fmla="*/ 593408 w 1226819"/>
                <a:gd name="connsiteY63" fmla="*/ 0 h 237678"/>
                <a:gd name="connsiteX64" fmla="*/ 555308 w 1226819"/>
                <a:gd name="connsiteY64" fmla="*/ 0 h 237678"/>
                <a:gd name="connsiteX65" fmla="*/ 518160 w 1226819"/>
                <a:gd name="connsiteY65" fmla="*/ 0 h 237678"/>
                <a:gd name="connsiteX66" fmla="*/ 482918 w 1226819"/>
                <a:gd name="connsiteY66" fmla="*/ 0 h 237678"/>
                <a:gd name="connsiteX67" fmla="*/ 448628 w 1226819"/>
                <a:gd name="connsiteY67" fmla="*/ 0 h 237678"/>
                <a:gd name="connsiteX68" fmla="*/ 416243 w 1226819"/>
                <a:gd name="connsiteY68" fmla="*/ 0 h 237678"/>
                <a:gd name="connsiteX69" fmla="*/ 385763 w 1226819"/>
                <a:gd name="connsiteY69" fmla="*/ 0 h 237678"/>
                <a:gd name="connsiteX70" fmla="*/ 358140 w 1226819"/>
                <a:gd name="connsiteY70" fmla="*/ 0 h 237678"/>
                <a:gd name="connsiteX71" fmla="*/ 325755 w 1226819"/>
                <a:gd name="connsiteY71" fmla="*/ 0 h 237678"/>
                <a:gd name="connsiteX72" fmla="*/ 293370 w 1226819"/>
                <a:gd name="connsiteY72" fmla="*/ 0 h 237678"/>
                <a:gd name="connsiteX73" fmla="*/ 260985 w 1226819"/>
                <a:gd name="connsiteY73" fmla="*/ 0 h 237678"/>
                <a:gd name="connsiteX74" fmla="*/ 227648 w 1226819"/>
                <a:gd name="connsiteY74" fmla="*/ 0 h 237678"/>
                <a:gd name="connsiteX75" fmla="*/ 191453 w 1226819"/>
                <a:gd name="connsiteY75" fmla="*/ 0 h 237678"/>
                <a:gd name="connsiteX76" fmla="*/ 153353 w 1226819"/>
                <a:gd name="connsiteY76" fmla="*/ 0 h 237678"/>
                <a:gd name="connsiteX77" fmla="*/ 113348 w 1226819"/>
                <a:gd name="connsiteY77" fmla="*/ 0 h 237678"/>
                <a:gd name="connsiteX78" fmla="*/ 74295 w 1226819"/>
                <a:gd name="connsiteY78" fmla="*/ 0 h 237678"/>
                <a:gd name="connsiteX79" fmla="*/ 40958 w 1226819"/>
                <a:gd name="connsiteY79" fmla="*/ 0 h 237678"/>
                <a:gd name="connsiteX80" fmla="*/ 17145 w 1226819"/>
                <a:gd name="connsiteY80" fmla="*/ 0 h 237678"/>
                <a:gd name="connsiteX81" fmla="*/ 4763 w 1226819"/>
                <a:gd name="connsiteY81" fmla="*/ 0 h 237678"/>
                <a:gd name="connsiteX82" fmla="*/ 953 w 1226819"/>
                <a:gd name="connsiteY82" fmla="*/ 0 h 237678"/>
                <a:gd name="connsiteX83" fmla="*/ 0 w 1226819"/>
                <a:gd name="connsiteY83" fmla="*/ 0 h 237678"/>
                <a:gd name="connsiteX84" fmla="*/ 0 w 1226819"/>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7678">
                  <a:moveTo>
                    <a:pt x="0" y="237678"/>
                  </a:moveTo>
                  <a:lnTo>
                    <a:pt x="1905" y="237678"/>
                  </a:lnTo>
                  <a:lnTo>
                    <a:pt x="9525" y="237678"/>
                  </a:lnTo>
                  <a:lnTo>
                    <a:pt x="27623" y="237678"/>
                  </a:lnTo>
                  <a:lnTo>
                    <a:pt x="56198" y="237678"/>
                  </a:lnTo>
                  <a:lnTo>
                    <a:pt x="93345" y="237678"/>
                  </a:lnTo>
                  <a:lnTo>
                    <a:pt x="132398" y="237678"/>
                  </a:lnTo>
                  <a:lnTo>
                    <a:pt x="172403" y="237678"/>
                  </a:lnTo>
                  <a:lnTo>
                    <a:pt x="209550" y="237678"/>
                  </a:lnTo>
                  <a:lnTo>
                    <a:pt x="244793" y="237678"/>
                  </a:lnTo>
                  <a:lnTo>
                    <a:pt x="277178" y="237678"/>
                  </a:lnTo>
                  <a:lnTo>
                    <a:pt x="308610" y="237678"/>
                  </a:lnTo>
                  <a:lnTo>
                    <a:pt x="340995" y="237678"/>
                  </a:lnTo>
                  <a:lnTo>
                    <a:pt x="358140" y="237678"/>
                  </a:lnTo>
                  <a:lnTo>
                    <a:pt x="386715" y="237678"/>
                  </a:lnTo>
                  <a:lnTo>
                    <a:pt x="417195" y="237678"/>
                  </a:lnTo>
                  <a:lnTo>
                    <a:pt x="449580" y="237678"/>
                  </a:lnTo>
                  <a:lnTo>
                    <a:pt x="483870" y="237678"/>
                  </a:lnTo>
                  <a:lnTo>
                    <a:pt x="520065" y="237678"/>
                  </a:lnTo>
                  <a:lnTo>
                    <a:pt x="557213" y="237678"/>
                  </a:lnTo>
                  <a:lnTo>
                    <a:pt x="595313" y="237678"/>
                  </a:lnTo>
                  <a:lnTo>
                    <a:pt x="634365" y="237678"/>
                  </a:lnTo>
                  <a:lnTo>
                    <a:pt x="672465" y="237678"/>
                  </a:lnTo>
                  <a:lnTo>
                    <a:pt x="709613" y="237678"/>
                  </a:lnTo>
                  <a:lnTo>
                    <a:pt x="744855" y="237678"/>
                  </a:lnTo>
                  <a:lnTo>
                    <a:pt x="779145" y="237678"/>
                  </a:lnTo>
                  <a:lnTo>
                    <a:pt x="811530" y="237678"/>
                  </a:lnTo>
                  <a:lnTo>
                    <a:pt x="842010" y="237678"/>
                  </a:lnTo>
                  <a:lnTo>
                    <a:pt x="869633" y="237678"/>
                  </a:lnTo>
                  <a:lnTo>
                    <a:pt x="902018" y="237678"/>
                  </a:lnTo>
                  <a:lnTo>
                    <a:pt x="934403" y="237678"/>
                  </a:lnTo>
                  <a:lnTo>
                    <a:pt x="966788" y="237678"/>
                  </a:lnTo>
                  <a:lnTo>
                    <a:pt x="1000125" y="237678"/>
                  </a:lnTo>
                  <a:lnTo>
                    <a:pt x="1036320" y="237678"/>
                  </a:lnTo>
                  <a:lnTo>
                    <a:pt x="1074420" y="237678"/>
                  </a:lnTo>
                  <a:lnTo>
                    <a:pt x="1114425" y="237678"/>
                  </a:lnTo>
                  <a:lnTo>
                    <a:pt x="1153478" y="237678"/>
                  </a:lnTo>
                  <a:lnTo>
                    <a:pt x="1186815" y="237678"/>
                  </a:lnTo>
                  <a:lnTo>
                    <a:pt x="1210628" y="237678"/>
                  </a:lnTo>
                  <a:lnTo>
                    <a:pt x="1223010" y="237678"/>
                  </a:lnTo>
                  <a:lnTo>
                    <a:pt x="1226820" y="237678"/>
                  </a:lnTo>
                  <a:lnTo>
                    <a:pt x="1226820" y="23767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7678"/>
                  </a:lnTo>
                  <a:close/>
                </a:path>
              </a:pathLst>
            </a:custGeom>
            <a:noFill/>
            <a:ln w="9525" cap="flat">
              <a:solidFill>
                <a:srgbClr val="BBBDBF"/>
              </a:solidFill>
              <a:prstDash val="solid"/>
              <a:miter/>
            </a:ln>
          </p:spPr>
          <p:txBody>
            <a:bodyPr rtlCol="0" anchor="ctr"/>
            <a:lstStyle/>
            <a:p>
              <a:endParaRPr lang="en-US" sz="1050"/>
            </a:p>
          </p:txBody>
        </p:sp>
        <p:sp>
          <p:nvSpPr>
            <p:cNvPr id="203" name="Freeform 255">
              <a:extLst>
                <a:ext uri="{FF2B5EF4-FFF2-40B4-BE49-F238E27FC236}">
                  <a16:creationId xmlns:a16="http://schemas.microsoft.com/office/drawing/2014/main" id="{320EB053-07BD-D35E-FCF5-33574A2D2ABE}"/>
                </a:ext>
              </a:extLst>
            </p:cNvPr>
            <p:cNvSpPr/>
            <p:nvPr/>
          </p:nvSpPr>
          <p:spPr>
            <a:xfrm>
              <a:off x="3987133" y="5302540"/>
              <a:ext cx="1226819" cy="237678"/>
            </a:xfrm>
            <a:custGeom>
              <a:avLst/>
              <a:gdLst>
                <a:gd name="connsiteX0" fmla="*/ 0 w 1226819"/>
                <a:gd name="connsiteY0" fmla="*/ 237678 h 237678"/>
                <a:gd name="connsiteX1" fmla="*/ 1905 w 1226819"/>
                <a:gd name="connsiteY1" fmla="*/ 237678 h 237678"/>
                <a:gd name="connsiteX2" fmla="*/ 9525 w 1226819"/>
                <a:gd name="connsiteY2" fmla="*/ 237678 h 237678"/>
                <a:gd name="connsiteX3" fmla="*/ 27623 w 1226819"/>
                <a:gd name="connsiteY3" fmla="*/ 237678 h 237678"/>
                <a:gd name="connsiteX4" fmla="*/ 56198 w 1226819"/>
                <a:gd name="connsiteY4" fmla="*/ 237678 h 237678"/>
                <a:gd name="connsiteX5" fmla="*/ 93345 w 1226819"/>
                <a:gd name="connsiteY5" fmla="*/ 237678 h 237678"/>
                <a:gd name="connsiteX6" fmla="*/ 132398 w 1226819"/>
                <a:gd name="connsiteY6" fmla="*/ 237678 h 237678"/>
                <a:gd name="connsiteX7" fmla="*/ 172403 w 1226819"/>
                <a:gd name="connsiteY7" fmla="*/ 237678 h 237678"/>
                <a:gd name="connsiteX8" fmla="*/ 209550 w 1226819"/>
                <a:gd name="connsiteY8" fmla="*/ 237678 h 237678"/>
                <a:gd name="connsiteX9" fmla="*/ 244793 w 1226819"/>
                <a:gd name="connsiteY9" fmla="*/ 237678 h 237678"/>
                <a:gd name="connsiteX10" fmla="*/ 277178 w 1226819"/>
                <a:gd name="connsiteY10" fmla="*/ 237678 h 237678"/>
                <a:gd name="connsiteX11" fmla="*/ 308610 w 1226819"/>
                <a:gd name="connsiteY11" fmla="*/ 237678 h 237678"/>
                <a:gd name="connsiteX12" fmla="*/ 340995 w 1226819"/>
                <a:gd name="connsiteY12" fmla="*/ 237678 h 237678"/>
                <a:gd name="connsiteX13" fmla="*/ 358140 w 1226819"/>
                <a:gd name="connsiteY13" fmla="*/ 237678 h 237678"/>
                <a:gd name="connsiteX14" fmla="*/ 386715 w 1226819"/>
                <a:gd name="connsiteY14" fmla="*/ 237678 h 237678"/>
                <a:gd name="connsiteX15" fmla="*/ 417195 w 1226819"/>
                <a:gd name="connsiteY15" fmla="*/ 237678 h 237678"/>
                <a:gd name="connsiteX16" fmla="*/ 449580 w 1226819"/>
                <a:gd name="connsiteY16" fmla="*/ 237678 h 237678"/>
                <a:gd name="connsiteX17" fmla="*/ 483870 w 1226819"/>
                <a:gd name="connsiteY17" fmla="*/ 237678 h 237678"/>
                <a:gd name="connsiteX18" fmla="*/ 520065 w 1226819"/>
                <a:gd name="connsiteY18" fmla="*/ 237678 h 237678"/>
                <a:gd name="connsiteX19" fmla="*/ 557213 w 1226819"/>
                <a:gd name="connsiteY19" fmla="*/ 237678 h 237678"/>
                <a:gd name="connsiteX20" fmla="*/ 595313 w 1226819"/>
                <a:gd name="connsiteY20" fmla="*/ 237678 h 237678"/>
                <a:gd name="connsiteX21" fmla="*/ 634365 w 1226819"/>
                <a:gd name="connsiteY21" fmla="*/ 237678 h 237678"/>
                <a:gd name="connsiteX22" fmla="*/ 672465 w 1226819"/>
                <a:gd name="connsiteY22" fmla="*/ 237678 h 237678"/>
                <a:gd name="connsiteX23" fmla="*/ 709613 w 1226819"/>
                <a:gd name="connsiteY23" fmla="*/ 237678 h 237678"/>
                <a:gd name="connsiteX24" fmla="*/ 744855 w 1226819"/>
                <a:gd name="connsiteY24" fmla="*/ 237678 h 237678"/>
                <a:gd name="connsiteX25" fmla="*/ 779145 w 1226819"/>
                <a:gd name="connsiteY25" fmla="*/ 237678 h 237678"/>
                <a:gd name="connsiteX26" fmla="*/ 811530 w 1226819"/>
                <a:gd name="connsiteY26" fmla="*/ 237678 h 237678"/>
                <a:gd name="connsiteX27" fmla="*/ 842010 w 1226819"/>
                <a:gd name="connsiteY27" fmla="*/ 237678 h 237678"/>
                <a:gd name="connsiteX28" fmla="*/ 869633 w 1226819"/>
                <a:gd name="connsiteY28" fmla="*/ 237678 h 237678"/>
                <a:gd name="connsiteX29" fmla="*/ 902018 w 1226819"/>
                <a:gd name="connsiteY29" fmla="*/ 237678 h 237678"/>
                <a:gd name="connsiteX30" fmla="*/ 934403 w 1226819"/>
                <a:gd name="connsiteY30" fmla="*/ 237678 h 237678"/>
                <a:gd name="connsiteX31" fmla="*/ 966788 w 1226819"/>
                <a:gd name="connsiteY31" fmla="*/ 237678 h 237678"/>
                <a:gd name="connsiteX32" fmla="*/ 1000125 w 1226819"/>
                <a:gd name="connsiteY32" fmla="*/ 237678 h 237678"/>
                <a:gd name="connsiteX33" fmla="*/ 1036320 w 1226819"/>
                <a:gd name="connsiteY33" fmla="*/ 237678 h 237678"/>
                <a:gd name="connsiteX34" fmla="*/ 1074420 w 1226819"/>
                <a:gd name="connsiteY34" fmla="*/ 237678 h 237678"/>
                <a:gd name="connsiteX35" fmla="*/ 1114425 w 1226819"/>
                <a:gd name="connsiteY35" fmla="*/ 237678 h 237678"/>
                <a:gd name="connsiteX36" fmla="*/ 1153478 w 1226819"/>
                <a:gd name="connsiteY36" fmla="*/ 237678 h 237678"/>
                <a:gd name="connsiteX37" fmla="*/ 1186815 w 1226819"/>
                <a:gd name="connsiteY37" fmla="*/ 237678 h 237678"/>
                <a:gd name="connsiteX38" fmla="*/ 1210628 w 1226819"/>
                <a:gd name="connsiteY38" fmla="*/ 237678 h 237678"/>
                <a:gd name="connsiteX39" fmla="*/ 1223010 w 1226819"/>
                <a:gd name="connsiteY39" fmla="*/ 237678 h 237678"/>
                <a:gd name="connsiteX40" fmla="*/ 1226820 w 1226819"/>
                <a:gd name="connsiteY40" fmla="*/ 237678 h 237678"/>
                <a:gd name="connsiteX41" fmla="*/ 1226820 w 1226819"/>
                <a:gd name="connsiteY41" fmla="*/ 237678 h 237678"/>
                <a:gd name="connsiteX42" fmla="*/ 1226820 w 1226819"/>
                <a:gd name="connsiteY42" fmla="*/ 0 h 237678"/>
                <a:gd name="connsiteX43" fmla="*/ 1225868 w 1226819"/>
                <a:gd name="connsiteY43" fmla="*/ 0 h 237678"/>
                <a:gd name="connsiteX44" fmla="*/ 1218248 w 1226819"/>
                <a:gd name="connsiteY44" fmla="*/ 0 h 237678"/>
                <a:gd name="connsiteX45" fmla="*/ 1200150 w 1226819"/>
                <a:gd name="connsiteY45" fmla="*/ 0 h 237678"/>
                <a:gd name="connsiteX46" fmla="*/ 1170623 w 1226819"/>
                <a:gd name="connsiteY46" fmla="*/ 0 h 237678"/>
                <a:gd name="connsiteX47" fmla="*/ 1134428 w 1226819"/>
                <a:gd name="connsiteY47" fmla="*/ 0 h 237678"/>
                <a:gd name="connsiteX48" fmla="*/ 1095375 w 1226819"/>
                <a:gd name="connsiteY48" fmla="*/ 0 h 237678"/>
                <a:gd name="connsiteX49" fmla="*/ 1055370 w 1226819"/>
                <a:gd name="connsiteY49" fmla="*/ 0 h 237678"/>
                <a:gd name="connsiteX50" fmla="*/ 1018223 w 1226819"/>
                <a:gd name="connsiteY50" fmla="*/ 0 h 237678"/>
                <a:gd name="connsiteX51" fmla="*/ 982980 w 1226819"/>
                <a:gd name="connsiteY51" fmla="*/ 0 h 237678"/>
                <a:gd name="connsiteX52" fmla="*/ 950595 w 1226819"/>
                <a:gd name="connsiteY52" fmla="*/ 0 h 237678"/>
                <a:gd name="connsiteX53" fmla="*/ 918210 w 1226819"/>
                <a:gd name="connsiteY53" fmla="*/ 0 h 237678"/>
                <a:gd name="connsiteX54" fmla="*/ 886778 w 1226819"/>
                <a:gd name="connsiteY54" fmla="*/ 0 h 237678"/>
                <a:gd name="connsiteX55" fmla="*/ 869633 w 1226819"/>
                <a:gd name="connsiteY55" fmla="*/ 0 h 237678"/>
                <a:gd name="connsiteX56" fmla="*/ 840105 w 1226819"/>
                <a:gd name="connsiteY56" fmla="*/ 0 h 237678"/>
                <a:gd name="connsiteX57" fmla="*/ 809625 w 1226819"/>
                <a:gd name="connsiteY57" fmla="*/ 0 h 237678"/>
                <a:gd name="connsiteX58" fmla="*/ 777240 w 1226819"/>
                <a:gd name="connsiteY58" fmla="*/ 0 h 237678"/>
                <a:gd name="connsiteX59" fmla="*/ 743903 w 1226819"/>
                <a:gd name="connsiteY59" fmla="*/ 0 h 237678"/>
                <a:gd name="connsiteX60" fmla="*/ 707708 w 1226819"/>
                <a:gd name="connsiteY60" fmla="*/ 0 h 237678"/>
                <a:gd name="connsiteX61" fmla="*/ 670560 w 1226819"/>
                <a:gd name="connsiteY61" fmla="*/ 0 h 237678"/>
                <a:gd name="connsiteX62" fmla="*/ 632460 w 1226819"/>
                <a:gd name="connsiteY62" fmla="*/ 0 h 237678"/>
                <a:gd name="connsiteX63" fmla="*/ 593408 w 1226819"/>
                <a:gd name="connsiteY63" fmla="*/ 0 h 237678"/>
                <a:gd name="connsiteX64" fmla="*/ 555308 w 1226819"/>
                <a:gd name="connsiteY64" fmla="*/ 0 h 237678"/>
                <a:gd name="connsiteX65" fmla="*/ 518160 w 1226819"/>
                <a:gd name="connsiteY65" fmla="*/ 0 h 237678"/>
                <a:gd name="connsiteX66" fmla="*/ 482918 w 1226819"/>
                <a:gd name="connsiteY66" fmla="*/ 0 h 237678"/>
                <a:gd name="connsiteX67" fmla="*/ 448628 w 1226819"/>
                <a:gd name="connsiteY67" fmla="*/ 0 h 237678"/>
                <a:gd name="connsiteX68" fmla="*/ 416243 w 1226819"/>
                <a:gd name="connsiteY68" fmla="*/ 0 h 237678"/>
                <a:gd name="connsiteX69" fmla="*/ 385763 w 1226819"/>
                <a:gd name="connsiteY69" fmla="*/ 0 h 237678"/>
                <a:gd name="connsiteX70" fmla="*/ 358140 w 1226819"/>
                <a:gd name="connsiteY70" fmla="*/ 0 h 237678"/>
                <a:gd name="connsiteX71" fmla="*/ 325755 w 1226819"/>
                <a:gd name="connsiteY71" fmla="*/ 0 h 237678"/>
                <a:gd name="connsiteX72" fmla="*/ 293370 w 1226819"/>
                <a:gd name="connsiteY72" fmla="*/ 0 h 237678"/>
                <a:gd name="connsiteX73" fmla="*/ 260985 w 1226819"/>
                <a:gd name="connsiteY73" fmla="*/ 0 h 237678"/>
                <a:gd name="connsiteX74" fmla="*/ 227648 w 1226819"/>
                <a:gd name="connsiteY74" fmla="*/ 0 h 237678"/>
                <a:gd name="connsiteX75" fmla="*/ 191453 w 1226819"/>
                <a:gd name="connsiteY75" fmla="*/ 0 h 237678"/>
                <a:gd name="connsiteX76" fmla="*/ 153353 w 1226819"/>
                <a:gd name="connsiteY76" fmla="*/ 0 h 237678"/>
                <a:gd name="connsiteX77" fmla="*/ 113348 w 1226819"/>
                <a:gd name="connsiteY77" fmla="*/ 0 h 237678"/>
                <a:gd name="connsiteX78" fmla="*/ 74295 w 1226819"/>
                <a:gd name="connsiteY78" fmla="*/ 0 h 237678"/>
                <a:gd name="connsiteX79" fmla="*/ 40958 w 1226819"/>
                <a:gd name="connsiteY79" fmla="*/ 0 h 237678"/>
                <a:gd name="connsiteX80" fmla="*/ 17145 w 1226819"/>
                <a:gd name="connsiteY80" fmla="*/ 0 h 237678"/>
                <a:gd name="connsiteX81" fmla="*/ 4763 w 1226819"/>
                <a:gd name="connsiteY81" fmla="*/ 0 h 237678"/>
                <a:gd name="connsiteX82" fmla="*/ 953 w 1226819"/>
                <a:gd name="connsiteY82" fmla="*/ 0 h 237678"/>
                <a:gd name="connsiteX83" fmla="*/ 0 w 1226819"/>
                <a:gd name="connsiteY83" fmla="*/ 0 h 237678"/>
                <a:gd name="connsiteX84" fmla="*/ 0 w 1226819"/>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7678">
                  <a:moveTo>
                    <a:pt x="0" y="237678"/>
                  </a:moveTo>
                  <a:lnTo>
                    <a:pt x="1905" y="237678"/>
                  </a:lnTo>
                  <a:lnTo>
                    <a:pt x="9525" y="237678"/>
                  </a:lnTo>
                  <a:lnTo>
                    <a:pt x="27623" y="237678"/>
                  </a:lnTo>
                  <a:lnTo>
                    <a:pt x="56198" y="237678"/>
                  </a:lnTo>
                  <a:lnTo>
                    <a:pt x="93345" y="237678"/>
                  </a:lnTo>
                  <a:lnTo>
                    <a:pt x="132398" y="237678"/>
                  </a:lnTo>
                  <a:lnTo>
                    <a:pt x="172403" y="237678"/>
                  </a:lnTo>
                  <a:lnTo>
                    <a:pt x="209550" y="237678"/>
                  </a:lnTo>
                  <a:lnTo>
                    <a:pt x="244793" y="237678"/>
                  </a:lnTo>
                  <a:lnTo>
                    <a:pt x="277178" y="237678"/>
                  </a:lnTo>
                  <a:lnTo>
                    <a:pt x="308610" y="237678"/>
                  </a:lnTo>
                  <a:lnTo>
                    <a:pt x="340995" y="237678"/>
                  </a:lnTo>
                  <a:lnTo>
                    <a:pt x="358140" y="237678"/>
                  </a:lnTo>
                  <a:lnTo>
                    <a:pt x="386715" y="237678"/>
                  </a:lnTo>
                  <a:lnTo>
                    <a:pt x="417195" y="237678"/>
                  </a:lnTo>
                  <a:lnTo>
                    <a:pt x="449580" y="237678"/>
                  </a:lnTo>
                  <a:lnTo>
                    <a:pt x="483870" y="237678"/>
                  </a:lnTo>
                  <a:lnTo>
                    <a:pt x="520065" y="237678"/>
                  </a:lnTo>
                  <a:lnTo>
                    <a:pt x="557213" y="237678"/>
                  </a:lnTo>
                  <a:lnTo>
                    <a:pt x="595313" y="237678"/>
                  </a:lnTo>
                  <a:lnTo>
                    <a:pt x="634365" y="237678"/>
                  </a:lnTo>
                  <a:lnTo>
                    <a:pt x="672465" y="237678"/>
                  </a:lnTo>
                  <a:lnTo>
                    <a:pt x="709613" y="237678"/>
                  </a:lnTo>
                  <a:lnTo>
                    <a:pt x="744855" y="237678"/>
                  </a:lnTo>
                  <a:lnTo>
                    <a:pt x="779145" y="237678"/>
                  </a:lnTo>
                  <a:lnTo>
                    <a:pt x="811530" y="237678"/>
                  </a:lnTo>
                  <a:lnTo>
                    <a:pt x="842010" y="237678"/>
                  </a:lnTo>
                  <a:lnTo>
                    <a:pt x="869633" y="237678"/>
                  </a:lnTo>
                  <a:lnTo>
                    <a:pt x="902018" y="237678"/>
                  </a:lnTo>
                  <a:lnTo>
                    <a:pt x="934403" y="237678"/>
                  </a:lnTo>
                  <a:lnTo>
                    <a:pt x="966788" y="237678"/>
                  </a:lnTo>
                  <a:lnTo>
                    <a:pt x="1000125" y="237678"/>
                  </a:lnTo>
                  <a:lnTo>
                    <a:pt x="1036320" y="237678"/>
                  </a:lnTo>
                  <a:lnTo>
                    <a:pt x="1074420" y="237678"/>
                  </a:lnTo>
                  <a:lnTo>
                    <a:pt x="1114425" y="237678"/>
                  </a:lnTo>
                  <a:lnTo>
                    <a:pt x="1153478" y="237678"/>
                  </a:lnTo>
                  <a:lnTo>
                    <a:pt x="1186815" y="237678"/>
                  </a:lnTo>
                  <a:lnTo>
                    <a:pt x="1210628" y="237678"/>
                  </a:lnTo>
                  <a:lnTo>
                    <a:pt x="1223010" y="237678"/>
                  </a:lnTo>
                  <a:lnTo>
                    <a:pt x="1226820" y="237678"/>
                  </a:lnTo>
                  <a:lnTo>
                    <a:pt x="1226820" y="23767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7678"/>
                  </a:lnTo>
                  <a:close/>
                </a:path>
              </a:pathLst>
            </a:custGeom>
            <a:solidFill>
              <a:srgbClr val="BBBDBF">
                <a:alpha val="60000"/>
              </a:srgbClr>
            </a:solidFill>
            <a:ln w="9525" cap="flat">
              <a:noFill/>
              <a:prstDash val="solid"/>
              <a:miter/>
            </a:ln>
          </p:spPr>
          <p:txBody>
            <a:bodyPr rtlCol="0" anchor="ctr"/>
            <a:lstStyle/>
            <a:p>
              <a:endParaRPr lang="en-US" sz="1050"/>
            </a:p>
          </p:txBody>
        </p:sp>
        <p:sp>
          <p:nvSpPr>
            <p:cNvPr id="204" name="Freeform 256">
              <a:extLst>
                <a:ext uri="{FF2B5EF4-FFF2-40B4-BE49-F238E27FC236}">
                  <a16:creationId xmlns:a16="http://schemas.microsoft.com/office/drawing/2014/main" id="{610DCFA3-FA64-CDEB-DEF8-4B500F5A8275}"/>
                </a:ext>
              </a:extLst>
            </p:cNvPr>
            <p:cNvSpPr/>
            <p:nvPr/>
          </p:nvSpPr>
          <p:spPr>
            <a:xfrm>
              <a:off x="3987133" y="5302540"/>
              <a:ext cx="1226819" cy="237678"/>
            </a:xfrm>
            <a:custGeom>
              <a:avLst/>
              <a:gdLst>
                <a:gd name="connsiteX0" fmla="*/ 0 w 1226819"/>
                <a:gd name="connsiteY0" fmla="*/ 237678 h 237678"/>
                <a:gd name="connsiteX1" fmla="*/ 1905 w 1226819"/>
                <a:gd name="connsiteY1" fmla="*/ 237678 h 237678"/>
                <a:gd name="connsiteX2" fmla="*/ 9525 w 1226819"/>
                <a:gd name="connsiteY2" fmla="*/ 237678 h 237678"/>
                <a:gd name="connsiteX3" fmla="*/ 27623 w 1226819"/>
                <a:gd name="connsiteY3" fmla="*/ 237678 h 237678"/>
                <a:gd name="connsiteX4" fmla="*/ 56198 w 1226819"/>
                <a:gd name="connsiteY4" fmla="*/ 237678 h 237678"/>
                <a:gd name="connsiteX5" fmla="*/ 93345 w 1226819"/>
                <a:gd name="connsiteY5" fmla="*/ 237678 h 237678"/>
                <a:gd name="connsiteX6" fmla="*/ 132398 w 1226819"/>
                <a:gd name="connsiteY6" fmla="*/ 237678 h 237678"/>
                <a:gd name="connsiteX7" fmla="*/ 172403 w 1226819"/>
                <a:gd name="connsiteY7" fmla="*/ 237678 h 237678"/>
                <a:gd name="connsiteX8" fmla="*/ 209550 w 1226819"/>
                <a:gd name="connsiteY8" fmla="*/ 237678 h 237678"/>
                <a:gd name="connsiteX9" fmla="*/ 244793 w 1226819"/>
                <a:gd name="connsiteY9" fmla="*/ 237678 h 237678"/>
                <a:gd name="connsiteX10" fmla="*/ 277178 w 1226819"/>
                <a:gd name="connsiteY10" fmla="*/ 237678 h 237678"/>
                <a:gd name="connsiteX11" fmla="*/ 308610 w 1226819"/>
                <a:gd name="connsiteY11" fmla="*/ 237678 h 237678"/>
                <a:gd name="connsiteX12" fmla="*/ 340995 w 1226819"/>
                <a:gd name="connsiteY12" fmla="*/ 237678 h 237678"/>
                <a:gd name="connsiteX13" fmla="*/ 358140 w 1226819"/>
                <a:gd name="connsiteY13" fmla="*/ 237678 h 237678"/>
                <a:gd name="connsiteX14" fmla="*/ 386715 w 1226819"/>
                <a:gd name="connsiteY14" fmla="*/ 237678 h 237678"/>
                <a:gd name="connsiteX15" fmla="*/ 417195 w 1226819"/>
                <a:gd name="connsiteY15" fmla="*/ 237678 h 237678"/>
                <a:gd name="connsiteX16" fmla="*/ 449580 w 1226819"/>
                <a:gd name="connsiteY16" fmla="*/ 237678 h 237678"/>
                <a:gd name="connsiteX17" fmla="*/ 483870 w 1226819"/>
                <a:gd name="connsiteY17" fmla="*/ 237678 h 237678"/>
                <a:gd name="connsiteX18" fmla="*/ 520065 w 1226819"/>
                <a:gd name="connsiteY18" fmla="*/ 237678 h 237678"/>
                <a:gd name="connsiteX19" fmla="*/ 557213 w 1226819"/>
                <a:gd name="connsiteY19" fmla="*/ 237678 h 237678"/>
                <a:gd name="connsiteX20" fmla="*/ 595313 w 1226819"/>
                <a:gd name="connsiteY20" fmla="*/ 237678 h 237678"/>
                <a:gd name="connsiteX21" fmla="*/ 634365 w 1226819"/>
                <a:gd name="connsiteY21" fmla="*/ 237678 h 237678"/>
                <a:gd name="connsiteX22" fmla="*/ 672465 w 1226819"/>
                <a:gd name="connsiteY22" fmla="*/ 237678 h 237678"/>
                <a:gd name="connsiteX23" fmla="*/ 709613 w 1226819"/>
                <a:gd name="connsiteY23" fmla="*/ 237678 h 237678"/>
                <a:gd name="connsiteX24" fmla="*/ 744855 w 1226819"/>
                <a:gd name="connsiteY24" fmla="*/ 237678 h 237678"/>
                <a:gd name="connsiteX25" fmla="*/ 779145 w 1226819"/>
                <a:gd name="connsiteY25" fmla="*/ 237678 h 237678"/>
                <a:gd name="connsiteX26" fmla="*/ 811530 w 1226819"/>
                <a:gd name="connsiteY26" fmla="*/ 237678 h 237678"/>
                <a:gd name="connsiteX27" fmla="*/ 842010 w 1226819"/>
                <a:gd name="connsiteY27" fmla="*/ 237678 h 237678"/>
                <a:gd name="connsiteX28" fmla="*/ 869633 w 1226819"/>
                <a:gd name="connsiteY28" fmla="*/ 237678 h 237678"/>
                <a:gd name="connsiteX29" fmla="*/ 902018 w 1226819"/>
                <a:gd name="connsiteY29" fmla="*/ 237678 h 237678"/>
                <a:gd name="connsiteX30" fmla="*/ 934403 w 1226819"/>
                <a:gd name="connsiteY30" fmla="*/ 237678 h 237678"/>
                <a:gd name="connsiteX31" fmla="*/ 966788 w 1226819"/>
                <a:gd name="connsiteY31" fmla="*/ 237678 h 237678"/>
                <a:gd name="connsiteX32" fmla="*/ 1000125 w 1226819"/>
                <a:gd name="connsiteY32" fmla="*/ 237678 h 237678"/>
                <a:gd name="connsiteX33" fmla="*/ 1036320 w 1226819"/>
                <a:gd name="connsiteY33" fmla="*/ 237678 h 237678"/>
                <a:gd name="connsiteX34" fmla="*/ 1074420 w 1226819"/>
                <a:gd name="connsiteY34" fmla="*/ 237678 h 237678"/>
                <a:gd name="connsiteX35" fmla="*/ 1114425 w 1226819"/>
                <a:gd name="connsiteY35" fmla="*/ 237678 h 237678"/>
                <a:gd name="connsiteX36" fmla="*/ 1153478 w 1226819"/>
                <a:gd name="connsiteY36" fmla="*/ 237678 h 237678"/>
                <a:gd name="connsiteX37" fmla="*/ 1186815 w 1226819"/>
                <a:gd name="connsiteY37" fmla="*/ 237678 h 237678"/>
                <a:gd name="connsiteX38" fmla="*/ 1210628 w 1226819"/>
                <a:gd name="connsiteY38" fmla="*/ 237678 h 237678"/>
                <a:gd name="connsiteX39" fmla="*/ 1223010 w 1226819"/>
                <a:gd name="connsiteY39" fmla="*/ 237678 h 237678"/>
                <a:gd name="connsiteX40" fmla="*/ 1226820 w 1226819"/>
                <a:gd name="connsiteY40" fmla="*/ 237678 h 237678"/>
                <a:gd name="connsiteX41" fmla="*/ 1226820 w 1226819"/>
                <a:gd name="connsiteY41" fmla="*/ 237678 h 237678"/>
                <a:gd name="connsiteX42" fmla="*/ 1226820 w 1226819"/>
                <a:gd name="connsiteY42" fmla="*/ 0 h 237678"/>
                <a:gd name="connsiteX43" fmla="*/ 1225868 w 1226819"/>
                <a:gd name="connsiteY43" fmla="*/ 0 h 237678"/>
                <a:gd name="connsiteX44" fmla="*/ 1218248 w 1226819"/>
                <a:gd name="connsiteY44" fmla="*/ 0 h 237678"/>
                <a:gd name="connsiteX45" fmla="*/ 1200150 w 1226819"/>
                <a:gd name="connsiteY45" fmla="*/ 0 h 237678"/>
                <a:gd name="connsiteX46" fmla="*/ 1170623 w 1226819"/>
                <a:gd name="connsiteY46" fmla="*/ 0 h 237678"/>
                <a:gd name="connsiteX47" fmla="*/ 1134428 w 1226819"/>
                <a:gd name="connsiteY47" fmla="*/ 0 h 237678"/>
                <a:gd name="connsiteX48" fmla="*/ 1095375 w 1226819"/>
                <a:gd name="connsiteY48" fmla="*/ 0 h 237678"/>
                <a:gd name="connsiteX49" fmla="*/ 1055370 w 1226819"/>
                <a:gd name="connsiteY49" fmla="*/ 0 h 237678"/>
                <a:gd name="connsiteX50" fmla="*/ 1018223 w 1226819"/>
                <a:gd name="connsiteY50" fmla="*/ 0 h 237678"/>
                <a:gd name="connsiteX51" fmla="*/ 982980 w 1226819"/>
                <a:gd name="connsiteY51" fmla="*/ 0 h 237678"/>
                <a:gd name="connsiteX52" fmla="*/ 950595 w 1226819"/>
                <a:gd name="connsiteY52" fmla="*/ 0 h 237678"/>
                <a:gd name="connsiteX53" fmla="*/ 918210 w 1226819"/>
                <a:gd name="connsiteY53" fmla="*/ 0 h 237678"/>
                <a:gd name="connsiteX54" fmla="*/ 886778 w 1226819"/>
                <a:gd name="connsiteY54" fmla="*/ 0 h 237678"/>
                <a:gd name="connsiteX55" fmla="*/ 869633 w 1226819"/>
                <a:gd name="connsiteY55" fmla="*/ 0 h 237678"/>
                <a:gd name="connsiteX56" fmla="*/ 840105 w 1226819"/>
                <a:gd name="connsiteY56" fmla="*/ 0 h 237678"/>
                <a:gd name="connsiteX57" fmla="*/ 809625 w 1226819"/>
                <a:gd name="connsiteY57" fmla="*/ 0 h 237678"/>
                <a:gd name="connsiteX58" fmla="*/ 777240 w 1226819"/>
                <a:gd name="connsiteY58" fmla="*/ 0 h 237678"/>
                <a:gd name="connsiteX59" fmla="*/ 743903 w 1226819"/>
                <a:gd name="connsiteY59" fmla="*/ 0 h 237678"/>
                <a:gd name="connsiteX60" fmla="*/ 707708 w 1226819"/>
                <a:gd name="connsiteY60" fmla="*/ 0 h 237678"/>
                <a:gd name="connsiteX61" fmla="*/ 670560 w 1226819"/>
                <a:gd name="connsiteY61" fmla="*/ 0 h 237678"/>
                <a:gd name="connsiteX62" fmla="*/ 632460 w 1226819"/>
                <a:gd name="connsiteY62" fmla="*/ 0 h 237678"/>
                <a:gd name="connsiteX63" fmla="*/ 593408 w 1226819"/>
                <a:gd name="connsiteY63" fmla="*/ 0 h 237678"/>
                <a:gd name="connsiteX64" fmla="*/ 555308 w 1226819"/>
                <a:gd name="connsiteY64" fmla="*/ 0 h 237678"/>
                <a:gd name="connsiteX65" fmla="*/ 518160 w 1226819"/>
                <a:gd name="connsiteY65" fmla="*/ 0 h 237678"/>
                <a:gd name="connsiteX66" fmla="*/ 482918 w 1226819"/>
                <a:gd name="connsiteY66" fmla="*/ 0 h 237678"/>
                <a:gd name="connsiteX67" fmla="*/ 448628 w 1226819"/>
                <a:gd name="connsiteY67" fmla="*/ 0 h 237678"/>
                <a:gd name="connsiteX68" fmla="*/ 416243 w 1226819"/>
                <a:gd name="connsiteY68" fmla="*/ 0 h 237678"/>
                <a:gd name="connsiteX69" fmla="*/ 385763 w 1226819"/>
                <a:gd name="connsiteY69" fmla="*/ 0 h 237678"/>
                <a:gd name="connsiteX70" fmla="*/ 358140 w 1226819"/>
                <a:gd name="connsiteY70" fmla="*/ 0 h 237678"/>
                <a:gd name="connsiteX71" fmla="*/ 325755 w 1226819"/>
                <a:gd name="connsiteY71" fmla="*/ 0 h 237678"/>
                <a:gd name="connsiteX72" fmla="*/ 293370 w 1226819"/>
                <a:gd name="connsiteY72" fmla="*/ 0 h 237678"/>
                <a:gd name="connsiteX73" fmla="*/ 260985 w 1226819"/>
                <a:gd name="connsiteY73" fmla="*/ 0 h 237678"/>
                <a:gd name="connsiteX74" fmla="*/ 227648 w 1226819"/>
                <a:gd name="connsiteY74" fmla="*/ 0 h 237678"/>
                <a:gd name="connsiteX75" fmla="*/ 191453 w 1226819"/>
                <a:gd name="connsiteY75" fmla="*/ 0 h 237678"/>
                <a:gd name="connsiteX76" fmla="*/ 153353 w 1226819"/>
                <a:gd name="connsiteY76" fmla="*/ 0 h 237678"/>
                <a:gd name="connsiteX77" fmla="*/ 113348 w 1226819"/>
                <a:gd name="connsiteY77" fmla="*/ 0 h 237678"/>
                <a:gd name="connsiteX78" fmla="*/ 74295 w 1226819"/>
                <a:gd name="connsiteY78" fmla="*/ 0 h 237678"/>
                <a:gd name="connsiteX79" fmla="*/ 40958 w 1226819"/>
                <a:gd name="connsiteY79" fmla="*/ 0 h 237678"/>
                <a:gd name="connsiteX80" fmla="*/ 17145 w 1226819"/>
                <a:gd name="connsiteY80" fmla="*/ 0 h 237678"/>
                <a:gd name="connsiteX81" fmla="*/ 4763 w 1226819"/>
                <a:gd name="connsiteY81" fmla="*/ 0 h 237678"/>
                <a:gd name="connsiteX82" fmla="*/ 953 w 1226819"/>
                <a:gd name="connsiteY82" fmla="*/ 0 h 237678"/>
                <a:gd name="connsiteX83" fmla="*/ 0 w 1226819"/>
                <a:gd name="connsiteY83" fmla="*/ 0 h 237678"/>
                <a:gd name="connsiteX84" fmla="*/ 0 w 1226819"/>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7678">
                  <a:moveTo>
                    <a:pt x="0" y="237678"/>
                  </a:moveTo>
                  <a:lnTo>
                    <a:pt x="1905" y="237678"/>
                  </a:lnTo>
                  <a:lnTo>
                    <a:pt x="9525" y="237678"/>
                  </a:lnTo>
                  <a:lnTo>
                    <a:pt x="27623" y="237678"/>
                  </a:lnTo>
                  <a:lnTo>
                    <a:pt x="56198" y="237678"/>
                  </a:lnTo>
                  <a:lnTo>
                    <a:pt x="93345" y="237678"/>
                  </a:lnTo>
                  <a:lnTo>
                    <a:pt x="132398" y="237678"/>
                  </a:lnTo>
                  <a:lnTo>
                    <a:pt x="172403" y="237678"/>
                  </a:lnTo>
                  <a:lnTo>
                    <a:pt x="209550" y="237678"/>
                  </a:lnTo>
                  <a:lnTo>
                    <a:pt x="244793" y="237678"/>
                  </a:lnTo>
                  <a:lnTo>
                    <a:pt x="277178" y="237678"/>
                  </a:lnTo>
                  <a:lnTo>
                    <a:pt x="308610" y="237678"/>
                  </a:lnTo>
                  <a:lnTo>
                    <a:pt x="340995" y="237678"/>
                  </a:lnTo>
                  <a:lnTo>
                    <a:pt x="358140" y="237678"/>
                  </a:lnTo>
                  <a:lnTo>
                    <a:pt x="386715" y="237678"/>
                  </a:lnTo>
                  <a:lnTo>
                    <a:pt x="417195" y="237678"/>
                  </a:lnTo>
                  <a:lnTo>
                    <a:pt x="449580" y="237678"/>
                  </a:lnTo>
                  <a:lnTo>
                    <a:pt x="483870" y="237678"/>
                  </a:lnTo>
                  <a:lnTo>
                    <a:pt x="520065" y="237678"/>
                  </a:lnTo>
                  <a:lnTo>
                    <a:pt x="557213" y="237678"/>
                  </a:lnTo>
                  <a:lnTo>
                    <a:pt x="595313" y="237678"/>
                  </a:lnTo>
                  <a:lnTo>
                    <a:pt x="634365" y="237678"/>
                  </a:lnTo>
                  <a:lnTo>
                    <a:pt x="672465" y="237678"/>
                  </a:lnTo>
                  <a:lnTo>
                    <a:pt x="709613" y="237678"/>
                  </a:lnTo>
                  <a:lnTo>
                    <a:pt x="744855" y="237678"/>
                  </a:lnTo>
                  <a:lnTo>
                    <a:pt x="779145" y="237678"/>
                  </a:lnTo>
                  <a:lnTo>
                    <a:pt x="811530" y="237678"/>
                  </a:lnTo>
                  <a:lnTo>
                    <a:pt x="842010" y="237678"/>
                  </a:lnTo>
                  <a:lnTo>
                    <a:pt x="869633" y="237678"/>
                  </a:lnTo>
                  <a:lnTo>
                    <a:pt x="902018" y="237678"/>
                  </a:lnTo>
                  <a:lnTo>
                    <a:pt x="934403" y="237678"/>
                  </a:lnTo>
                  <a:lnTo>
                    <a:pt x="966788" y="237678"/>
                  </a:lnTo>
                  <a:lnTo>
                    <a:pt x="1000125" y="237678"/>
                  </a:lnTo>
                  <a:lnTo>
                    <a:pt x="1036320" y="237678"/>
                  </a:lnTo>
                  <a:lnTo>
                    <a:pt x="1074420" y="237678"/>
                  </a:lnTo>
                  <a:lnTo>
                    <a:pt x="1114425" y="237678"/>
                  </a:lnTo>
                  <a:lnTo>
                    <a:pt x="1153478" y="237678"/>
                  </a:lnTo>
                  <a:lnTo>
                    <a:pt x="1186815" y="237678"/>
                  </a:lnTo>
                  <a:lnTo>
                    <a:pt x="1210628" y="237678"/>
                  </a:lnTo>
                  <a:lnTo>
                    <a:pt x="1223010" y="237678"/>
                  </a:lnTo>
                  <a:lnTo>
                    <a:pt x="1226820" y="237678"/>
                  </a:lnTo>
                  <a:lnTo>
                    <a:pt x="1226820" y="23767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7678"/>
                  </a:lnTo>
                  <a:close/>
                </a:path>
              </a:pathLst>
            </a:custGeom>
            <a:noFill/>
            <a:ln w="9525" cap="flat">
              <a:solidFill>
                <a:srgbClr val="BBBDBF"/>
              </a:solidFill>
              <a:prstDash val="solid"/>
              <a:miter/>
            </a:ln>
          </p:spPr>
          <p:txBody>
            <a:bodyPr rtlCol="0" anchor="ctr"/>
            <a:lstStyle/>
            <a:p>
              <a:endParaRPr lang="en-US" sz="1050"/>
            </a:p>
          </p:txBody>
        </p:sp>
        <p:sp>
          <p:nvSpPr>
            <p:cNvPr id="205" name="Freeform 257">
              <a:extLst>
                <a:ext uri="{FF2B5EF4-FFF2-40B4-BE49-F238E27FC236}">
                  <a16:creationId xmlns:a16="http://schemas.microsoft.com/office/drawing/2014/main" id="{92DBC995-15CC-E28A-1EF3-598BEB09F364}"/>
                </a:ext>
              </a:extLst>
            </p:cNvPr>
            <p:cNvSpPr/>
            <p:nvPr/>
          </p:nvSpPr>
          <p:spPr>
            <a:xfrm>
              <a:off x="3987133" y="5540218"/>
              <a:ext cx="1226819" cy="236727"/>
            </a:xfrm>
            <a:custGeom>
              <a:avLst/>
              <a:gdLst>
                <a:gd name="connsiteX0" fmla="*/ 0 w 1226819"/>
                <a:gd name="connsiteY0" fmla="*/ 236727 h 236727"/>
                <a:gd name="connsiteX1" fmla="*/ 1905 w 1226819"/>
                <a:gd name="connsiteY1" fmla="*/ 236727 h 236727"/>
                <a:gd name="connsiteX2" fmla="*/ 9525 w 1226819"/>
                <a:gd name="connsiteY2" fmla="*/ 236727 h 236727"/>
                <a:gd name="connsiteX3" fmla="*/ 27623 w 1226819"/>
                <a:gd name="connsiteY3" fmla="*/ 236727 h 236727"/>
                <a:gd name="connsiteX4" fmla="*/ 56198 w 1226819"/>
                <a:gd name="connsiteY4" fmla="*/ 236727 h 236727"/>
                <a:gd name="connsiteX5" fmla="*/ 93345 w 1226819"/>
                <a:gd name="connsiteY5" fmla="*/ 236727 h 236727"/>
                <a:gd name="connsiteX6" fmla="*/ 132398 w 1226819"/>
                <a:gd name="connsiteY6" fmla="*/ 236727 h 236727"/>
                <a:gd name="connsiteX7" fmla="*/ 172403 w 1226819"/>
                <a:gd name="connsiteY7" fmla="*/ 236727 h 236727"/>
                <a:gd name="connsiteX8" fmla="*/ 209550 w 1226819"/>
                <a:gd name="connsiteY8" fmla="*/ 236727 h 236727"/>
                <a:gd name="connsiteX9" fmla="*/ 244793 w 1226819"/>
                <a:gd name="connsiteY9" fmla="*/ 236727 h 236727"/>
                <a:gd name="connsiteX10" fmla="*/ 277178 w 1226819"/>
                <a:gd name="connsiteY10" fmla="*/ 236727 h 236727"/>
                <a:gd name="connsiteX11" fmla="*/ 308610 w 1226819"/>
                <a:gd name="connsiteY11" fmla="*/ 236727 h 236727"/>
                <a:gd name="connsiteX12" fmla="*/ 340995 w 1226819"/>
                <a:gd name="connsiteY12" fmla="*/ 236727 h 236727"/>
                <a:gd name="connsiteX13" fmla="*/ 358140 w 1226819"/>
                <a:gd name="connsiteY13" fmla="*/ 236727 h 236727"/>
                <a:gd name="connsiteX14" fmla="*/ 386715 w 1226819"/>
                <a:gd name="connsiteY14" fmla="*/ 236727 h 236727"/>
                <a:gd name="connsiteX15" fmla="*/ 417195 w 1226819"/>
                <a:gd name="connsiteY15" fmla="*/ 236727 h 236727"/>
                <a:gd name="connsiteX16" fmla="*/ 449580 w 1226819"/>
                <a:gd name="connsiteY16" fmla="*/ 236727 h 236727"/>
                <a:gd name="connsiteX17" fmla="*/ 483870 w 1226819"/>
                <a:gd name="connsiteY17" fmla="*/ 236727 h 236727"/>
                <a:gd name="connsiteX18" fmla="*/ 520065 w 1226819"/>
                <a:gd name="connsiteY18" fmla="*/ 236727 h 236727"/>
                <a:gd name="connsiteX19" fmla="*/ 557213 w 1226819"/>
                <a:gd name="connsiteY19" fmla="*/ 236727 h 236727"/>
                <a:gd name="connsiteX20" fmla="*/ 595313 w 1226819"/>
                <a:gd name="connsiteY20" fmla="*/ 236727 h 236727"/>
                <a:gd name="connsiteX21" fmla="*/ 634365 w 1226819"/>
                <a:gd name="connsiteY21" fmla="*/ 236727 h 236727"/>
                <a:gd name="connsiteX22" fmla="*/ 672465 w 1226819"/>
                <a:gd name="connsiteY22" fmla="*/ 236727 h 236727"/>
                <a:gd name="connsiteX23" fmla="*/ 709613 w 1226819"/>
                <a:gd name="connsiteY23" fmla="*/ 236727 h 236727"/>
                <a:gd name="connsiteX24" fmla="*/ 744855 w 1226819"/>
                <a:gd name="connsiteY24" fmla="*/ 236727 h 236727"/>
                <a:gd name="connsiteX25" fmla="*/ 779145 w 1226819"/>
                <a:gd name="connsiteY25" fmla="*/ 236727 h 236727"/>
                <a:gd name="connsiteX26" fmla="*/ 811530 w 1226819"/>
                <a:gd name="connsiteY26" fmla="*/ 236727 h 236727"/>
                <a:gd name="connsiteX27" fmla="*/ 842010 w 1226819"/>
                <a:gd name="connsiteY27" fmla="*/ 236727 h 236727"/>
                <a:gd name="connsiteX28" fmla="*/ 869633 w 1226819"/>
                <a:gd name="connsiteY28" fmla="*/ 236727 h 236727"/>
                <a:gd name="connsiteX29" fmla="*/ 902018 w 1226819"/>
                <a:gd name="connsiteY29" fmla="*/ 236727 h 236727"/>
                <a:gd name="connsiteX30" fmla="*/ 934403 w 1226819"/>
                <a:gd name="connsiteY30" fmla="*/ 236727 h 236727"/>
                <a:gd name="connsiteX31" fmla="*/ 966788 w 1226819"/>
                <a:gd name="connsiteY31" fmla="*/ 236727 h 236727"/>
                <a:gd name="connsiteX32" fmla="*/ 1000125 w 1226819"/>
                <a:gd name="connsiteY32" fmla="*/ 236727 h 236727"/>
                <a:gd name="connsiteX33" fmla="*/ 1036320 w 1226819"/>
                <a:gd name="connsiteY33" fmla="*/ 236727 h 236727"/>
                <a:gd name="connsiteX34" fmla="*/ 1074420 w 1226819"/>
                <a:gd name="connsiteY34" fmla="*/ 236727 h 236727"/>
                <a:gd name="connsiteX35" fmla="*/ 1114425 w 1226819"/>
                <a:gd name="connsiteY35" fmla="*/ 236727 h 236727"/>
                <a:gd name="connsiteX36" fmla="*/ 1153478 w 1226819"/>
                <a:gd name="connsiteY36" fmla="*/ 236727 h 236727"/>
                <a:gd name="connsiteX37" fmla="*/ 1186815 w 1226819"/>
                <a:gd name="connsiteY37" fmla="*/ 236727 h 236727"/>
                <a:gd name="connsiteX38" fmla="*/ 1210628 w 1226819"/>
                <a:gd name="connsiteY38" fmla="*/ 236727 h 236727"/>
                <a:gd name="connsiteX39" fmla="*/ 1223010 w 1226819"/>
                <a:gd name="connsiteY39" fmla="*/ 236727 h 236727"/>
                <a:gd name="connsiteX40" fmla="*/ 1226820 w 1226819"/>
                <a:gd name="connsiteY40" fmla="*/ 236727 h 236727"/>
                <a:gd name="connsiteX41" fmla="*/ 1226820 w 1226819"/>
                <a:gd name="connsiteY41" fmla="*/ 236727 h 236727"/>
                <a:gd name="connsiteX42" fmla="*/ 1226820 w 1226819"/>
                <a:gd name="connsiteY42" fmla="*/ 0 h 236727"/>
                <a:gd name="connsiteX43" fmla="*/ 1225868 w 1226819"/>
                <a:gd name="connsiteY43" fmla="*/ 0 h 236727"/>
                <a:gd name="connsiteX44" fmla="*/ 1218248 w 1226819"/>
                <a:gd name="connsiteY44" fmla="*/ 0 h 236727"/>
                <a:gd name="connsiteX45" fmla="*/ 1200150 w 1226819"/>
                <a:gd name="connsiteY45" fmla="*/ 0 h 236727"/>
                <a:gd name="connsiteX46" fmla="*/ 1170623 w 1226819"/>
                <a:gd name="connsiteY46" fmla="*/ 0 h 236727"/>
                <a:gd name="connsiteX47" fmla="*/ 1134428 w 1226819"/>
                <a:gd name="connsiteY47" fmla="*/ 0 h 236727"/>
                <a:gd name="connsiteX48" fmla="*/ 1095375 w 1226819"/>
                <a:gd name="connsiteY48" fmla="*/ 0 h 236727"/>
                <a:gd name="connsiteX49" fmla="*/ 1055370 w 1226819"/>
                <a:gd name="connsiteY49" fmla="*/ 0 h 236727"/>
                <a:gd name="connsiteX50" fmla="*/ 1018223 w 1226819"/>
                <a:gd name="connsiteY50" fmla="*/ 0 h 236727"/>
                <a:gd name="connsiteX51" fmla="*/ 982980 w 1226819"/>
                <a:gd name="connsiteY51" fmla="*/ 0 h 236727"/>
                <a:gd name="connsiteX52" fmla="*/ 950595 w 1226819"/>
                <a:gd name="connsiteY52" fmla="*/ 0 h 236727"/>
                <a:gd name="connsiteX53" fmla="*/ 918210 w 1226819"/>
                <a:gd name="connsiteY53" fmla="*/ 0 h 236727"/>
                <a:gd name="connsiteX54" fmla="*/ 886778 w 1226819"/>
                <a:gd name="connsiteY54" fmla="*/ 0 h 236727"/>
                <a:gd name="connsiteX55" fmla="*/ 869633 w 1226819"/>
                <a:gd name="connsiteY55" fmla="*/ 0 h 236727"/>
                <a:gd name="connsiteX56" fmla="*/ 840105 w 1226819"/>
                <a:gd name="connsiteY56" fmla="*/ 0 h 236727"/>
                <a:gd name="connsiteX57" fmla="*/ 809625 w 1226819"/>
                <a:gd name="connsiteY57" fmla="*/ 0 h 236727"/>
                <a:gd name="connsiteX58" fmla="*/ 777240 w 1226819"/>
                <a:gd name="connsiteY58" fmla="*/ 0 h 236727"/>
                <a:gd name="connsiteX59" fmla="*/ 743903 w 1226819"/>
                <a:gd name="connsiteY59" fmla="*/ 0 h 236727"/>
                <a:gd name="connsiteX60" fmla="*/ 707708 w 1226819"/>
                <a:gd name="connsiteY60" fmla="*/ 0 h 236727"/>
                <a:gd name="connsiteX61" fmla="*/ 670560 w 1226819"/>
                <a:gd name="connsiteY61" fmla="*/ 0 h 236727"/>
                <a:gd name="connsiteX62" fmla="*/ 632460 w 1226819"/>
                <a:gd name="connsiteY62" fmla="*/ 0 h 236727"/>
                <a:gd name="connsiteX63" fmla="*/ 593408 w 1226819"/>
                <a:gd name="connsiteY63" fmla="*/ 0 h 236727"/>
                <a:gd name="connsiteX64" fmla="*/ 555308 w 1226819"/>
                <a:gd name="connsiteY64" fmla="*/ 0 h 236727"/>
                <a:gd name="connsiteX65" fmla="*/ 518160 w 1226819"/>
                <a:gd name="connsiteY65" fmla="*/ 0 h 236727"/>
                <a:gd name="connsiteX66" fmla="*/ 482918 w 1226819"/>
                <a:gd name="connsiteY66" fmla="*/ 0 h 236727"/>
                <a:gd name="connsiteX67" fmla="*/ 448628 w 1226819"/>
                <a:gd name="connsiteY67" fmla="*/ 0 h 236727"/>
                <a:gd name="connsiteX68" fmla="*/ 416243 w 1226819"/>
                <a:gd name="connsiteY68" fmla="*/ 0 h 236727"/>
                <a:gd name="connsiteX69" fmla="*/ 385763 w 1226819"/>
                <a:gd name="connsiteY69" fmla="*/ 0 h 236727"/>
                <a:gd name="connsiteX70" fmla="*/ 358140 w 1226819"/>
                <a:gd name="connsiteY70" fmla="*/ 0 h 236727"/>
                <a:gd name="connsiteX71" fmla="*/ 325755 w 1226819"/>
                <a:gd name="connsiteY71" fmla="*/ 0 h 236727"/>
                <a:gd name="connsiteX72" fmla="*/ 293370 w 1226819"/>
                <a:gd name="connsiteY72" fmla="*/ 0 h 236727"/>
                <a:gd name="connsiteX73" fmla="*/ 260985 w 1226819"/>
                <a:gd name="connsiteY73" fmla="*/ 0 h 236727"/>
                <a:gd name="connsiteX74" fmla="*/ 227648 w 1226819"/>
                <a:gd name="connsiteY74" fmla="*/ 0 h 236727"/>
                <a:gd name="connsiteX75" fmla="*/ 191453 w 1226819"/>
                <a:gd name="connsiteY75" fmla="*/ 0 h 236727"/>
                <a:gd name="connsiteX76" fmla="*/ 153353 w 1226819"/>
                <a:gd name="connsiteY76" fmla="*/ 0 h 236727"/>
                <a:gd name="connsiteX77" fmla="*/ 113348 w 1226819"/>
                <a:gd name="connsiteY77" fmla="*/ 0 h 236727"/>
                <a:gd name="connsiteX78" fmla="*/ 74295 w 1226819"/>
                <a:gd name="connsiteY78" fmla="*/ 0 h 236727"/>
                <a:gd name="connsiteX79" fmla="*/ 40958 w 1226819"/>
                <a:gd name="connsiteY79" fmla="*/ 0 h 236727"/>
                <a:gd name="connsiteX80" fmla="*/ 17145 w 1226819"/>
                <a:gd name="connsiteY80" fmla="*/ 0 h 236727"/>
                <a:gd name="connsiteX81" fmla="*/ 4763 w 1226819"/>
                <a:gd name="connsiteY81" fmla="*/ 0 h 236727"/>
                <a:gd name="connsiteX82" fmla="*/ 953 w 1226819"/>
                <a:gd name="connsiteY82" fmla="*/ 0 h 236727"/>
                <a:gd name="connsiteX83" fmla="*/ 0 w 1226819"/>
                <a:gd name="connsiteY83" fmla="*/ 0 h 236727"/>
                <a:gd name="connsiteX84" fmla="*/ 0 w 1226819"/>
                <a:gd name="connsiteY84" fmla="*/ 236727 h 2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6727">
                  <a:moveTo>
                    <a:pt x="0" y="236727"/>
                  </a:moveTo>
                  <a:lnTo>
                    <a:pt x="1905" y="236727"/>
                  </a:lnTo>
                  <a:lnTo>
                    <a:pt x="9525" y="236727"/>
                  </a:lnTo>
                  <a:lnTo>
                    <a:pt x="27623" y="236727"/>
                  </a:lnTo>
                  <a:lnTo>
                    <a:pt x="56198" y="236727"/>
                  </a:lnTo>
                  <a:lnTo>
                    <a:pt x="93345" y="236727"/>
                  </a:lnTo>
                  <a:lnTo>
                    <a:pt x="132398" y="236727"/>
                  </a:lnTo>
                  <a:lnTo>
                    <a:pt x="172403" y="236727"/>
                  </a:lnTo>
                  <a:lnTo>
                    <a:pt x="209550" y="236727"/>
                  </a:lnTo>
                  <a:lnTo>
                    <a:pt x="244793" y="236727"/>
                  </a:lnTo>
                  <a:lnTo>
                    <a:pt x="277178" y="236727"/>
                  </a:lnTo>
                  <a:lnTo>
                    <a:pt x="308610" y="236727"/>
                  </a:lnTo>
                  <a:lnTo>
                    <a:pt x="340995" y="236727"/>
                  </a:lnTo>
                  <a:lnTo>
                    <a:pt x="358140" y="236727"/>
                  </a:lnTo>
                  <a:lnTo>
                    <a:pt x="386715" y="236727"/>
                  </a:lnTo>
                  <a:lnTo>
                    <a:pt x="417195" y="236727"/>
                  </a:lnTo>
                  <a:lnTo>
                    <a:pt x="449580" y="236727"/>
                  </a:lnTo>
                  <a:lnTo>
                    <a:pt x="483870" y="236727"/>
                  </a:lnTo>
                  <a:lnTo>
                    <a:pt x="520065" y="236727"/>
                  </a:lnTo>
                  <a:lnTo>
                    <a:pt x="557213" y="236727"/>
                  </a:lnTo>
                  <a:lnTo>
                    <a:pt x="595313" y="236727"/>
                  </a:lnTo>
                  <a:lnTo>
                    <a:pt x="634365" y="236727"/>
                  </a:lnTo>
                  <a:lnTo>
                    <a:pt x="672465" y="236727"/>
                  </a:lnTo>
                  <a:lnTo>
                    <a:pt x="709613" y="236727"/>
                  </a:lnTo>
                  <a:lnTo>
                    <a:pt x="744855" y="236727"/>
                  </a:lnTo>
                  <a:lnTo>
                    <a:pt x="779145" y="236727"/>
                  </a:lnTo>
                  <a:lnTo>
                    <a:pt x="811530" y="236727"/>
                  </a:lnTo>
                  <a:lnTo>
                    <a:pt x="842010" y="236727"/>
                  </a:lnTo>
                  <a:lnTo>
                    <a:pt x="869633" y="236727"/>
                  </a:lnTo>
                  <a:lnTo>
                    <a:pt x="902018" y="236727"/>
                  </a:lnTo>
                  <a:lnTo>
                    <a:pt x="934403" y="236727"/>
                  </a:lnTo>
                  <a:lnTo>
                    <a:pt x="966788" y="236727"/>
                  </a:lnTo>
                  <a:lnTo>
                    <a:pt x="1000125" y="236727"/>
                  </a:lnTo>
                  <a:lnTo>
                    <a:pt x="1036320" y="236727"/>
                  </a:lnTo>
                  <a:lnTo>
                    <a:pt x="1074420" y="236727"/>
                  </a:lnTo>
                  <a:lnTo>
                    <a:pt x="1114425" y="236727"/>
                  </a:lnTo>
                  <a:lnTo>
                    <a:pt x="1153478" y="236727"/>
                  </a:lnTo>
                  <a:lnTo>
                    <a:pt x="1186815" y="236727"/>
                  </a:lnTo>
                  <a:lnTo>
                    <a:pt x="1210628" y="236727"/>
                  </a:lnTo>
                  <a:lnTo>
                    <a:pt x="1223010" y="236727"/>
                  </a:lnTo>
                  <a:lnTo>
                    <a:pt x="1226820" y="236727"/>
                  </a:lnTo>
                  <a:lnTo>
                    <a:pt x="1226820" y="236727"/>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6727"/>
                  </a:lnTo>
                  <a:close/>
                </a:path>
              </a:pathLst>
            </a:custGeom>
            <a:solidFill>
              <a:srgbClr val="BBBDBF">
                <a:alpha val="60000"/>
              </a:srgbClr>
            </a:solidFill>
            <a:ln w="9525" cap="flat">
              <a:noFill/>
              <a:prstDash val="solid"/>
              <a:miter/>
            </a:ln>
          </p:spPr>
          <p:txBody>
            <a:bodyPr rtlCol="0" anchor="ctr"/>
            <a:lstStyle/>
            <a:p>
              <a:endParaRPr lang="en-US" sz="1050"/>
            </a:p>
          </p:txBody>
        </p:sp>
        <p:sp>
          <p:nvSpPr>
            <p:cNvPr id="206" name="Freeform 258">
              <a:extLst>
                <a:ext uri="{FF2B5EF4-FFF2-40B4-BE49-F238E27FC236}">
                  <a16:creationId xmlns:a16="http://schemas.microsoft.com/office/drawing/2014/main" id="{850F77CB-C727-EE28-98B1-D5DA7A0A8FD2}"/>
                </a:ext>
              </a:extLst>
            </p:cNvPr>
            <p:cNvSpPr/>
            <p:nvPr/>
          </p:nvSpPr>
          <p:spPr>
            <a:xfrm>
              <a:off x="3987133" y="5540218"/>
              <a:ext cx="1226819" cy="236727"/>
            </a:xfrm>
            <a:custGeom>
              <a:avLst/>
              <a:gdLst>
                <a:gd name="connsiteX0" fmla="*/ 0 w 1226819"/>
                <a:gd name="connsiteY0" fmla="*/ 236727 h 236727"/>
                <a:gd name="connsiteX1" fmla="*/ 1905 w 1226819"/>
                <a:gd name="connsiteY1" fmla="*/ 236727 h 236727"/>
                <a:gd name="connsiteX2" fmla="*/ 9525 w 1226819"/>
                <a:gd name="connsiteY2" fmla="*/ 236727 h 236727"/>
                <a:gd name="connsiteX3" fmla="*/ 27623 w 1226819"/>
                <a:gd name="connsiteY3" fmla="*/ 236727 h 236727"/>
                <a:gd name="connsiteX4" fmla="*/ 56198 w 1226819"/>
                <a:gd name="connsiteY4" fmla="*/ 236727 h 236727"/>
                <a:gd name="connsiteX5" fmla="*/ 93345 w 1226819"/>
                <a:gd name="connsiteY5" fmla="*/ 236727 h 236727"/>
                <a:gd name="connsiteX6" fmla="*/ 132398 w 1226819"/>
                <a:gd name="connsiteY6" fmla="*/ 236727 h 236727"/>
                <a:gd name="connsiteX7" fmla="*/ 172403 w 1226819"/>
                <a:gd name="connsiteY7" fmla="*/ 236727 h 236727"/>
                <a:gd name="connsiteX8" fmla="*/ 209550 w 1226819"/>
                <a:gd name="connsiteY8" fmla="*/ 236727 h 236727"/>
                <a:gd name="connsiteX9" fmla="*/ 244793 w 1226819"/>
                <a:gd name="connsiteY9" fmla="*/ 236727 h 236727"/>
                <a:gd name="connsiteX10" fmla="*/ 277178 w 1226819"/>
                <a:gd name="connsiteY10" fmla="*/ 236727 h 236727"/>
                <a:gd name="connsiteX11" fmla="*/ 308610 w 1226819"/>
                <a:gd name="connsiteY11" fmla="*/ 236727 h 236727"/>
                <a:gd name="connsiteX12" fmla="*/ 340995 w 1226819"/>
                <a:gd name="connsiteY12" fmla="*/ 236727 h 236727"/>
                <a:gd name="connsiteX13" fmla="*/ 358140 w 1226819"/>
                <a:gd name="connsiteY13" fmla="*/ 236727 h 236727"/>
                <a:gd name="connsiteX14" fmla="*/ 386715 w 1226819"/>
                <a:gd name="connsiteY14" fmla="*/ 236727 h 236727"/>
                <a:gd name="connsiteX15" fmla="*/ 417195 w 1226819"/>
                <a:gd name="connsiteY15" fmla="*/ 236727 h 236727"/>
                <a:gd name="connsiteX16" fmla="*/ 449580 w 1226819"/>
                <a:gd name="connsiteY16" fmla="*/ 236727 h 236727"/>
                <a:gd name="connsiteX17" fmla="*/ 483870 w 1226819"/>
                <a:gd name="connsiteY17" fmla="*/ 236727 h 236727"/>
                <a:gd name="connsiteX18" fmla="*/ 520065 w 1226819"/>
                <a:gd name="connsiteY18" fmla="*/ 236727 h 236727"/>
                <a:gd name="connsiteX19" fmla="*/ 557213 w 1226819"/>
                <a:gd name="connsiteY19" fmla="*/ 236727 h 236727"/>
                <a:gd name="connsiteX20" fmla="*/ 595313 w 1226819"/>
                <a:gd name="connsiteY20" fmla="*/ 236727 h 236727"/>
                <a:gd name="connsiteX21" fmla="*/ 634365 w 1226819"/>
                <a:gd name="connsiteY21" fmla="*/ 236727 h 236727"/>
                <a:gd name="connsiteX22" fmla="*/ 672465 w 1226819"/>
                <a:gd name="connsiteY22" fmla="*/ 236727 h 236727"/>
                <a:gd name="connsiteX23" fmla="*/ 709613 w 1226819"/>
                <a:gd name="connsiteY23" fmla="*/ 236727 h 236727"/>
                <a:gd name="connsiteX24" fmla="*/ 744855 w 1226819"/>
                <a:gd name="connsiteY24" fmla="*/ 236727 h 236727"/>
                <a:gd name="connsiteX25" fmla="*/ 779145 w 1226819"/>
                <a:gd name="connsiteY25" fmla="*/ 236727 h 236727"/>
                <a:gd name="connsiteX26" fmla="*/ 811530 w 1226819"/>
                <a:gd name="connsiteY26" fmla="*/ 236727 h 236727"/>
                <a:gd name="connsiteX27" fmla="*/ 842010 w 1226819"/>
                <a:gd name="connsiteY27" fmla="*/ 236727 h 236727"/>
                <a:gd name="connsiteX28" fmla="*/ 869633 w 1226819"/>
                <a:gd name="connsiteY28" fmla="*/ 236727 h 236727"/>
                <a:gd name="connsiteX29" fmla="*/ 902018 w 1226819"/>
                <a:gd name="connsiteY29" fmla="*/ 236727 h 236727"/>
                <a:gd name="connsiteX30" fmla="*/ 934403 w 1226819"/>
                <a:gd name="connsiteY30" fmla="*/ 236727 h 236727"/>
                <a:gd name="connsiteX31" fmla="*/ 966788 w 1226819"/>
                <a:gd name="connsiteY31" fmla="*/ 236727 h 236727"/>
                <a:gd name="connsiteX32" fmla="*/ 1000125 w 1226819"/>
                <a:gd name="connsiteY32" fmla="*/ 236727 h 236727"/>
                <a:gd name="connsiteX33" fmla="*/ 1036320 w 1226819"/>
                <a:gd name="connsiteY33" fmla="*/ 236727 h 236727"/>
                <a:gd name="connsiteX34" fmla="*/ 1074420 w 1226819"/>
                <a:gd name="connsiteY34" fmla="*/ 236727 h 236727"/>
                <a:gd name="connsiteX35" fmla="*/ 1114425 w 1226819"/>
                <a:gd name="connsiteY35" fmla="*/ 236727 h 236727"/>
                <a:gd name="connsiteX36" fmla="*/ 1153478 w 1226819"/>
                <a:gd name="connsiteY36" fmla="*/ 236727 h 236727"/>
                <a:gd name="connsiteX37" fmla="*/ 1186815 w 1226819"/>
                <a:gd name="connsiteY37" fmla="*/ 236727 h 236727"/>
                <a:gd name="connsiteX38" fmla="*/ 1210628 w 1226819"/>
                <a:gd name="connsiteY38" fmla="*/ 236727 h 236727"/>
                <a:gd name="connsiteX39" fmla="*/ 1223010 w 1226819"/>
                <a:gd name="connsiteY39" fmla="*/ 236727 h 236727"/>
                <a:gd name="connsiteX40" fmla="*/ 1226820 w 1226819"/>
                <a:gd name="connsiteY40" fmla="*/ 236727 h 236727"/>
                <a:gd name="connsiteX41" fmla="*/ 1226820 w 1226819"/>
                <a:gd name="connsiteY41" fmla="*/ 236727 h 236727"/>
                <a:gd name="connsiteX42" fmla="*/ 1226820 w 1226819"/>
                <a:gd name="connsiteY42" fmla="*/ 0 h 236727"/>
                <a:gd name="connsiteX43" fmla="*/ 1225868 w 1226819"/>
                <a:gd name="connsiteY43" fmla="*/ 0 h 236727"/>
                <a:gd name="connsiteX44" fmla="*/ 1218248 w 1226819"/>
                <a:gd name="connsiteY44" fmla="*/ 0 h 236727"/>
                <a:gd name="connsiteX45" fmla="*/ 1200150 w 1226819"/>
                <a:gd name="connsiteY45" fmla="*/ 0 h 236727"/>
                <a:gd name="connsiteX46" fmla="*/ 1170623 w 1226819"/>
                <a:gd name="connsiteY46" fmla="*/ 0 h 236727"/>
                <a:gd name="connsiteX47" fmla="*/ 1134428 w 1226819"/>
                <a:gd name="connsiteY47" fmla="*/ 0 h 236727"/>
                <a:gd name="connsiteX48" fmla="*/ 1095375 w 1226819"/>
                <a:gd name="connsiteY48" fmla="*/ 0 h 236727"/>
                <a:gd name="connsiteX49" fmla="*/ 1055370 w 1226819"/>
                <a:gd name="connsiteY49" fmla="*/ 0 h 236727"/>
                <a:gd name="connsiteX50" fmla="*/ 1018223 w 1226819"/>
                <a:gd name="connsiteY50" fmla="*/ 0 h 236727"/>
                <a:gd name="connsiteX51" fmla="*/ 982980 w 1226819"/>
                <a:gd name="connsiteY51" fmla="*/ 0 h 236727"/>
                <a:gd name="connsiteX52" fmla="*/ 950595 w 1226819"/>
                <a:gd name="connsiteY52" fmla="*/ 0 h 236727"/>
                <a:gd name="connsiteX53" fmla="*/ 918210 w 1226819"/>
                <a:gd name="connsiteY53" fmla="*/ 0 h 236727"/>
                <a:gd name="connsiteX54" fmla="*/ 886778 w 1226819"/>
                <a:gd name="connsiteY54" fmla="*/ 0 h 236727"/>
                <a:gd name="connsiteX55" fmla="*/ 869633 w 1226819"/>
                <a:gd name="connsiteY55" fmla="*/ 0 h 236727"/>
                <a:gd name="connsiteX56" fmla="*/ 840105 w 1226819"/>
                <a:gd name="connsiteY56" fmla="*/ 0 h 236727"/>
                <a:gd name="connsiteX57" fmla="*/ 809625 w 1226819"/>
                <a:gd name="connsiteY57" fmla="*/ 0 h 236727"/>
                <a:gd name="connsiteX58" fmla="*/ 777240 w 1226819"/>
                <a:gd name="connsiteY58" fmla="*/ 0 h 236727"/>
                <a:gd name="connsiteX59" fmla="*/ 743903 w 1226819"/>
                <a:gd name="connsiteY59" fmla="*/ 0 h 236727"/>
                <a:gd name="connsiteX60" fmla="*/ 707708 w 1226819"/>
                <a:gd name="connsiteY60" fmla="*/ 0 h 236727"/>
                <a:gd name="connsiteX61" fmla="*/ 670560 w 1226819"/>
                <a:gd name="connsiteY61" fmla="*/ 0 h 236727"/>
                <a:gd name="connsiteX62" fmla="*/ 632460 w 1226819"/>
                <a:gd name="connsiteY62" fmla="*/ 0 h 236727"/>
                <a:gd name="connsiteX63" fmla="*/ 593408 w 1226819"/>
                <a:gd name="connsiteY63" fmla="*/ 0 h 236727"/>
                <a:gd name="connsiteX64" fmla="*/ 555308 w 1226819"/>
                <a:gd name="connsiteY64" fmla="*/ 0 h 236727"/>
                <a:gd name="connsiteX65" fmla="*/ 518160 w 1226819"/>
                <a:gd name="connsiteY65" fmla="*/ 0 h 236727"/>
                <a:gd name="connsiteX66" fmla="*/ 482918 w 1226819"/>
                <a:gd name="connsiteY66" fmla="*/ 0 h 236727"/>
                <a:gd name="connsiteX67" fmla="*/ 448628 w 1226819"/>
                <a:gd name="connsiteY67" fmla="*/ 0 h 236727"/>
                <a:gd name="connsiteX68" fmla="*/ 416243 w 1226819"/>
                <a:gd name="connsiteY68" fmla="*/ 0 h 236727"/>
                <a:gd name="connsiteX69" fmla="*/ 385763 w 1226819"/>
                <a:gd name="connsiteY69" fmla="*/ 0 h 236727"/>
                <a:gd name="connsiteX70" fmla="*/ 358140 w 1226819"/>
                <a:gd name="connsiteY70" fmla="*/ 0 h 236727"/>
                <a:gd name="connsiteX71" fmla="*/ 325755 w 1226819"/>
                <a:gd name="connsiteY71" fmla="*/ 0 h 236727"/>
                <a:gd name="connsiteX72" fmla="*/ 293370 w 1226819"/>
                <a:gd name="connsiteY72" fmla="*/ 0 h 236727"/>
                <a:gd name="connsiteX73" fmla="*/ 260985 w 1226819"/>
                <a:gd name="connsiteY73" fmla="*/ 0 h 236727"/>
                <a:gd name="connsiteX74" fmla="*/ 227648 w 1226819"/>
                <a:gd name="connsiteY74" fmla="*/ 0 h 236727"/>
                <a:gd name="connsiteX75" fmla="*/ 191453 w 1226819"/>
                <a:gd name="connsiteY75" fmla="*/ 0 h 236727"/>
                <a:gd name="connsiteX76" fmla="*/ 153353 w 1226819"/>
                <a:gd name="connsiteY76" fmla="*/ 0 h 236727"/>
                <a:gd name="connsiteX77" fmla="*/ 113348 w 1226819"/>
                <a:gd name="connsiteY77" fmla="*/ 0 h 236727"/>
                <a:gd name="connsiteX78" fmla="*/ 74295 w 1226819"/>
                <a:gd name="connsiteY78" fmla="*/ 0 h 236727"/>
                <a:gd name="connsiteX79" fmla="*/ 40958 w 1226819"/>
                <a:gd name="connsiteY79" fmla="*/ 0 h 236727"/>
                <a:gd name="connsiteX80" fmla="*/ 17145 w 1226819"/>
                <a:gd name="connsiteY80" fmla="*/ 0 h 236727"/>
                <a:gd name="connsiteX81" fmla="*/ 4763 w 1226819"/>
                <a:gd name="connsiteY81" fmla="*/ 0 h 236727"/>
                <a:gd name="connsiteX82" fmla="*/ 953 w 1226819"/>
                <a:gd name="connsiteY82" fmla="*/ 0 h 236727"/>
                <a:gd name="connsiteX83" fmla="*/ 0 w 1226819"/>
                <a:gd name="connsiteY83" fmla="*/ 0 h 236727"/>
                <a:gd name="connsiteX84" fmla="*/ 0 w 1226819"/>
                <a:gd name="connsiteY84" fmla="*/ 236727 h 2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6727">
                  <a:moveTo>
                    <a:pt x="0" y="236727"/>
                  </a:moveTo>
                  <a:lnTo>
                    <a:pt x="1905" y="236727"/>
                  </a:lnTo>
                  <a:lnTo>
                    <a:pt x="9525" y="236727"/>
                  </a:lnTo>
                  <a:lnTo>
                    <a:pt x="27623" y="236727"/>
                  </a:lnTo>
                  <a:lnTo>
                    <a:pt x="56198" y="236727"/>
                  </a:lnTo>
                  <a:lnTo>
                    <a:pt x="93345" y="236727"/>
                  </a:lnTo>
                  <a:lnTo>
                    <a:pt x="132398" y="236727"/>
                  </a:lnTo>
                  <a:lnTo>
                    <a:pt x="172403" y="236727"/>
                  </a:lnTo>
                  <a:lnTo>
                    <a:pt x="209550" y="236727"/>
                  </a:lnTo>
                  <a:lnTo>
                    <a:pt x="244793" y="236727"/>
                  </a:lnTo>
                  <a:lnTo>
                    <a:pt x="277178" y="236727"/>
                  </a:lnTo>
                  <a:lnTo>
                    <a:pt x="308610" y="236727"/>
                  </a:lnTo>
                  <a:lnTo>
                    <a:pt x="340995" y="236727"/>
                  </a:lnTo>
                  <a:lnTo>
                    <a:pt x="358140" y="236727"/>
                  </a:lnTo>
                  <a:lnTo>
                    <a:pt x="386715" y="236727"/>
                  </a:lnTo>
                  <a:lnTo>
                    <a:pt x="417195" y="236727"/>
                  </a:lnTo>
                  <a:lnTo>
                    <a:pt x="449580" y="236727"/>
                  </a:lnTo>
                  <a:lnTo>
                    <a:pt x="483870" y="236727"/>
                  </a:lnTo>
                  <a:lnTo>
                    <a:pt x="520065" y="236727"/>
                  </a:lnTo>
                  <a:lnTo>
                    <a:pt x="557213" y="236727"/>
                  </a:lnTo>
                  <a:lnTo>
                    <a:pt x="595313" y="236727"/>
                  </a:lnTo>
                  <a:lnTo>
                    <a:pt x="634365" y="236727"/>
                  </a:lnTo>
                  <a:lnTo>
                    <a:pt x="672465" y="236727"/>
                  </a:lnTo>
                  <a:lnTo>
                    <a:pt x="709613" y="236727"/>
                  </a:lnTo>
                  <a:lnTo>
                    <a:pt x="744855" y="236727"/>
                  </a:lnTo>
                  <a:lnTo>
                    <a:pt x="779145" y="236727"/>
                  </a:lnTo>
                  <a:lnTo>
                    <a:pt x="811530" y="236727"/>
                  </a:lnTo>
                  <a:lnTo>
                    <a:pt x="842010" y="236727"/>
                  </a:lnTo>
                  <a:lnTo>
                    <a:pt x="869633" y="236727"/>
                  </a:lnTo>
                  <a:lnTo>
                    <a:pt x="902018" y="236727"/>
                  </a:lnTo>
                  <a:lnTo>
                    <a:pt x="934403" y="236727"/>
                  </a:lnTo>
                  <a:lnTo>
                    <a:pt x="966788" y="236727"/>
                  </a:lnTo>
                  <a:lnTo>
                    <a:pt x="1000125" y="236727"/>
                  </a:lnTo>
                  <a:lnTo>
                    <a:pt x="1036320" y="236727"/>
                  </a:lnTo>
                  <a:lnTo>
                    <a:pt x="1074420" y="236727"/>
                  </a:lnTo>
                  <a:lnTo>
                    <a:pt x="1114425" y="236727"/>
                  </a:lnTo>
                  <a:lnTo>
                    <a:pt x="1153478" y="236727"/>
                  </a:lnTo>
                  <a:lnTo>
                    <a:pt x="1186815" y="236727"/>
                  </a:lnTo>
                  <a:lnTo>
                    <a:pt x="1210628" y="236727"/>
                  </a:lnTo>
                  <a:lnTo>
                    <a:pt x="1223010" y="236727"/>
                  </a:lnTo>
                  <a:lnTo>
                    <a:pt x="1226820" y="236727"/>
                  </a:lnTo>
                  <a:lnTo>
                    <a:pt x="1226820" y="236727"/>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6727"/>
                  </a:lnTo>
                  <a:close/>
                </a:path>
              </a:pathLst>
            </a:custGeom>
            <a:noFill/>
            <a:ln w="9525" cap="flat">
              <a:solidFill>
                <a:srgbClr val="BBBDBF"/>
              </a:solidFill>
              <a:prstDash val="solid"/>
              <a:miter/>
            </a:ln>
          </p:spPr>
          <p:txBody>
            <a:bodyPr rtlCol="0" anchor="ctr"/>
            <a:lstStyle/>
            <a:p>
              <a:endParaRPr lang="en-US" sz="1050"/>
            </a:p>
          </p:txBody>
        </p:sp>
        <p:sp>
          <p:nvSpPr>
            <p:cNvPr id="207" name="Freeform 259">
              <a:extLst>
                <a:ext uri="{FF2B5EF4-FFF2-40B4-BE49-F238E27FC236}">
                  <a16:creationId xmlns:a16="http://schemas.microsoft.com/office/drawing/2014/main" id="{3B71228F-C47D-1189-E3DD-F780D662874B}"/>
                </a:ext>
              </a:extLst>
            </p:cNvPr>
            <p:cNvSpPr/>
            <p:nvPr/>
          </p:nvSpPr>
          <p:spPr>
            <a:xfrm>
              <a:off x="3987133" y="5776945"/>
              <a:ext cx="1226819" cy="237678"/>
            </a:xfrm>
            <a:custGeom>
              <a:avLst/>
              <a:gdLst>
                <a:gd name="connsiteX0" fmla="*/ 0 w 1226819"/>
                <a:gd name="connsiteY0" fmla="*/ 237678 h 237678"/>
                <a:gd name="connsiteX1" fmla="*/ 1905 w 1226819"/>
                <a:gd name="connsiteY1" fmla="*/ 237678 h 237678"/>
                <a:gd name="connsiteX2" fmla="*/ 9525 w 1226819"/>
                <a:gd name="connsiteY2" fmla="*/ 237678 h 237678"/>
                <a:gd name="connsiteX3" fmla="*/ 27623 w 1226819"/>
                <a:gd name="connsiteY3" fmla="*/ 237678 h 237678"/>
                <a:gd name="connsiteX4" fmla="*/ 56198 w 1226819"/>
                <a:gd name="connsiteY4" fmla="*/ 237678 h 237678"/>
                <a:gd name="connsiteX5" fmla="*/ 93345 w 1226819"/>
                <a:gd name="connsiteY5" fmla="*/ 237678 h 237678"/>
                <a:gd name="connsiteX6" fmla="*/ 132398 w 1226819"/>
                <a:gd name="connsiteY6" fmla="*/ 237678 h 237678"/>
                <a:gd name="connsiteX7" fmla="*/ 172403 w 1226819"/>
                <a:gd name="connsiteY7" fmla="*/ 237678 h 237678"/>
                <a:gd name="connsiteX8" fmla="*/ 209550 w 1226819"/>
                <a:gd name="connsiteY8" fmla="*/ 237678 h 237678"/>
                <a:gd name="connsiteX9" fmla="*/ 244793 w 1226819"/>
                <a:gd name="connsiteY9" fmla="*/ 237678 h 237678"/>
                <a:gd name="connsiteX10" fmla="*/ 277178 w 1226819"/>
                <a:gd name="connsiteY10" fmla="*/ 237678 h 237678"/>
                <a:gd name="connsiteX11" fmla="*/ 308610 w 1226819"/>
                <a:gd name="connsiteY11" fmla="*/ 237678 h 237678"/>
                <a:gd name="connsiteX12" fmla="*/ 340995 w 1226819"/>
                <a:gd name="connsiteY12" fmla="*/ 237678 h 237678"/>
                <a:gd name="connsiteX13" fmla="*/ 358140 w 1226819"/>
                <a:gd name="connsiteY13" fmla="*/ 237678 h 237678"/>
                <a:gd name="connsiteX14" fmla="*/ 386715 w 1226819"/>
                <a:gd name="connsiteY14" fmla="*/ 237678 h 237678"/>
                <a:gd name="connsiteX15" fmla="*/ 417195 w 1226819"/>
                <a:gd name="connsiteY15" fmla="*/ 237678 h 237678"/>
                <a:gd name="connsiteX16" fmla="*/ 449580 w 1226819"/>
                <a:gd name="connsiteY16" fmla="*/ 237678 h 237678"/>
                <a:gd name="connsiteX17" fmla="*/ 483870 w 1226819"/>
                <a:gd name="connsiteY17" fmla="*/ 237678 h 237678"/>
                <a:gd name="connsiteX18" fmla="*/ 520065 w 1226819"/>
                <a:gd name="connsiteY18" fmla="*/ 237678 h 237678"/>
                <a:gd name="connsiteX19" fmla="*/ 557213 w 1226819"/>
                <a:gd name="connsiteY19" fmla="*/ 237678 h 237678"/>
                <a:gd name="connsiteX20" fmla="*/ 595313 w 1226819"/>
                <a:gd name="connsiteY20" fmla="*/ 237678 h 237678"/>
                <a:gd name="connsiteX21" fmla="*/ 634365 w 1226819"/>
                <a:gd name="connsiteY21" fmla="*/ 237678 h 237678"/>
                <a:gd name="connsiteX22" fmla="*/ 672465 w 1226819"/>
                <a:gd name="connsiteY22" fmla="*/ 237678 h 237678"/>
                <a:gd name="connsiteX23" fmla="*/ 709613 w 1226819"/>
                <a:gd name="connsiteY23" fmla="*/ 237678 h 237678"/>
                <a:gd name="connsiteX24" fmla="*/ 744855 w 1226819"/>
                <a:gd name="connsiteY24" fmla="*/ 237678 h 237678"/>
                <a:gd name="connsiteX25" fmla="*/ 779145 w 1226819"/>
                <a:gd name="connsiteY25" fmla="*/ 237678 h 237678"/>
                <a:gd name="connsiteX26" fmla="*/ 811530 w 1226819"/>
                <a:gd name="connsiteY26" fmla="*/ 237678 h 237678"/>
                <a:gd name="connsiteX27" fmla="*/ 842010 w 1226819"/>
                <a:gd name="connsiteY27" fmla="*/ 237678 h 237678"/>
                <a:gd name="connsiteX28" fmla="*/ 869633 w 1226819"/>
                <a:gd name="connsiteY28" fmla="*/ 237678 h 237678"/>
                <a:gd name="connsiteX29" fmla="*/ 902018 w 1226819"/>
                <a:gd name="connsiteY29" fmla="*/ 237678 h 237678"/>
                <a:gd name="connsiteX30" fmla="*/ 934403 w 1226819"/>
                <a:gd name="connsiteY30" fmla="*/ 237678 h 237678"/>
                <a:gd name="connsiteX31" fmla="*/ 966788 w 1226819"/>
                <a:gd name="connsiteY31" fmla="*/ 237678 h 237678"/>
                <a:gd name="connsiteX32" fmla="*/ 1000125 w 1226819"/>
                <a:gd name="connsiteY32" fmla="*/ 237678 h 237678"/>
                <a:gd name="connsiteX33" fmla="*/ 1036320 w 1226819"/>
                <a:gd name="connsiteY33" fmla="*/ 237678 h 237678"/>
                <a:gd name="connsiteX34" fmla="*/ 1074420 w 1226819"/>
                <a:gd name="connsiteY34" fmla="*/ 237678 h 237678"/>
                <a:gd name="connsiteX35" fmla="*/ 1114425 w 1226819"/>
                <a:gd name="connsiteY35" fmla="*/ 237678 h 237678"/>
                <a:gd name="connsiteX36" fmla="*/ 1153478 w 1226819"/>
                <a:gd name="connsiteY36" fmla="*/ 237678 h 237678"/>
                <a:gd name="connsiteX37" fmla="*/ 1186815 w 1226819"/>
                <a:gd name="connsiteY37" fmla="*/ 237678 h 237678"/>
                <a:gd name="connsiteX38" fmla="*/ 1210628 w 1226819"/>
                <a:gd name="connsiteY38" fmla="*/ 237678 h 237678"/>
                <a:gd name="connsiteX39" fmla="*/ 1223010 w 1226819"/>
                <a:gd name="connsiteY39" fmla="*/ 237678 h 237678"/>
                <a:gd name="connsiteX40" fmla="*/ 1226820 w 1226819"/>
                <a:gd name="connsiteY40" fmla="*/ 237678 h 237678"/>
                <a:gd name="connsiteX41" fmla="*/ 1226820 w 1226819"/>
                <a:gd name="connsiteY41" fmla="*/ 237678 h 237678"/>
                <a:gd name="connsiteX42" fmla="*/ 1226820 w 1226819"/>
                <a:gd name="connsiteY42" fmla="*/ 0 h 237678"/>
                <a:gd name="connsiteX43" fmla="*/ 1225868 w 1226819"/>
                <a:gd name="connsiteY43" fmla="*/ 0 h 237678"/>
                <a:gd name="connsiteX44" fmla="*/ 1218248 w 1226819"/>
                <a:gd name="connsiteY44" fmla="*/ 0 h 237678"/>
                <a:gd name="connsiteX45" fmla="*/ 1200150 w 1226819"/>
                <a:gd name="connsiteY45" fmla="*/ 0 h 237678"/>
                <a:gd name="connsiteX46" fmla="*/ 1170623 w 1226819"/>
                <a:gd name="connsiteY46" fmla="*/ 0 h 237678"/>
                <a:gd name="connsiteX47" fmla="*/ 1134428 w 1226819"/>
                <a:gd name="connsiteY47" fmla="*/ 0 h 237678"/>
                <a:gd name="connsiteX48" fmla="*/ 1095375 w 1226819"/>
                <a:gd name="connsiteY48" fmla="*/ 0 h 237678"/>
                <a:gd name="connsiteX49" fmla="*/ 1055370 w 1226819"/>
                <a:gd name="connsiteY49" fmla="*/ 0 h 237678"/>
                <a:gd name="connsiteX50" fmla="*/ 1018223 w 1226819"/>
                <a:gd name="connsiteY50" fmla="*/ 0 h 237678"/>
                <a:gd name="connsiteX51" fmla="*/ 982980 w 1226819"/>
                <a:gd name="connsiteY51" fmla="*/ 0 h 237678"/>
                <a:gd name="connsiteX52" fmla="*/ 950595 w 1226819"/>
                <a:gd name="connsiteY52" fmla="*/ 0 h 237678"/>
                <a:gd name="connsiteX53" fmla="*/ 918210 w 1226819"/>
                <a:gd name="connsiteY53" fmla="*/ 0 h 237678"/>
                <a:gd name="connsiteX54" fmla="*/ 886778 w 1226819"/>
                <a:gd name="connsiteY54" fmla="*/ 0 h 237678"/>
                <a:gd name="connsiteX55" fmla="*/ 869633 w 1226819"/>
                <a:gd name="connsiteY55" fmla="*/ 0 h 237678"/>
                <a:gd name="connsiteX56" fmla="*/ 840105 w 1226819"/>
                <a:gd name="connsiteY56" fmla="*/ 0 h 237678"/>
                <a:gd name="connsiteX57" fmla="*/ 809625 w 1226819"/>
                <a:gd name="connsiteY57" fmla="*/ 0 h 237678"/>
                <a:gd name="connsiteX58" fmla="*/ 777240 w 1226819"/>
                <a:gd name="connsiteY58" fmla="*/ 0 h 237678"/>
                <a:gd name="connsiteX59" fmla="*/ 743903 w 1226819"/>
                <a:gd name="connsiteY59" fmla="*/ 0 h 237678"/>
                <a:gd name="connsiteX60" fmla="*/ 707708 w 1226819"/>
                <a:gd name="connsiteY60" fmla="*/ 0 h 237678"/>
                <a:gd name="connsiteX61" fmla="*/ 670560 w 1226819"/>
                <a:gd name="connsiteY61" fmla="*/ 0 h 237678"/>
                <a:gd name="connsiteX62" fmla="*/ 632460 w 1226819"/>
                <a:gd name="connsiteY62" fmla="*/ 0 h 237678"/>
                <a:gd name="connsiteX63" fmla="*/ 593408 w 1226819"/>
                <a:gd name="connsiteY63" fmla="*/ 0 h 237678"/>
                <a:gd name="connsiteX64" fmla="*/ 555308 w 1226819"/>
                <a:gd name="connsiteY64" fmla="*/ 0 h 237678"/>
                <a:gd name="connsiteX65" fmla="*/ 518160 w 1226819"/>
                <a:gd name="connsiteY65" fmla="*/ 0 h 237678"/>
                <a:gd name="connsiteX66" fmla="*/ 482918 w 1226819"/>
                <a:gd name="connsiteY66" fmla="*/ 0 h 237678"/>
                <a:gd name="connsiteX67" fmla="*/ 448628 w 1226819"/>
                <a:gd name="connsiteY67" fmla="*/ 0 h 237678"/>
                <a:gd name="connsiteX68" fmla="*/ 416243 w 1226819"/>
                <a:gd name="connsiteY68" fmla="*/ 0 h 237678"/>
                <a:gd name="connsiteX69" fmla="*/ 385763 w 1226819"/>
                <a:gd name="connsiteY69" fmla="*/ 0 h 237678"/>
                <a:gd name="connsiteX70" fmla="*/ 358140 w 1226819"/>
                <a:gd name="connsiteY70" fmla="*/ 0 h 237678"/>
                <a:gd name="connsiteX71" fmla="*/ 325755 w 1226819"/>
                <a:gd name="connsiteY71" fmla="*/ 0 h 237678"/>
                <a:gd name="connsiteX72" fmla="*/ 293370 w 1226819"/>
                <a:gd name="connsiteY72" fmla="*/ 0 h 237678"/>
                <a:gd name="connsiteX73" fmla="*/ 260985 w 1226819"/>
                <a:gd name="connsiteY73" fmla="*/ 0 h 237678"/>
                <a:gd name="connsiteX74" fmla="*/ 227648 w 1226819"/>
                <a:gd name="connsiteY74" fmla="*/ 0 h 237678"/>
                <a:gd name="connsiteX75" fmla="*/ 191453 w 1226819"/>
                <a:gd name="connsiteY75" fmla="*/ 0 h 237678"/>
                <a:gd name="connsiteX76" fmla="*/ 153353 w 1226819"/>
                <a:gd name="connsiteY76" fmla="*/ 0 h 237678"/>
                <a:gd name="connsiteX77" fmla="*/ 113348 w 1226819"/>
                <a:gd name="connsiteY77" fmla="*/ 0 h 237678"/>
                <a:gd name="connsiteX78" fmla="*/ 74295 w 1226819"/>
                <a:gd name="connsiteY78" fmla="*/ 0 h 237678"/>
                <a:gd name="connsiteX79" fmla="*/ 40958 w 1226819"/>
                <a:gd name="connsiteY79" fmla="*/ 0 h 237678"/>
                <a:gd name="connsiteX80" fmla="*/ 17145 w 1226819"/>
                <a:gd name="connsiteY80" fmla="*/ 0 h 237678"/>
                <a:gd name="connsiteX81" fmla="*/ 4763 w 1226819"/>
                <a:gd name="connsiteY81" fmla="*/ 0 h 237678"/>
                <a:gd name="connsiteX82" fmla="*/ 953 w 1226819"/>
                <a:gd name="connsiteY82" fmla="*/ 0 h 237678"/>
                <a:gd name="connsiteX83" fmla="*/ 0 w 1226819"/>
                <a:gd name="connsiteY83" fmla="*/ 0 h 237678"/>
                <a:gd name="connsiteX84" fmla="*/ 0 w 1226819"/>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7678">
                  <a:moveTo>
                    <a:pt x="0" y="237678"/>
                  </a:moveTo>
                  <a:lnTo>
                    <a:pt x="1905" y="237678"/>
                  </a:lnTo>
                  <a:lnTo>
                    <a:pt x="9525" y="237678"/>
                  </a:lnTo>
                  <a:lnTo>
                    <a:pt x="27623" y="237678"/>
                  </a:lnTo>
                  <a:lnTo>
                    <a:pt x="56198" y="237678"/>
                  </a:lnTo>
                  <a:lnTo>
                    <a:pt x="93345" y="237678"/>
                  </a:lnTo>
                  <a:lnTo>
                    <a:pt x="132398" y="237678"/>
                  </a:lnTo>
                  <a:lnTo>
                    <a:pt x="172403" y="237678"/>
                  </a:lnTo>
                  <a:lnTo>
                    <a:pt x="209550" y="237678"/>
                  </a:lnTo>
                  <a:lnTo>
                    <a:pt x="244793" y="237678"/>
                  </a:lnTo>
                  <a:lnTo>
                    <a:pt x="277178" y="237678"/>
                  </a:lnTo>
                  <a:lnTo>
                    <a:pt x="308610" y="237678"/>
                  </a:lnTo>
                  <a:lnTo>
                    <a:pt x="340995" y="237678"/>
                  </a:lnTo>
                  <a:lnTo>
                    <a:pt x="358140" y="237678"/>
                  </a:lnTo>
                  <a:lnTo>
                    <a:pt x="386715" y="237678"/>
                  </a:lnTo>
                  <a:lnTo>
                    <a:pt x="417195" y="237678"/>
                  </a:lnTo>
                  <a:lnTo>
                    <a:pt x="449580" y="237678"/>
                  </a:lnTo>
                  <a:lnTo>
                    <a:pt x="483870" y="237678"/>
                  </a:lnTo>
                  <a:lnTo>
                    <a:pt x="520065" y="237678"/>
                  </a:lnTo>
                  <a:lnTo>
                    <a:pt x="557213" y="237678"/>
                  </a:lnTo>
                  <a:lnTo>
                    <a:pt x="595313" y="237678"/>
                  </a:lnTo>
                  <a:lnTo>
                    <a:pt x="634365" y="237678"/>
                  </a:lnTo>
                  <a:lnTo>
                    <a:pt x="672465" y="237678"/>
                  </a:lnTo>
                  <a:lnTo>
                    <a:pt x="709613" y="237678"/>
                  </a:lnTo>
                  <a:lnTo>
                    <a:pt x="744855" y="237678"/>
                  </a:lnTo>
                  <a:lnTo>
                    <a:pt x="779145" y="237678"/>
                  </a:lnTo>
                  <a:lnTo>
                    <a:pt x="811530" y="237678"/>
                  </a:lnTo>
                  <a:lnTo>
                    <a:pt x="842010" y="237678"/>
                  </a:lnTo>
                  <a:lnTo>
                    <a:pt x="869633" y="237678"/>
                  </a:lnTo>
                  <a:lnTo>
                    <a:pt x="902018" y="237678"/>
                  </a:lnTo>
                  <a:lnTo>
                    <a:pt x="934403" y="237678"/>
                  </a:lnTo>
                  <a:lnTo>
                    <a:pt x="966788" y="237678"/>
                  </a:lnTo>
                  <a:lnTo>
                    <a:pt x="1000125" y="237678"/>
                  </a:lnTo>
                  <a:lnTo>
                    <a:pt x="1036320" y="237678"/>
                  </a:lnTo>
                  <a:lnTo>
                    <a:pt x="1074420" y="237678"/>
                  </a:lnTo>
                  <a:lnTo>
                    <a:pt x="1114425" y="237678"/>
                  </a:lnTo>
                  <a:lnTo>
                    <a:pt x="1153478" y="237678"/>
                  </a:lnTo>
                  <a:lnTo>
                    <a:pt x="1186815" y="237678"/>
                  </a:lnTo>
                  <a:lnTo>
                    <a:pt x="1210628" y="237678"/>
                  </a:lnTo>
                  <a:lnTo>
                    <a:pt x="1223010" y="237678"/>
                  </a:lnTo>
                  <a:lnTo>
                    <a:pt x="1226820" y="237678"/>
                  </a:lnTo>
                  <a:lnTo>
                    <a:pt x="1226820" y="23767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7678"/>
                  </a:lnTo>
                  <a:close/>
                </a:path>
              </a:pathLst>
            </a:custGeom>
            <a:solidFill>
              <a:srgbClr val="BBBDBF">
                <a:alpha val="60000"/>
              </a:srgbClr>
            </a:solidFill>
            <a:ln w="9525" cap="flat">
              <a:noFill/>
              <a:prstDash val="solid"/>
              <a:miter/>
            </a:ln>
          </p:spPr>
          <p:txBody>
            <a:bodyPr rtlCol="0" anchor="ctr"/>
            <a:lstStyle/>
            <a:p>
              <a:endParaRPr lang="en-US" sz="1050"/>
            </a:p>
          </p:txBody>
        </p:sp>
        <p:sp>
          <p:nvSpPr>
            <p:cNvPr id="208" name="Freeform 260">
              <a:extLst>
                <a:ext uri="{FF2B5EF4-FFF2-40B4-BE49-F238E27FC236}">
                  <a16:creationId xmlns:a16="http://schemas.microsoft.com/office/drawing/2014/main" id="{76EC6C48-F38F-D1E4-FD16-10CE30F1E1DC}"/>
                </a:ext>
              </a:extLst>
            </p:cNvPr>
            <p:cNvSpPr/>
            <p:nvPr/>
          </p:nvSpPr>
          <p:spPr>
            <a:xfrm>
              <a:off x="3987133" y="5776945"/>
              <a:ext cx="1226819" cy="237678"/>
            </a:xfrm>
            <a:custGeom>
              <a:avLst/>
              <a:gdLst>
                <a:gd name="connsiteX0" fmla="*/ 0 w 1226819"/>
                <a:gd name="connsiteY0" fmla="*/ 237678 h 237678"/>
                <a:gd name="connsiteX1" fmla="*/ 1905 w 1226819"/>
                <a:gd name="connsiteY1" fmla="*/ 237678 h 237678"/>
                <a:gd name="connsiteX2" fmla="*/ 9525 w 1226819"/>
                <a:gd name="connsiteY2" fmla="*/ 237678 h 237678"/>
                <a:gd name="connsiteX3" fmla="*/ 27623 w 1226819"/>
                <a:gd name="connsiteY3" fmla="*/ 237678 h 237678"/>
                <a:gd name="connsiteX4" fmla="*/ 56198 w 1226819"/>
                <a:gd name="connsiteY4" fmla="*/ 237678 h 237678"/>
                <a:gd name="connsiteX5" fmla="*/ 93345 w 1226819"/>
                <a:gd name="connsiteY5" fmla="*/ 237678 h 237678"/>
                <a:gd name="connsiteX6" fmla="*/ 132398 w 1226819"/>
                <a:gd name="connsiteY6" fmla="*/ 237678 h 237678"/>
                <a:gd name="connsiteX7" fmla="*/ 172403 w 1226819"/>
                <a:gd name="connsiteY7" fmla="*/ 237678 h 237678"/>
                <a:gd name="connsiteX8" fmla="*/ 209550 w 1226819"/>
                <a:gd name="connsiteY8" fmla="*/ 237678 h 237678"/>
                <a:gd name="connsiteX9" fmla="*/ 244793 w 1226819"/>
                <a:gd name="connsiteY9" fmla="*/ 237678 h 237678"/>
                <a:gd name="connsiteX10" fmla="*/ 277178 w 1226819"/>
                <a:gd name="connsiteY10" fmla="*/ 237678 h 237678"/>
                <a:gd name="connsiteX11" fmla="*/ 308610 w 1226819"/>
                <a:gd name="connsiteY11" fmla="*/ 237678 h 237678"/>
                <a:gd name="connsiteX12" fmla="*/ 340995 w 1226819"/>
                <a:gd name="connsiteY12" fmla="*/ 237678 h 237678"/>
                <a:gd name="connsiteX13" fmla="*/ 358140 w 1226819"/>
                <a:gd name="connsiteY13" fmla="*/ 237678 h 237678"/>
                <a:gd name="connsiteX14" fmla="*/ 386715 w 1226819"/>
                <a:gd name="connsiteY14" fmla="*/ 237678 h 237678"/>
                <a:gd name="connsiteX15" fmla="*/ 417195 w 1226819"/>
                <a:gd name="connsiteY15" fmla="*/ 237678 h 237678"/>
                <a:gd name="connsiteX16" fmla="*/ 449580 w 1226819"/>
                <a:gd name="connsiteY16" fmla="*/ 237678 h 237678"/>
                <a:gd name="connsiteX17" fmla="*/ 483870 w 1226819"/>
                <a:gd name="connsiteY17" fmla="*/ 237678 h 237678"/>
                <a:gd name="connsiteX18" fmla="*/ 520065 w 1226819"/>
                <a:gd name="connsiteY18" fmla="*/ 237678 h 237678"/>
                <a:gd name="connsiteX19" fmla="*/ 557213 w 1226819"/>
                <a:gd name="connsiteY19" fmla="*/ 237678 h 237678"/>
                <a:gd name="connsiteX20" fmla="*/ 595313 w 1226819"/>
                <a:gd name="connsiteY20" fmla="*/ 237678 h 237678"/>
                <a:gd name="connsiteX21" fmla="*/ 634365 w 1226819"/>
                <a:gd name="connsiteY21" fmla="*/ 237678 h 237678"/>
                <a:gd name="connsiteX22" fmla="*/ 672465 w 1226819"/>
                <a:gd name="connsiteY22" fmla="*/ 237678 h 237678"/>
                <a:gd name="connsiteX23" fmla="*/ 709613 w 1226819"/>
                <a:gd name="connsiteY23" fmla="*/ 237678 h 237678"/>
                <a:gd name="connsiteX24" fmla="*/ 744855 w 1226819"/>
                <a:gd name="connsiteY24" fmla="*/ 237678 h 237678"/>
                <a:gd name="connsiteX25" fmla="*/ 779145 w 1226819"/>
                <a:gd name="connsiteY25" fmla="*/ 237678 h 237678"/>
                <a:gd name="connsiteX26" fmla="*/ 811530 w 1226819"/>
                <a:gd name="connsiteY26" fmla="*/ 237678 h 237678"/>
                <a:gd name="connsiteX27" fmla="*/ 842010 w 1226819"/>
                <a:gd name="connsiteY27" fmla="*/ 237678 h 237678"/>
                <a:gd name="connsiteX28" fmla="*/ 869633 w 1226819"/>
                <a:gd name="connsiteY28" fmla="*/ 237678 h 237678"/>
                <a:gd name="connsiteX29" fmla="*/ 902018 w 1226819"/>
                <a:gd name="connsiteY29" fmla="*/ 237678 h 237678"/>
                <a:gd name="connsiteX30" fmla="*/ 934403 w 1226819"/>
                <a:gd name="connsiteY30" fmla="*/ 237678 h 237678"/>
                <a:gd name="connsiteX31" fmla="*/ 966788 w 1226819"/>
                <a:gd name="connsiteY31" fmla="*/ 237678 h 237678"/>
                <a:gd name="connsiteX32" fmla="*/ 1000125 w 1226819"/>
                <a:gd name="connsiteY32" fmla="*/ 237678 h 237678"/>
                <a:gd name="connsiteX33" fmla="*/ 1036320 w 1226819"/>
                <a:gd name="connsiteY33" fmla="*/ 237678 h 237678"/>
                <a:gd name="connsiteX34" fmla="*/ 1074420 w 1226819"/>
                <a:gd name="connsiteY34" fmla="*/ 237678 h 237678"/>
                <a:gd name="connsiteX35" fmla="*/ 1114425 w 1226819"/>
                <a:gd name="connsiteY35" fmla="*/ 237678 h 237678"/>
                <a:gd name="connsiteX36" fmla="*/ 1153478 w 1226819"/>
                <a:gd name="connsiteY36" fmla="*/ 237678 h 237678"/>
                <a:gd name="connsiteX37" fmla="*/ 1186815 w 1226819"/>
                <a:gd name="connsiteY37" fmla="*/ 237678 h 237678"/>
                <a:gd name="connsiteX38" fmla="*/ 1210628 w 1226819"/>
                <a:gd name="connsiteY38" fmla="*/ 237678 h 237678"/>
                <a:gd name="connsiteX39" fmla="*/ 1223010 w 1226819"/>
                <a:gd name="connsiteY39" fmla="*/ 237678 h 237678"/>
                <a:gd name="connsiteX40" fmla="*/ 1226820 w 1226819"/>
                <a:gd name="connsiteY40" fmla="*/ 237678 h 237678"/>
                <a:gd name="connsiteX41" fmla="*/ 1226820 w 1226819"/>
                <a:gd name="connsiteY41" fmla="*/ 237678 h 237678"/>
                <a:gd name="connsiteX42" fmla="*/ 1226820 w 1226819"/>
                <a:gd name="connsiteY42" fmla="*/ 0 h 237678"/>
                <a:gd name="connsiteX43" fmla="*/ 1225868 w 1226819"/>
                <a:gd name="connsiteY43" fmla="*/ 0 h 237678"/>
                <a:gd name="connsiteX44" fmla="*/ 1218248 w 1226819"/>
                <a:gd name="connsiteY44" fmla="*/ 0 h 237678"/>
                <a:gd name="connsiteX45" fmla="*/ 1200150 w 1226819"/>
                <a:gd name="connsiteY45" fmla="*/ 0 h 237678"/>
                <a:gd name="connsiteX46" fmla="*/ 1170623 w 1226819"/>
                <a:gd name="connsiteY46" fmla="*/ 0 h 237678"/>
                <a:gd name="connsiteX47" fmla="*/ 1134428 w 1226819"/>
                <a:gd name="connsiteY47" fmla="*/ 0 h 237678"/>
                <a:gd name="connsiteX48" fmla="*/ 1095375 w 1226819"/>
                <a:gd name="connsiteY48" fmla="*/ 0 h 237678"/>
                <a:gd name="connsiteX49" fmla="*/ 1055370 w 1226819"/>
                <a:gd name="connsiteY49" fmla="*/ 0 h 237678"/>
                <a:gd name="connsiteX50" fmla="*/ 1018223 w 1226819"/>
                <a:gd name="connsiteY50" fmla="*/ 0 h 237678"/>
                <a:gd name="connsiteX51" fmla="*/ 982980 w 1226819"/>
                <a:gd name="connsiteY51" fmla="*/ 0 h 237678"/>
                <a:gd name="connsiteX52" fmla="*/ 950595 w 1226819"/>
                <a:gd name="connsiteY52" fmla="*/ 0 h 237678"/>
                <a:gd name="connsiteX53" fmla="*/ 918210 w 1226819"/>
                <a:gd name="connsiteY53" fmla="*/ 0 h 237678"/>
                <a:gd name="connsiteX54" fmla="*/ 886778 w 1226819"/>
                <a:gd name="connsiteY54" fmla="*/ 0 h 237678"/>
                <a:gd name="connsiteX55" fmla="*/ 869633 w 1226819"/>
                <a:gd name="connsiteY55" fmla="*/ 0 h 237678"/>
                <a:gd name="connsiteX56" fmla="*/ 840105 w 1226819"/>
                <a:gd name="connsiteY56" fmla="*/ 0 h 237678"/>
                <a:gd name="connsiteX57" fmla="*/ 809625 w 1226819"/>
                <a:gd name="connsiteY57" fmla="*/ 0 h 237678"/>
                <a:gd name="connsiteX58" fmla="*/ 777240 w 1226819"/>
                <a:gd name="connsiteY58" fmla="*/ 0 h 237678"/>
                <a:gd name="connsiteX59" fmla="*/ 743903 w 1226819"/>
                <a:gd name="connsiteY59" fmla="*/ 0 h 237678"/>
                <a:gd name="connsiteX60" fmla="*/ 707708 w 1226819"/>
                <a:gd name="connsiteY60" fmla="*/ 0 h 237678"/>
                <a:gd name="connsiteX61" fmla="*/ 670560 w 1226819"/>
                <a:gd name="connsiteY61" fmla="*/ 0 h 237678"/>
                <a:gd name="connsiteX62" fmla="*/ 632460 w 1226819"/>
                <a:gd name="connsiteY62" fmla="*/ 0 h 237678"/>
                <a:gd name="connsiteX63" fmla="*/ 593408 w 1226819"/>
                <a:gd name="connsiteY63" fmla="*/ 0 h 237678"/>
                <a:gd name="connsiteX64" fmla="*/ 555308 w 1226819"/>
                <a:gd name="connsiteY64" fmla="*/ 0 h 237678"/>
                <a:gd name="connsiteX65" fmla="*/ 518160 w 1226819"/>
                <a:gd name="connsiteY65" fmla="*/ 0 h 237678"/>
                <a:gd name="connsiteX66" fmla="*/ 482918 w 1226819"/>
                <a:gd name="connsiteY66" fmla="*/ 0 h 237678"/>
                <a:gd name="connsiteX67" fmla="*/ 448628 w 1226819"/>
                <a:gd name="connsiteY67" fmla="*/ 0 h 237678"/>
                <a:gd name="connsiteX68" fmla="*/ 416243 w 1226819"/>
                <a:gd name="connsiteY68" fmla="*/ 0 h 237678"/>
                <a:gd name="connsiteX69" fmla="*/ 385763 w 1226819"/>
                <a:gd name="connsiteY69" fmla="*/ 0 h 237678"/>
                <a:gd name="connsiteX70" fmla="*/ 358140 w 1226819"/>
                <a:gd name="connsiteY70" fmla="*/ 0 h 237678"/>
                <a:gd name="connsiteX71" fmla="*/ 325755 w 1226819"/>
                <a:gd name="connsiteY71" fmla="*/ 0 h 237678"/>
                <a:gd name="connsiteX72" fmla="*/ 293370 w 1226819"/>
                <a:gd name="connsiteY72" fmla="*/ 0 h 237678"/>
                <a:gd name="connsiteX73" fmla="*/ 260985 w 1226819"/>
                <a:gd name="connsiteY73" fmla="*/ 0 h 237678"/>
                <a:gd name="connsiteX74" fmla="*/ 227648 w 1226819"/>
                <a:gd name="connsiteY74" fmla="*/ 0 h 237678"/>
                <a:gd name="connsiteX75" fmla="*/ 191453 w 1226819"/>
                <a:gd name="connsiteY75" fmla="*/ 0 h 237678"/>
                <a:gd name="connsiteX76" fmla="*/ 153353 w 1226819"/>
                <a:gd name="connsiteY76" fmla="*/ 0 h 237678"/>
                <a:gd name="connsiteX77" fmla="*/ 113348 w 1226819"/>
                <a:gd name="connsiteY77" fmla="*/ 0 h 237678"/>
                <a:gd name="connsiteX78" fmla="*/ 74295 w 1226819"/>
                <a:gd name="connsiteY78" fmla="*/ 0 h 237678"/>
                <a:gd name="connsiteX79" fmla="*/ 40958 w 1226819"/>
                <a:gd name="connsiteY79" fmla="*/ 0 h 237678"/>
                <a:gd name="connsiteX80" fmla="*/ 17145 w 1226819"/>
                <a:gd name="connsiteY80" fmla="*/ 0 h 237678"/>
                <a:gd name="connsiteX81" fmla="*/ 4763 w 1226819"/>
                <a:gd name="connsiteY81" fmla="*/ 0 h 237678"/>
                <a:gd name="connsiteX82" fmla="*/ 953 w 1226819"/>
                <a:gd name="connsiteY82" fmla="*/ 0 h 237678"/>
                <a:gd name="connsiteX83" fmla="*/ 0 w 1226819"/>
                <a:gd name="connsiteY83" fmla="*/ 0 h 237678"/>
                <a:gd name="connsiteX84" fmla="*/ 0 w 1226819"/>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7678">
                  <a:moveTo>
                    <a:pt x="0" y="237678"/>
                  </a:moveTo>
                  <a:lnTo>
                    <a:pt x="1905" y="237678"/>
                  </a:lnTo>
                  <a:lnTo>
                    <a:pt x="9525" y="237678"/>
                  </a:lnTo>
                  <a:lnTo>
                    <a:pt x="27623" y="237678"/>
                  </a:lnTo>
                  <a:lnTo>
                    <a:pt x="56198" y="237678"/>
                  </a:lnTo>
                  <a:lnTo>
                    <a:pt x="93345" y="237678"/>
                  </a:lnTo>
                  <a:lnTo>
                    <a:pt x="132398" y="237678"/>
                  </a:lnTo>
                  <a:lnTo>
                    <a:pt x="172403" y="237678"/>
                  </a:lnTo>
                  <a:lnTo>
                    <a:pt x="209550" y="237678"/>
                  </a:lnTo>
                  <a:lnTo>
                    <a:pt x="244793" y="237678"/>
                  </a:lnTo>
                  <a:lnTo>
                    <a:pt x="277178" y="237678"/>
                  </a:lnTo>
                  <a:lnTo>
                    <a:pt x="308610" y="237678"/>
                  </a:lnTo>
                  <a:lnTo>
                    <a:pt x="340995" y="237678"/>
                  </a:lnTo>
                  <a:lnTo>
                    <a:pt x="358140" y="237678"/>
                  </a:lnTo>
                  <a:lnTo>
                    <a:pt x="386715" y="237678"/>
                  </a:lnTo>
                  <a:lnTo>
                    <a:pt x="417195" y="237678"/>
                  </a:lnTo>
                  <a:lnTo>
                    <a:pt x="449580" y="237678"/>
                  </a:lnTo>
                  <a:lnTo>
                    <a:pt x="483870" y="237678"/>
                  </a:lnTo>
                  <a:lnTo>
                    <a:pt x="520065" y="237678"/>
                  </a:lnTo>
                  <a:lnTo>
                    <a:pt x="557213" y="237678"/>
                  </a:lnTo>
                  <a:lnTo>
                    <a:pt x="595313" y="237678"/>
                  </a:lnTo>
                  <a:lnTo>
                    <a:pt x="634365" y="237678"/>
                  </a:lnTo>
                  <a:lnTo>
                    <a:pt x="672465" y="237678"/>
                  </a:lnTo>
                  <a:lnTo>
                    <a:pt x="709613" y="237678"/>
                  </a:lnTo>
                  <a:lnTo>
                    <a:pt x="744855" y="237678"/>
                  </a:lnTo>
                  <a:lnTo>
                    <a:pt x="779145" y="237678"/>
                  </a:lnTo>
                  <a:lnTo>
                    <a:pt x="811530" y="237678"/>
                  </a:lnTo>
                  <a:lnTo>
                    <a:pt x="842010" y="237678"/>
                  </a:lnTo>
                  <a:lnTo>
                    <a:pt x="869633" y="237678"/>
                  </a:lnTo>
                  <a:lnTo>
                    <a:pt x="902018" y="237678"/>
                  </a:lnTo>
                  <a:lnTo>
                    <a:pt x="934403" y="237678"/>
                  </a:lnTo>
                  <a:lnTo>
                    <a:pt x="966788" y="237678"/>
                  </a:lnTo>
                  <a:lnTo>
                    <a:pt x="1000125" y="237678"/>
                  </a:lnTo>
                  <a:lnTo>
                    <a:pt x="1036320" y="237678"/>
                  </a:lnTo>
                  <a:lnTo>
                    <a:pt x="1074420" y="237678"/>
                  </a:lnTo>
                  <a:lnTo>
                    <a:pt x="1114425" y="237678"/>
                  </a:lnTo>
                  <a:lnTo>
                    <a:pt x="1153478" y="237678"/>
                  </a:lnTo>
                  <a:lnTo>
                    <a:pt x="1186815" y="237678"/>
                  </a:lnTo>
                  <a:lnTo>
                    <a:pt x="1210628" y="237678"/>
                  </a:lnTo>
                  <a:lnTo>
                    <a:pt x="1223010" y="237678"/>
                  </a:lnTo>
                  <a:lnTo>
                    <a:pt x="1226820" y="237678"/>
                  </a:lnTo>
                  <a:lnTo>
                    <a:pt x="1226820" y="23767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7678"/>
                  </a:lnTo>
                  <a:close/>
                </a:path>
              </a:pathLst>
            </a:custGeom>
            <a:noFill/>
            <a:ln w="9525" cap="flat">
              <a:solidFill>
                <a:srgbClr val="BBBDBF"/>
              </a:solidFill>
              <a:prstDash val="solid"/>
              <a:miter/>
            </a:ln>
          </p:spPr>
          <p:txBody>
            <a:bodyPr rtlCol="0" anchor="ctr"/>
            <a:lstStyle/>
            <a:p>
              <a:endParaRPr lang="en-US" sz="1050"/>
            </a:p>
          </p:txBody>
        </p:sp>
        <p:sp>
          <p:nvSpPr>
            <p:cNvPr id="209" name="Freeform 261">
              <a:extLst>
                <a:ext uri="{FF2B5EF4-FFF2-40B4-BE49-F238E27FC236}">
                  <a16:creationId xmlns:a16="http://schemas.microsoft.com/office/drawing/2014/main" id="{0CA6C817-B93C-93D0-7DB5-1F3FDA8FE614}"/>
                </a:ext>
              </a:extLst>
            </p:cNvPr>
            <p:cNvSpPr/>
            <p:nvPr/>
          </p:nvSpPr>
          <p:spPr>
            <a:xfrm>
              <a:off x="3987133" y="6014624"/>
              <a:ext cx="1226819" cy="237678"/>
            </a:xfrm>
            <a:custGeom>
              <a:avLst/>
              <a:gdLst>
                <a:gd name="connsiteX0" fmla="*/ 0 w 1226819"/>
                <a:gd name="connsiteY0" fmla="*/ 237678 h 237678"/>
                <a:gd name="connsiteX1" fmla="*/ 1905 w 1226819"/>
                <a:gd name="connsiteY1" fmla="*/ 237678 h 237678"/>
                <a:gd name="connsiteX2" fmla="*/ 9525 w 1226819"/>
                <a:gd name="connsiteY2" fmla="*/ 237678 h 237678"/>
                <a:gd name="connsiteX3" fmla="*/ 27623 w 1226819"/>
                <a:gd name="connsiteY3" fmla="*/ 237678 h 237678"/>
                <a:gd name="connsiteX4" fmla="*/ 56198 w 1226819"/>
                <a:gd name="connsiteY4" fmla="*/ 237678 h 237678"/>
                <a:gd name="connsiteX5" fmla="*/ 93345 w 1226819"/>
                <a:gd name="connsiteY5" fmla="*/ 237678 h 237678"/>
                <a:gd name="connsiteX6" fmla="*/ 132398 w 1226819"/>
                <a:gd name="connsiteY6" fmla="*/ 237678 h 237678"/>
                <a:gd name="connsiteX7" fmla="*/ 172403 w 1226819"/>
                <a:gd name="connsiteY7" fmla="*/ 237678 h 237678"/>
                <a:gd name="connsiteX8" fmla="*/ 209550 w 1226819"/>
                <a:gd name="connsiteY8" fmla="*/ 237678 h 237678"/>
                <a:gd name="connsiteX9" fmla="*/ 244793 w 1226819"/>
                <a:gd name="connsiteY9" fmla="*/ 237678 h 237678"/>
                <a:gd name="connsiteX10" fmla="*/ 277178 w 1226819"/>
                <a:gd name="connsiteY10" fmla="*/ 237678 h 237678"/>
                <a:gd name="connsiteX11" fmla="*/ 308610 w 1226819"/>
                <a:gd name="connsiteY11" fmla="*/ 237678 h 237678"/>
                <a:gd name="connsiteX12" fmla="*/ 340995 w 1226819"/>
                <a:gd name="connsiteY12" fmla="*/ 237678 h 237678"/>
                <a:gd name="connsiteX13" fmla="*/ 358140 w 1226819"/>
                <a:gd name="connsiteY13" fmla="*/ 237678 h 237678"/>
                <a:gd name="connsiteX14" fmla="*/ 386715 w 1226819"/>
                <a:gd name="connsiteY14" fmla="*/ 237678 h 237678"/>
                <a:gd name="connsiteX15" fmla="*/ 417195 w 1226819"/>
                <a:gd name="connsiteY15" fmla="*/ 237678 h 237678"/>
                <a:gd name="connsiteX16" fmla="*/ 449580 w 1226819"/>
                <a:gd name="connsiteY16" fmla="*/ 237678 h 237678"/>
                <a:gd name="connsiteX17" fmla="*/ 483870 w 1226819"/>
                <a:gd name="connsiteY17" fmla="*/ 237678 h 237678"/>
                <a:gd name="connsiteX18" fmla="*/ 520065 w 1226819"/>
                <a:gd name="connsiteY18" fmla="*/ 237678 h 237678"/>
                <a:gd name="connsiteX19" fmla="*/ 557213 w 1226819"/>
                <a:gd name="connsiteY19" fmla="*/ 237678 h 237678"/>
                <a:gd name="connsiteX20" fmla="*/ 595313 w 1226819"/>
                <a:gd name="connsiteY20" fmla="*/ 237678 h 237678"/>
                <a:gd name="connsiteX21" fmla="*/ 634365 w 1226819"/>
                <a:gd name="connsiteY21" fmla="*/ 237678 h 237678"/>
                <a:gd name="connsiteX22" fmla="*/ 672465 w 1226819"/>
                <a:gd name="connsiteY22" fmla="*/ 237678 h 237678"/>
                <a:gd name="connsiteX23" fmla="*/ 709613 w 1226819"/>
                <a:gd name="connsiteY23" fmla="*/ 237678 h 237678"/>
                <a:gd name="connsiteX24" fmla="*/ 744855 w 1226819"/>
                <a:gd name="connsiteY24" fmla="*/ 237678 h 237678"/>
                <a:gd name="connsiteX25" fmla="*/ 779145 w 1226819"/>
                <a:gd name="connsiteY25" fmla="*/ 237678 h 237678"/>
                <a:gd name="connsiteX26" fmla="*/ 811530 w 1226819"/>
                <a:gd name="connsiteY26" fmla="*/ 237678 h 237678"/>
                <a:gd name="connsiteX27" fmla="*/ 842010 w 1226819"/>
                <a:gd name="connsiteY27" fmla="*/ 237678 h 237678"/>
                <a:gd name="connsiteX28" fmla="*/ 869633 w 1226819"/>
                <a:gd name="connsiteY28" fmla="*/ 237678 h 237678"/>
                <a:gd name="connsiteX29" fmla="*/ 902018 w 1226819"/>
                <a:gd name="connsiteY29" fmla="*/ 237678 h 237678"/>
                <a:gd name="connsiteX30" fmla="*/ 934403 w 1226819"/>
                <a:gd name="connsiteY30" fmla="*/ 237678 h 237678"/>
                <a:gd name="connsiteX31" fmla="*/ 966788 w 1226819"/>
                <a:gd name="connsiteY31" fmla="*/ 237678 h 237678"/>
                <a:gd name="connsiteX32" fmla="*/ 1000125 w 1226819"/>
                <a:gd name="connsiteY32" fmla="*/ 237678 h 237678"/>
                <a:gd name="connsiteX33" fmla="*/ 1036320 w 1226819"/>
                <a:gd name="connsiteY33" fmla="*/ 237678 h 237678"/>
                <a:gd name="connsiteX34" fmla="*/ 1074420 w 1226819"/>
                <a:gd name="connsiteY34" fmla="*/ 237678 h 237678"/>
                <a:gd name="connsiteX35" fmla="*/ 1114425 w 1226819"/>
                <a:gd name="connsiteY35" fmla="*/ 237678 h 237678"/>
                <a:gd name="connsiteX36" fmla="*/ 1153478 w 1226819"/>
                <a:gd name="connsiteY36" fmla="*/ 237678 h 237678"/>
                <a:gd name="connsiteX37" fmla="*/ 1186815 w 1226819"/>
                <a:gd name="connsiteY37" fmla="*/ 237678 h 237678"/>
                <a:gd name="connsiteX38" fmla="*/ 1210628 w 1226819"/>
                <a:gd name="connsiteY38" fmla="*/ 237678 h 237678"/>
                <a:gd name="connsiteX39" fmla="*/ 1223010 w 1226819"/>
                <a:gd name="connsiteY39" fmla="*/ 237678 h 237678"/>
                <a:gd name="connsiteX40" fmla="*/ 1226820 w 1226819"/>
                <a:gd name="connsiteY40" fmla="*/ 237678 h 237678"/>
                <a:gd name="connsiteX41" fmla="*/ 1226820 w 1226819"/>
                <a:gd name="connsiteY41" fmla="*/ 237678 h 237678"/>
                <a:gd name="connsiteX42" fmla="*/ 1226820 w 1226819"/>
                <a:gd name="connsiteY42" fmla="*/ 0 h 237678"/>
                <a:gd name="connsiteX43" fmla="*/ 1225868 w 1226819"/>
                <a:gd name="connsiteY43" fmla="*/ 0 h 237678"/>
                <a:gd name="connsiteX44" fmla="*/ 1218248 w 1226819"/>
                <a:gd name="connsiteY44" fmla="*/ 0 h 237678"/>
                <a:gd name="connsiteX45" fmla="*/ 1200150 w 1226819"/>
                <a:gd name="connsiteY45" fmla="*/ 0 h 237678"/>
                <a:gd name="connsiteX46" fmla="*/ 1170623 w 1226819"/>
                <a:gd name="connsiteY46" fmla="*/ 0 h 237678"/>
                <a:gd name="connsiteX47" fmla="*/ 1134428 w 1226819"/>
                <a:gd name="connsiteY47" fmla="*/ 0 h 237678"/>
                <a:gd name="connsiteX48" fmla="*/ 1095375 w 1226819"/>
                <a:gd name="connsiteY48" fmla="*/ 0 h 237678"/>
                <a:gd name="connsiteX49" fmla="*/ 1055370 w 1226819"/>
                <a:gd name="connsiteY49" fmla="*/ 0 h 237678"/>
                <a:gd name="connsiteX50" fmla="*/ 1018223 w 1226819"/>
                <a:gd name="connsiteY50" fmla="*/ 0 h 237678"/>
                <a:gd name="connsiteX51" fmla="*/ 982980 w 1226819"/>
                <a:gd name="connsiteY51" fmla="*/ 0 h 237678"/>
                <a:gd name="connsiteX52" fmla="*/ 950595 w 1226819"/>
                <a:gd name="connsiteY52" fmla="*/ 0 h 237678"/>
                <a:gd name="connsiteX53" fmla="*/ 918210 w 1226819"/>
                <a:gd name="connsiteY53" fmla="*/ 0 h 237678"/>
                <a:gd name="connsiteX54" fmla="*/ 886778 w 1226819"/>
                <a:gd name="connsiteY54" fmla="*/ 0 h 237678"/>
                <a:gd name="connsiteX55" fmla="*/ 869633 w 1226819"/>
                <a:gd name="connsiteY55" fmla="*/ 0 h 237678"/>
                <a:gd name="connsiteX56" fmla="*/ 840105 w 1226819"/>
                <a:gd name="connsiteY56" fmla="*/ 0 h 237678"/>
                <a:gd name="connsiteX57" fmla="*/ 809625 w 1226819"/>
                <a:gd name="connsiteY57" fmla="*/ 0 h 237678"/>
                <a:gd name="connsiteX58" fmla="*/ 777240 w 1226819"/>
                <a:gd name="connsiteY58" fmla="*/ 0 h 237678"/>
                <a:gd name="connsiteX59" fmla="*/ 743903 w 1226819"/>
                <a:gd name="connsiteY59" fmla="*/ 0 h 237678"/>
                <a:gd name="connsiteX60" fmla="*/ 707708 w 1226819"/>
                <a:gd name="connsiteY60" fmla="*/ 0 h 237678"/>
                <a:gd name="connsiteX61" fmla="*/ 670560 w 1226819"/>
                <a:gd name="connsiteY61" fmla="*/ 0 h 237678"/>
                <a:gd name="connsiteX62" fmla="*/ 632460 w 1226819"/>
                <a:gd name="connsiteY62" fmla="*/ 0 h 237678"/>
                <a:gd name="connsiteX63" fmla="*/ 593408 w 1226819"/>
                <a:gd name="connsiteY63" fmla="*/ 0 h 237678"/>
                <a:gd name="connsiteX64" fmla="*/ 555308 w 1226819"/>
                <a:gd name="connsiteY64" fmla="*/ 0 h 237678"/>
                <a:gd name="connsiteX65" fmla="*/ 518160 w 1226819"/>
                <a:gd name="connsiteY65" fmla="*/ 0 h 237678"/>
                <a:gd name="connsiteX66" fmla="*/ 482918 w 1226819"/>
                <a:gd name="connsiteY66" fmla="*/ 0 h 237678"/>
                <a:gd name="connsiteX67" fmla="*/ 448628 w 1226819"/>
                <a:gd name="connsiteY67" fmla="*/ 0 h 237678"/>
                <a:gd name="connsiteX68" fmla="*/ 416243 w 1226819"/>
                <a:gd name="connsiteY68" fmla="*/ 0 h 237678"/>
                <a:gd name="connsiteX69" fmla="*/ 385763 w 1226819"/>
                <a:gd name="connsiteY69" fmla="*/ 0 h 237678"/>
                <a:gd name="connsiteX70" fmla="*/ 358140 w 1226819"/>
                <a:gd name="connsiteY70" fmla="*/ 0 h 237678"/>
                <a:gd name="connsiteX71" fmla="*/ 325755 w 1226819"/>
                <a:gd name="connsiteY71" fmla="*/ 0 h 237678"/>
                <a:gd name="connsiteX72" fmla="*/ 293370 w 1226819"/>
                <a:gd name="connsiteY72" fmla="*/ 0 h 237678"/>
                <a:gd name="connsiteX73" fmla="*/ 260985 w 1226819"/>
                <a:gd name="connsiteY73" fmla="*/ 0 h 237678"/>
                <a:gd name="connsiteX74" fmla="*/ 227648 w 1226819"/>
                <a:gd name="connsiteY74" fmla="*/ 0 h 237678"/>
                <a:gd name="connsiteX75" fmla="*/ 191453 w 1226819"/>
                <a:gd name="connsiteY75" fmla="*/ 0 h 237678"/>
                <a:gd name="connsiteX76" fmla="*/ 153353 w 1226819"/>
                <a:gd name="connsiteY76" fmla="*/ 0 h 237678"/>
                <a:gd name="connsiteX77" fmla="*/ 113348 w 1226819"/>
                <a:gd name="connsiteY77" fmla="*/ 0 h 237678"/>
                <a:gd name="connsiteX78" fmla="*/ 74295 w 1226819"/>
                <a:gd name="connsiteY78" fmla="*/ 0 h 237678"/>
                <a:gd name="connsiteX79" fmla="*/ 40958 w 1226819"/>
                <a:gd name="connsiteY79" fmla="*/ 0 h 237678"/>
                <a:gd name="connsiteX80" fmla="*/ 17145 w 1226819"/>
                <a:gd name="connsiteY80" fmla="*/ 0 h 237678"/>
                <a:gd name="connsiteX81" fmla="*/ 4763 w 1226819"/>
                <a:gd name="connsiteY81" fmla="*/ 0 h 237678"/>
                <a:gd name="connsiteX82" fmla="*/ 953 w 1226819"/>
                <a:gd name="connsiteY82" fmla="*/ 0 h 237678"/>
                <a:gd name="connsiteX83" fmla="*/ 0 w 1226819"/>
                <a:gd name="connsiteY83" fmla="*/ 0 h 237678"/>
                <a:gd name="connsiteX84" fmla="*/ 0 w 1226819"/>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7678">
                  <a:moveTo>
                    <a:pt x="0" y="237678"/>
                  </a:moveTo>
                  <a:lnTo>
                    <a:pt x="1905" y="237678"/>
                  </a:lnTo>
                  <a:lnTo>
                    <a:pt x="9525" y="237678"/>
                  </a:lnTo>
                  <a:lnTo>
                    <a:pt x="27623" y="237678"/>
                  </a:lnTo>
                  <a:lnTo>
                    <a:pt x="56198" y="237678"/>
                  </a:lnTo>
                  <a:lnTo>
                    <a:pt x="93345" y="237678"/>
                  </a:lnTo>
                  <a:lnTo>
                    <a:pt x="132398" y="237678"/>
                  </a:lnTo>
                  <a:lnTo>
                    <a:pt x="172403" y="237678"/>
                  </a:lnTo>
                  <a:lnTo>
                    <a:pt x="209550" y="237678"/>
                  </a:lnTo>
                  <a:lnTo>
                    <a:pt x="244793" y="237678"/>
                  </a:lnTo>
                  <a:lnTo>
                    <a:pt x="277178" y="237678"/>
                  </a:lnTo>
                  <a:lnTo>
                    <a:pt x="308610" y="237678"/>
                  </a:lnTo>
                  <a:lnTo>
                    <a:pt x="340995" y="237678"/>
                  </a:lnTo>
                  <a:lnTo>
                    <a:pt x="358140" y="237678"/>
                  </a:lnTo>
                  <a:lnTo>
                    <a:pt x="386715" y="237678"/>
                  </a:lnTo>
                  <a:lnTo>
                    <a:pt x="417195" y="237678"/>
                  </a:lnTo>
                  <a:lnTo>
                    <a:pt x="449580" y="237678"/>
                  </a:lnTo>
                  <a:lnTo>
                    <a:pt x="483870" y="237678"/>
                  </a:lnTo>
                  <a:lnTo>
                    <a:pt x="520065" y="237678"/>
                  </a:lnTo>
                  <a:lnTo>
                    <a:pt x="557213" y="237678"/>
                  </a:lnTo>
                  <a:lnTo>
                    <a:pt x="595313" y="237678"/>
                  </a:lnTo>
                  <a:lnTo>
                    <a:pt x="634365" y="237678"/>
                  </a:lnTo>
                  <a:lnTo>
                    <a:pt x="672465" y="237678"/>
                  </a:lnTo>
                  <a:lnTo>
                    <a:pt x="709613" y="237678"/>
                  </a:lnTo>
                  <a:lnTo>
                    <a:pt x="744855" y="237678"/>
                  </a:lnTo>
                  <a:lnTo>
                    <a:pt x="779145" y="237678"/>
                  </a:lnTo>
                  <a:lnTo>
                    <a:pt x="811530" y="237678"/>
                  </a:lnTo>
                  <a:lnTo>
                    <a:pt x="842010" y="237678"/>
                  </a:lnTo>
                  <a:lnTo>
                    <a:pt x="869633" y="237678"/>
                  </a:lnTo>
                  <a:lnTo>
                    <a:pt x="902018" y="237678"/>
                  </a:lnTo>
                  <a:lnTo>
                    <a:pt x="934403" y="237678"/>
                  </a:lnTo>
                  <a:lnTo>
                    <a:pt x="966788" y="237678"/>
                  </a:lnTo>
                  <a:lnTo>
                    <a:pt x="1000125" y="237678"/>
                  </a:lnTo>
                  <a:lnTo>
                    <a:pt x="1036320" y="237678"/>
                  </a:lnTo>
                  <a:lnTo>
                    <a:pt x="1074420" y="237678"/>
                  </a:lnTo>
                  <a:lnTo>
                    <a:pt x="1114425" y="237678"/>
                  </a:lnTo>
                  <a:lnTo>
                    <a:pt x="1153478" y="237678"/>
                  </a:lnTo>
                  <a:lnTo>
                    <a:pt x="1186815" y="237678"/>
                  </a:lnTo>
                  <a:lnTo>
                    <a:pt x="1210628" y="237678"/>
                  </a:lnTo>
                  <a:lnTo>
                    <a:pt x="1223010" y="237678"/>
                  </a:lnTo>
                  <a:lnTo>
                    <a:pt x="1226820" y="237678"/>
                  </a:lnTo>
                  <a:lnTo>
                    <a:pt x="1226820" y="23767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7678"/>
                  </a:lnTo>
                  <a:close/>
                </a:path>
              </a:pathLst>
            </a:custGeom>
            <a:solidFill>
              <a:srgbClr val="BBBDBF">
                <a:alpha val="60000"/>
              </a:srgbClr>
            </a:solidFill>
            <a:ln w="9525" cap="flat">
              <a:noFill/>
              <a:prstDash val="solid"/>
              <a:miter/>
            </a:ln>
          </p:spPr>
          <p:txBody>
            <a:bodyPr rtlCol="0" anchor="ctr"/>
            <a:lstStyle/>
            <a:p>
              <a:endParaRPr lang="en-US" sz="1050"/>
            </a:p>
          </p:txBody>
        </p:sp>
        <p:sp>
          <p:nvSpPr>
            <p:cNvPr id="210" name="Freeform 262">
              <a:extLst>
                <a:ext uri="{FF2B5EF4-FFF2-40B4-BE49-F238E27FC236}">
                  <a16:creationId xmlns:a16="http://schemas.microsoft.com/office/drawing/2014/main" id="{5BFDA7C7-5353-5967-0E89-A3121E2157A0}"/>
                </a:ext>
              </a:extLst>
            </p:cNvPr>
            <p:cNvSpPr/>
            <p:nvPr/>
          </p:nvSpPr>
          <p:spPr>
            <a:xfrm>
              <a:off x="3987133" y="6014624"/>
              <a:ext cx="1226819" cy="237678"/>
            </a:xfrm>
            <a:custGeom>
              <a:avLst/>
              <a:gdLst>
                <a:gd name="connsiteX0" fmla="*/ 0 w 1226819"/>
                <a:gd name="connsiteY0" fmla="*/ 237678 h 237678"/>
                <a:gd name="connsiteX1" fmla="*/ 1905 w 1226819"/>
                <a:gd name="connsiteY1" fmla="*/ 237678 h 237678"/>
                <a:gd name="connsiteX2" fmla="*/ 9525 w 1226819"/>
                <a:gd name="connsiteY2" fmla="*/ 237678 h 237678"/>
                <a:gd name="connsiteX3" fmla="*/ 27623 w 1226819"/>
                <a:gd name="connsiteY3" fmla="*/ 237678 h 237678"/>
                <a:gd name="connsiteX4" fmla="*/ 56198 w 1226819"/>
                <a:gd name="connsiteY4" fmla="*/ 237678 h 237678"/>
                <a:gd name="connsiteX5" fmla="*/ 93345 w 1226819"/>
                <a:gd name="connsiteY5" fmla="*/ 237678 h 237678"/>
                <a:gd name="connsiteX6" fmla="*/ 132398 w 1226819"/>
                <a:gd name="connsiteY6" fmla="*/ 237678 h 237678"/>
                <a:gd name="connsiteX7" fmla="*/ 172403 w 1226819"/>
                <a:gd name="connsiteY7" fmla="*/ 237678 h 237678"/>
                <a:gd name="connsiteX8" fmla="*/ 209550 w 1226819"/>
                <a:gd name="connsiteY8" fmla="*/ 237678 h 237678"/>
                <a:gd name="connsiteX9" fmla="*/ 244793 w 1226819"/>
                <a:gd name="connsiteY9" fmla="*/ 237678 h 237678"/>
                <a:gd name="connsiteX10" fmla="*/ 277178 w 1226819"/>
                <a:gd name="connsiteY10" fmla="*/ 237678 h 237678"/>
                <a:gd name="connsiteX11" fmla="*/ 308610 w 1226819"/>
                <a:gd name="connsiteY11" fmla="*/ 237678 h 237678"/>
                <a:gd name="connsiteX12" fmla="*/ 340995 w 1226819"/>
                <a:gd name="connsiteY12" fmla="*/ 237678 h 237678"/>
                <a:gd name="connsiteX13" fmla="*/ 358140 w 1226819"/>
                <a:gd name="connsiteY13" fmla="*/ 237678 h 237678"/>
                <a:gd name="connsiteX14" fmla="*/ 386715 w 1226819"/>
                <a:gd name="connsiteY14" fmla="*/ 237678 h 237678"/>
                <a:gd name="connsiteX15" fmla="*/ 417195 w 1226819"/>
                <a:gd name="connsiteY15" fmla="*/ 237678 h 237678"/>
                <a:gd name="connsiteX16" fmla="*/ 449580 w 1226819"/>
                <a:gd name="connsiteY16" fmla="*/ 237678 h 237678"/>
                <a:gd name="connsiteX17" fmla="*/ 483870 w 1226819"/>
                <a:gd name="connsiteY17" fmla="*/ 237678 h 237678"/>
                <a:gd name="connsiteX18" fmla="*/ 520065 w 1226819"/>
                <a:gd name="connsiteY18" fmla="*/ 237678 h 237678"/>
                <a:gd name="connsiteX19" fmla="*/ 557213 w 1226819"/>
                <a:gd name="connsiteY19" fmla="*/ 237678 h 237678"/>
                <a:gd name="connsiteX20" fmla="*/ 595313 w 1226819"/>
                <a:gd name="connsiteY20" fmla="*/ 237678 h 237678"/>
                <a:gd name="connsiteX21" fmla="*/ 634365 w 1226819"/>
                <a:gd name="connsiteY21" fmla="*/ 237678 h 237678"/>
                <a:gd name="connsiteX22" fmla="*/ 672465 w 1226819"/>
                <a:gd name="connsiteY22" fmla="*/ 237678 h 237678"/>
                <a:gd name="connsiteX23" fmla="*/ 709613 w 1226819"/>
                <a:gd name="connsiteY23" fmla="*/ 237678 h 237678"/>
                <a:gd name="connsiteX24" fmla="*/ 744855 w 1226819"/>
                <a:gd name="connsiteY24" fmla="*/ 237678 h 237678"/>
                <a:gd name="connsiteX25" fmla="*/ 779145 w 1226819"/>
                <a:gd name="connsiteY25" fmla="*/ 237678 h 237678"/>
                <a:gd name="connsiteX26" fmla="*/ 811530 w 1226819"/>
                <a:gd name="connsiteY26" fmla="*/ 237678 h 237678"/>
                <a:gd name="connsiteX27" fmla="*/ 842010 w 1226819"/>
                <a:gd name="connsiteY27" fmla="*/ 237678 h 237678"/>
                <a:gd name="connsiteX28" fmla="*/ 869633 w 1226819"/>
                <a:gd name="connsiteY28" fmla="*/ 237678 h 237678"/>
                <a:gd name="connsiteX29" fmla="*/ 902018 w 1226819"/>
                <a:gd name="connsiteY29" fmla="*/ 237678 h 237678"/>
                <a:gd name="connsiteX30" fmla="*/ 934403 w 1226819"/>
                <a:gd name="connsiteY30" fmla="*/ 237678 h 237678"/>
                <a:gd name="connsiteX31" fmla="*/ 966788 w 1226819"/>
                <a:gd name="connsiteY31" fmla="*/ 237678 h 237678"/>
                <a:gd name="connsiteX32" fmla="*/ 1000125 w 1226819"/>
                <a:gd name="connsiteY32" fmla="*/ 237678 h 237678"/>
                <a:gd name="connsiteX33" fmla="*/ 1036320 w 1226819"/>
                <a:gd name="connsiteY33" fmla="*/ 237678 h 237678"/>
                <a:gd name="connsiteX34" fmla="*/ 1074420 w 1226819"/>
                <a:gd name="connsiteY34" fmla="*/ 237678 h 237678"/>
                <a:gd name="connsiteX35" fmla="*/ 1114425 w 1226819"/>
                <a:gd name="connsiteY35" fmla="*/ 237678 h 237678"/>
                <a:gd name="connsiteX36" fmla="*/ 1153478 w 1226819"/>
                <a:gd name="connsiteY36" fmla="*/ 237678 h 237678"/>
                <a:gd name="connsiteX37" fmla="*/ 1186815 w 1226819"/>
                <a:gd name="connsiteY37" fmla="*/ 237678 h 237678"/>
                <a:gd name="connsiteX38" fmla="*/ 1210628 w 1226819"/>
                <a:gd name="connsiteY38" fmla="*/ 237678 h 237678"/>
                <a:gd name="connsiteX39" fmla="*/ 1223010 w 1226819"/>
                <a:gd name="connsiteY39" fmla="*/ 237678 h 237678"/>
                <a:gd name="connsiteX40" fmla="*/ 1226820 w 1226819"/>
                <a:gd name="connsiteY40" fmla="*/ 237678 h 237678"/>
                <a:gd name="connsiteX41" fmla="*/ 1226820 w 1226819"/>
                <a:gd name="connsiteY41" fmla="*/ 237678 h 237678"/>
                <a:gd name="connsiteX42" fmla="*/ 1226820 w 1226819"/>
                <a:gd name="connsiteY42" fmla="*/ 0 h 237678"/>
                <a:gd name="connsiteX43" fmla="*/ 1225868 w 1226819"/>
                <a:gd name="connsiteY43" fmla="*/ 0 h 237678"/>
                <a:gd name="connsiteX44" fmla="*/ 1218248 w 1226819"/>
                <a:gd name="connsiteY44" fmla="*/ 0 h 237678"/>
                <a:gd name="connsiteX45" fmla="*/ 1200150 w 1226819"/>
                <a:gd name="connsiteY45" fmla="*/ 0 h 237678"/>
                <a:gd name="connsiteX46" fmla="*/ 1170623 w 1226819"/>
                <a:gd name="connsiteY46" fmla="*/ 0 h 237678"/>
                <a:gd name="connsiteX47" fmla="*/ 1134428 w 1226819"/>
                <a:gd name="connsiteY47" fmla="*/ 0 h 237678"/>
                <a:gd name="connsiteX48" fmla="*/ 1095375 w 1226819"/>
                <a:gd name="connsiteY48" fmla="*/ 0 h 237678"/>
                <a:gd name="connsiteX49" fmla="*/ 1055370 w 1226819"/>
                <a:gd name="connsiteY49" fmla="*/ 0 h 237678"/>
                <a:gd name="connsiteX50" fmla="*/ 1018223 w 1226819"/>
                <a:gd name="connsiteY50" fmla="*/ 0 h 237678"/>
                <a:gd name="connsiteX51" fmla="*/ 982980 w 1226819"/>
                <a:gd name="connsiteY51" fmla="*/ 0 h 237678"/>
                <a:gd name="connsiteX52" fmla="*/ 950595 w 1226819"/>
                <a:gd name="connsiteY52" fmla="*/ 0 h 237678"/>
                <a:gd name="connsiteX53" fmla="*/ 918210 w 1226819"/>
                <a:gd name="connsiteY53" fmla="*/ 0 h 237678"/>
                <a:gd name="connsiteX54" fmla="*/ 886778 w 1226819"/>
                <a:gd name="connsiteY54" fmla="*/ 0 h 237678"/>
                <a:gd name="connsiteX55" fmla="*/ 869633 w 1226819"/>
                <a:gd name="connsiteY55" fmla="*/ 0 h 237678"/>
                <a:gd name="connsiteX56" fmla="*/ 840105 w 1226819"/>
                <a:gd name="connsiteY56" fmla="*/ 0 h 237678"/>
                <a:gd name="connsiteX57" fmla="*/ 809625 w 1226819"/>
                <a:gd name="connsiteY57" fmla="*/ 0 h 237678"/>
                <a:gd name="connsiteX58" fmla="*/ 777240 w 1226819"/>
                <a:gd name="connsiteY58" fmla="*/ 0 h 237678"/>
                <a:gd name="connsiteX59" fmla="*/ 743903 w 1226819"/>
                <a:gd name="connsiteY59" fmla="*/ 0 h 237678"/>
                <a:gd name="connsiteX60" fmla="*/ 707708 w 1226819"/>
                <a:gd name="connsiteY60" fmla="*/ 0 h 237678"/>
                <a:gd name="connsiteX61" fmla="*/ 670560 w 1226819"/>
                <a:gd name="connsiteY61" fmla="*/ 0 h 237678"/>
                <a:gd name="connsiteX62" fmla="*/ 632460 w 1226819"/>
                <a:gd name="connsiteY62" fmla="*/ 0 h 237678"/>
                <a:gd name="connsiteX63" fmla="*/ 593408 w 1226819"/>
                <a:gd name="connsiteY63" fmla="*/ 0 h 237678"/>
                <a:gd name="connsiteX64" fmla="*/ 555308 w 1226819"/>
                <a:gd name="connsiteY64" fmla="*/ 0 h 237678"/>
                <a:gd name="connsiteX65" fmla="*/ 518160 w 1226819"/>
                <a:gd name="connsiteY65" fmla="*/ 0 h 237678"/>
                <a:gd name="connsiteX66" fmla="*/ 482918 w 1226819"/>
                <a:gd name="connsiteY66" fmla="*/ 0 h 237678"/>
                <a:gd name="connsiteX67" fmla="*/ 448628 w 1226819"/>
                <a:gd name="connsiteY67" fmla="*/ 0 h 237678"/>
                <a:gd name="connsiteX68" fmla="*/ 416243 w 1226819"/>
                <a:gd name="connsiteY68" fmla="*/ 0 h 237678"/>
                <a:gd name="connsiteX69" fmla="*/ 385763 w 1226819"/>
                <a:gd name="connsiteY69" fmla="*/ 0 h 237678"/>
                <a:gd name="connsiteX70" fmla="*/ 358140 w 1226819"/>
                <a:gd name="connsiteY70" fmla="*/ 0 h 237678"/>
                <a:gd name="connsiteX71" fmla="*/ 325755 w 1226819"/>
                <a:gd name="connsiteY71" fmla="*/ 0 h 237678"/>
                <a:gd name="connsiteX72" fmla="*/ 293370 w 1226819"/>
                <a:gd name="connsiteY72" fmla="*/ 0 h 237678"/>
                <a:gd name="connsiteX73" fmla="*/ 260985 w 1226819"/>
                <a:gd name="connsiteY73" fmla="*/ 0 h 237678"/>
                <a:gd name="connsiteX74" fmla="*/ 227648 w 1226819"/>
                <a:gd name="connsiteY74" fmla="*/ 0 h 237678"/>
                <a:gd name="connsiteX75" fmla="*/ 191453 w 1226819"/>
                <a:gd name="connsiteY75" fmla="*/ 0 h 237678"/>
                <a:gd name="connsiteX76" fmla="*/ 153353 w 1226819"/>
                <a:gd name="connsiteY76" fmla="*/ 0 h 237678"/>
                <a:gd name="connsiteX77" fmla="*/ 113348 w 1226819"/>
                <a:gd name="connsiteY77" fmla="*/ 0 h 237678"/>
                <a:gd name="connsiteX78" fmla="*/ 74295 w 1226819"/>
                <a:gd name="connsiteY78" fmla="*/ 0 h 237678"/>
                <a:gd name="connsiteX79" fmla="*/ 40958 w 1226819"/>
                <a:gd name="connsiteY79" fmla="*/ 0 h 237678"/>
                <a:gd name="connsiteX80" fmla="*/ 17145 w 1226819"/>
                <a:gd name="connsiteY80" fmla="*/ 0 h 237678"/>
                <a:gd name="connsiteX81" fmla="*/ 4763 w 1226819"/>
                <a:gd name="connsiteY81" fmla="*/ 0 h 237678"/>
                <a:gd name="connsiteX82" fmla="*/ 953 w 1226819"/>
                <a:gd name="connsiteY82" fmla="*/ 0 h 237678"/>
                <a:gd name="connsiteX83" fmla="*/ 0 w 1226819"/>
                <a:gd name="connsiteY83" fmla="*/ 0 h 237678"/>
                <a:gd name="connsiteX84" fmla="*/ 0 w 1226819"/>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19" h="237678">
                  <a:moveTo>
                    <a:pt x="0" y="237678"/>
                  </a:moveTo>
                  <a:lnTo>
                    <a:pt x="1905" y="237678"/>
                  </a:lnTo>
                  <a:lnTo>
                    <a:pt x="9525" y="237678"/>
                  </a:lnTo>
                  <a:lnTo>
                    <a:pt x="27623" y="237678"/>
                  </a:lnTo>
                  <a:lnTo>
                    <a:pt x="56198" y="237678"/>
                  </a:lnTo>
                  <a:lnTo>
                    <a:pt x="93345" y="237678"/>
                  </a:lnTo>
                  <a:lnTo>
                    <a:pt x="132398" y="237678"/>
                  </a:lnTo>
                  <a:lnTo>
                    <a:pt x="172403" y="237678"/>
                  </a:lnTo>
                  <a:lnTo>
                    <a:pt x="209550" y="237678"/>
                  </a:lnTo>
                  <a:lnTo>
                    <a:pt x="244793" y="237678"/>
                  </a:lnTo>
                  <a:lnTo>
                    <a:pt x="277178" y="237678"/>
                  </a:lnTo>
                  <a:lnTo>
                    <a:pt x="308610" y="237678"/>
                  </a:lnTo>
                  <a:lnTo>
                    <a:pt x="340995" y="237678"/>
                  </a:lnTo>
                  <a:lnTo>
                    <a:pt x="358140" y="237678"/>
                  </a:lnTo>
                  <a:lnTo>
                    <a:pt x="386715" y="237678"/>
                  </a:lnTo>
                  <a:lnTo>
                    <a:pt x="417195" y="237678"/>
                  </a:lnTo>
                  <a:lnTo>
                    <a:pt x="449580" y="237678"/>
                  </a:lnTo>
                  <a:lnTo>
                    <a:pt x="483870" y="237678"/>
                  </a:lnTo>
                  <a:lnTo>
                    <a:pt x="520065" y="237678"/>
                  </a:lnTo>
                  <a:lnTo>
                    <a:pt x="557213" y="237678"/>
                  </a:lnTo>
                  <a:lnTo>
                    <a:pt x="595313" y="237678"/>
                  </a:lnTo>
                  <a:lnTo>
                    <a:pt x="634365" y="237678"/>
                  </a:lnTo>
                  <a:lnTo>
                    <a:pt x="672465" y="237678"/>
                  </a:lnTo>
                  <a:lnTo>
                    <a:pt x="709613" y="237678"/>
                  </a:lnTo>
                  <a:lnTo>
                    <a:pt x="744855" y="237678"/>
                  </a:lnTo>
                  <a:lnTo>
                    <a:pt x="779145" y="237678"/>
                  </a:lnTo>
                  <a:lnTo>
                    <a:pt x="811530" y="237678"/>
                  </a:lnTo>
                  <a:lnTo>
                    <a:pt x="842010" y="237678"/>
                  </a:lnTo>
                  <a:lnTo>
                    <a:pt x="869633" y="237678"/>
                  </a:lnTo>
                  <a:lnTo>
                    <a:pt x="902018" y="237678"/>
                  </a:lnTo>
                  <a:lnTo>
                    <a:pt x="934403" y="237678"/>
                  </a:lnTo>
                  <a:lnTo>
                    <a:pt x="966788" y="237678"/>
                  </a:lnTo>
                  <a:lnTo>
                    <a:pt x="1000125" y="237678"/>
                  </a:lnTo>
                  <a:lnTo>
                    <a:pt x="1036320" y="237678"/>
                  </a:lnTo>
                  <a:lnTo>
                    <a:pt x="1074420" y="237678"/>
                  </a:lnTo>
                  <a:lnTo>
                    <a:pt x="1114425" y="237678"/>
                  </a:lnTo>
                  <a:lnTo>
                    <a:pt x="1153478" y="237678"/>
                  </a:lnTo>
                  <a:lnTo>
                    <a:pt x="1186815" y="237678"/>
                  </a:lnTo>
                  <a:lnTo>
                    <a:pt x="1210628" y="237678"/>
                  </a:lnTo>
                  <a:lnTo>
                    <a:pt x="1223010" y="237678"/>
                  </a:lnTo>
                  <a:lnTo>
                    <a:pt x="1226820" y="237678"/>
                  </a:lnTo>
                  <a:lnTo>
                    <a:pt x="1226820" y="237678"/>
                  </a:lnTo>
                  <a:lnTo>
                    <a:pt x="1226820" y="0"/>
                  </a:lnTo>
                  <a:lnTo>
                    <a:pt x="1225868" y="0"/>
                  </a:lnTo>
                  <a:lnTo>
                    <a:pt x="1218248" y="0"/>
                  </a:lnTo>
                  <a:lnTo>
                    <a:pt x="1200150" y="0"/>
                  </a:lnTo>
                  <a:lnTo>
                    <a:pt x="1170623" y="0"/>
                  </a:lnTo>
                  <a:lnTo>
                    <a:pt x="1134428" y="0"/>
                  </a:lnTo>
                  <a:lnTo>
                    <a:pt x="1095375" y="0"/>
                  </a:lnTo>
                  <a:lnTo>
                    <a:pt x="1055370" y="0"/>
                  </a:lnTo>
                  <a:lnTo>
                    <a:pt x="1018223" y="0"/>
                  </a:lnTo>
                  <a:lnTo>
                    <a:pt x="982980" y="0"/>
                  </a:lnTo>
                  <a:lnTo>
                    <a:pt x="950595" y="0"/>
                  </a:lnTo>
                  <a:lnTo>
                    <a:pt x="918210" y="0"/>
                  </a:lnTo>
                  <a:lnTo>
                    <a:pt x="886778" y="0"/>
                  </a:lnTo>
                  <a:lnTo>
                    <a:pt x="869633" y="0"/>
                  </a:lnTo>
                  <a:lnTo>
                    <a:pt x="840105" y="0"/>
                  </a:lnTo>
                  <a:lnTo>
                    <a:pt x="809625" y="0"/>
                  </a:lnTo>
                  <a:lnTo>
                    <a:pt x="777240" y="0"/>
                  </a:lnTo>
                  <a:lnTo>
                    <a:pt x="743903" y="0"/>
                  </a:lnTo>
                  <a:lnTo>
                    <a:pt x="707708" y="0"/>
                  </a:lnTo>
                  <a:lnTo>
                    <a:pt x="670560" y="0"/>
                  </a:lnTo>
                  <a:lnTo>
                    <a:pt x="632460" y="0"/>
                  </a:lnTo>
                  <a:lnTo>
                    <a:pt x="593408" y="0"/>
                  </a:lnTo>
                  <a:lnTo>
                    <a:pt x="555308" y="0"/>
                  </a:lnTo>
                  <a:lnTo>
                    <a:pt x="518160" y="0"/>
                  </a:lnTo>
                  <a:lnTo>
                    <a:pt x="482918" y="0"/>
                  </a:lnTo>
                  <a:lnTo>
                    <a:pt x="448628" y="0"/>
                  </a:lnTo>
                  <a:lnTo>
                    <a:pt x="416243" y="0"/>
                  </a:lnTo>
                  <a:lnTo>
                    <a:pt x="385763" y="0"/>
                  </a:lnTo>
                  <a:lnTo>
                    <a:pt x="358140" y="0"/>
                  </a:lnTo>
                  <a:lnTo>
                    <a:pt x="325755" y="0"/>
                  </a:lnTo>
                  <a:lnTo>
                    <a:pt x="293370" y="0"/>
                  </a:lnTo>
                  <a:lnTo>
                    <a:pt x="260985" y="0"/>
                  </a:lnTo>
                  <a:lnTo>
                    <a:pt x="227648" y="0"/>
                  </a:lnTo>
                  <a:lnTo>
                    <a:pt x="191453" y="0"/>
                  </a:lnTo>
                  <a:lnTo>
                    <a:pt x="153353" y="0"/>
                  </a:lnTo>
                  <a:lnTo>
                    <a:pt x="113348" y="0"/>
                  </a:lnTo>
                  <a:lnTo>
                    <a:pt x="74295" y="0"/>
                  </a:lnTo>
                  <a:lnTo>
                    <a:pt x="40958" y="0"/>
                  </a:lnTo>
                  <a:lnTo>
                    <a:pt x="17145" y="0"/>
                  </a:lnTo>
                  <a:lnTo>
                    <a:pt x="4763" y="0"/>
                  </a:lnTo>
                  <a:lnTo>
                    <a:pt x="953" y="0"/>
                  </a:lnTo>
                  <a:lnTo>
                    <a:pt x="0" y="0"/>
                  </a:lnTo>
                  <a:lnTo>
                    <a:pt x="0" y="237678"/>
                  </a:lnTo>
                  <a:close/>
                </a:path>
              </a:pathLst>
            </a:custGeom>
            <a:noFill/>
            <a:ln w="9525" cap="flat">
              <a:solidFill>
                <a:srgbClr val="BBBDBF"/>
              </a:solidFill>
              <a:prstDash val="solid"/>
              <a:miter/>
            </a:ln>
          </p:spPr>
          <p:txBody>
            <a:bodyPr rtlCol="0" anchor="ctr"/>
            <a:lstStyle/>
            <a:p>
              <a:endParaRPr lang="en-US" sz="1050"/>
            </a:p>
          </p:txBody>
        </p:sp>
        <p:sp>
          <p:nvSpPr>
            <p:cNvPr id="211" name="Freeform 263">
              <a:extLst>
                <a:ext uri="{FF2B5EF4-FFF2-40B4-BE49-F238E27FC236}">
                  <a16:creationId xmlns:a16="http://schemas.microsoft.com/office/drawing/2014/main" id="{07AEE226-06FF-F082-0591-EC7F95BEA3EE}"/>
                </a:ext>
              </a:extLst>
            </p:cNvPr>
            <p:cNvSpPr/>
            <p:nvPr/>
          </p:nvSpPr>
          <p:spPr>
            <a:xfrm>
              <a:off x="3987133" y="2214624"/>
              <a:ext cx="1226819" cy="475356"/>
            </a:xfrm>
            <a:custGeom>
              <a:avLst/>
              <a:gdLst>
                <a:gd name="connsiteX0" fmla="*/ 0 w 1226819"/>
                <a:gd name="connsiteY0" fmla="*/ 237678 h 475356"/>
                <a:gd name="connsiteX1" fmla="*/ 1905 w 1226819"/>
                <a:gd name="connsiteY1" fmla="*/ 237678 h 475356"/>
                <a:gd name="connsiteX2" fmla="*/ 9525 w 1226819"/>
                <a:gd name="connsiteY2" fmla="*/ 237678 h 475356"/>
                <a:gd name="connsiteX3" fmla="*/ 27623 w 1226819"/>
                <a:gd name="connsiteY3" fmla="*/ 238629 h 475356"/>
                <a:gd name="connsiteX4" fmla="*/ 56198 w 1226819"/>
                <a:gd name="connsiteY4" fmla="*/ 239580 h 475356"/>
                <a:gd name="connsiteX5" fmla="*/ 92393 w 1226819"/>
                <a:gd name="connsiteY5" fmla="*/ 241481 h 475356"/>
                <a:gd name="connsiteX6" fmla="*/ 132398 w 1226819"/>
                <a:gd name="connsiteY6" fmla="*/ 244333 h 475356"/>
                <a:gd name="connsiteX7" fmla="*/ 171450 w 1226819"/>
                <a:gd name="connsiteY7" fmla="*/ 247185 h 475356"/>
                <a:gd name="connsiteX8" fmla="*/ 208598 w 1226819"/>
                <a:gd name="connsiteY8" fmla="*/ 250038 h 475356"/>
                <a:gd name="connsiteX9" fmla="*/ 243840 w 1226819"/>
                <a:gd name="connsiteY9" fmla="*/ 254791 h 475356"/>
                <a:gd name="connsiteX10" fmla="*/ 276225 w 1226819"/>
                <a:gd name="connsiteY10" fmla="*/ 259545 h 475356"/>
                <a:gd name="connsiteX11" fmla="*/ 307658 w 1226819"/>
                <a:gd name="connsiteY11" fmla="*/ 265249 h 475356"/>
                <a:gd name="connsiteX12" fmla="*/ 340043 w 1226819"/>
                <a:gd name="connsiteY12" fmla="*/ 272855 h 475356"/>
                <a:gd name="connsiteX13" fmla="*/ 358140 w 1226819"/>
                <a:gd name="connsiteY13" fmla="*/ 277608 h 475356"/>
                <a:gd name="connsiteX14" fmla="*/ 386715 w 1226819"/>
                <a:gd name="connsiteY14" fmla="*/ 285214 h 475356"/>
                <a:gd name="connsiteX15" fmla="*/ 416243 w 1226819"/>
                <a:gd name="connsiteY15" fmla="*/ 293770 h 475356"/>
                <a:gd name="connsiteX16" fmla="*/ 447675 w 1226819"/>
                <a:gd name="connsiteY16" fmla="*/ 303277 h 475356"/>
                <a:gd name="connsiteX17" fmla="*/ 481013 w 1226819"/>
                <a:gd name="connsiteY17" fmla="*/ 313735 h 475356"/>
                <a:gd name="connsiteX18" fmla="*/ 516255 w 1226819"/>
                <a:gd name="connsiteY18" fmla="*/ 324193 h 475356"/>
                <a:gd name="connsiteX19" fmla="*/ 552450 w 1226819"/>
                <a:gd name="connsiteY19" fmla="*/ 336552 h 475356"/>
                <a:gd name="connsiteX20" fmla="*/ 589598 w 1226819"/>
                <a:gd name="connsiteY20" fmla="*/ 348912 h 475356"/>
                <a:gd name="connsiteX21" fmla="*/ 626745 w 1226819"/>
                <a:gd name="connsiteY21" fmla="*/ 361271 h 475356"/>
                <a:gd name="connsiteX22" fmla="*/ 663893 w 1226819"/>
                <a:gd name="connsiteY22" fmla="*/ 373630 h 475356"/>
                <a:gd name="connsiteX23" fmla="*/ 701040 w 1226819"/>
                <a:gd name="connsiteY23" fmla="*/ 385039 h 475356"/>
                <a:gd name="connsiteX24" fmla="*/ 736283 w 1226819"/>
                <a:gd name="connsiteY24" fmla="*/ 396447 h 475356"/>
                <a:gd name="connsiteX25" fmla="*/ 769620 w 1226819"/>
                <a:gd name="connsiteY25" fmla="*/ 406905 h 475356"/>
                <a:gd name="connsiteX26" fmla="*/ 802005 w 1226819"/>
                <a:gd name="connsiteY26" fmla="*/ 416412 h 475356"/>
                <a:gd name="connsiteX27" fmla="*/ 832485 w 1226819"/>
                <a:gd name="connsiteY27" fmla="*/ 425919 h 475356"/>
                <a:gd name="connsiteX28" fmla="*/ 861060 w 1226819"/>
                <a:gd name="connsiteY28" fmla="*/ 433525 h 475356"/>
                <a:gd name="connsiteX29" fmla="*/ 869633 w 1226819"/>
                <a:gd name="connsiteY29" fmla="*/ 435427 h 475356"/>
                <a:gd name="connsiteX30" fmla="*/ 902018 w 1226819"/>
                <a:gd name="connsiteY30" fmla="*/ 443983 h 475356"/>
                <a:gd name="connsiteX31" fmla="*/ 934403 w 1226819"/>
                <a:gd name="connsiteY31" fmla="*/ 450638 h 475356"/>
                <a:gd name="connsiteX32" fmla="*/ 965835 w 1226819"/>
                <a:gd name="connsiteY32" fmla="*/ 456342 h 475356"/>
                <a:gd name="connsiteX33" fmla="*/ 999173 w 1226819"/>
                <a:gd name="connsiteY33" fmla="*/ 460145 h 475356"/>
                <a:gd name="connsiteX34" fmla="*/ 1035368 w 1226819"/>
                <a:gd name="connsiteY34" fmla="*/ 464899 h 475356"/>
                <a:gd name="connsiteX35" fmla="*/ 1073468 w 1226819"/>
                <a:gd name="connsiteY35" fmla="*/ 467751 h 475356"/>
                <a:gd name="connsiteX36" fmla="*/ 1113473 w 1226819"/>
                <a:gd name="connsiteY36" fmla="*/ 470603 h 475356"/>
                <a:gd name="connsiteX37" fmla="*/ 1152525 w 1226819"/>
                <a:gd name="connsiteY37" fmla="*/ 472504 h 475356"/>
                <a:gd name="connsiteX38" fmla="*/ 1185863 w 1226819"/>
                <a:gd name="connsiteY38" fmla="*/ 473455 h 475356"/>
                <a:gd name="connsiteX39" fmla="*/ 1209675 w 1226819"/>
                <a:gd name="connsiteY39" fmla="*/ 474406 h 475356"/>
                <a:gd name="connsiteX40" fmla="*/ 1223010 w 1226819"/>
                <a:gd name="connsiteY40" fmla="*/ 475357 h 475356"/>
                <a:gd name="connsiteX41" fmla="*/ 1226820 w 1226819"/>
                <a:gd name="connsiteY41" fmla="*/ 475357 h 475356"/>
                <a:gd name="connsiteX42" fmla="*/ 1226820 w 1226819"/>
                <a:gd name="connsiteY42" fmla="*/ 475357 h 475356"/>
                <a:gd name="connsiteX43" fmla="*/ 1226820 w 1226819"/>
                <a:gd name="connsiteY43" fmla="*/ 237678 h 475356"/>
                <a:gd name="connsiteX44" fmla="*/ 1225868 w 1226819"/>
                <a:gd name="connsiteY44" fmla="*/ 237678 h 475356"/>
                <a:gd name="connsiteX45" fmla="*/ 1218248 w 1226819"/>
                <a:gd name="connsiteY45" fmla="*/ 237678 h 475356"/>
                <a:gd name="connsiteX46" fmla="*/ 1200150 w 1226819"/>
                <a:gd name="connsiteY46" fmla="*/ 236728 h 475356"/>
                <a:gd name="connsiteX47" fmla="*/ 1171575 w 1226819"/>
                <a:gd name="connsiteY47" fmla="*/ 235777 h 475356"/>
                <a:gd name="connsiteX48" fmla="*/ 1135380 w 1226819"/>
                <a:gd name="connsiteY48" fmla="*/ 233875 h 475356"/>
                <a:gd name="connsiteX49" fmla="*/ 1095375 w 1226819"/>
                <a:gd name="connsiteY49" fmla="*/ 231974 h 475356"/>
                <a:gd name="connsiteX50" fmla="*/ 1056323 w 1226819"/>
                <a:gd name="connsiteY50" fmla="*/ 229122 h 475356"/>
                <a:gd name="connsiteX51" fmla="*/ 1019175 w 1226819"/>
                <a:gd name="connsiteY51" fmla="*/ 225319 h 475356"/>
                <a:gd name="connsiteX52" fmla="*/ 983932 w 1226819"/>
                <a:gd name="connsiteY52" fmla="*/ 221516 h 475356"/>
                <a:gd name="connsiteX53" fmla="*/ 951548 w 1226819"/>
                <a:gd name="connsiteY53" fmla="*/ 215812 h 475356"/>
                <a:gd name="connsiteX54" fmla="*/ 920115 w 1226819"/>
                <a:gd name="connsiteY54" fmla="*/ 210108 h 475356"/>
                <a:gd name="connsiteX55" fmla="*/ 887730 w 1226819"/>
                <a:gd name="connsiteY55" fmla="*/ 202502 h 475356"/>
                <a:gd name="connsiteX56" fmla="*/ 869633 w 1226819"/>
                <a:gd name="connsiteY56" fmla="*/ 197748 h 475356"/>
                <a:gd name="connsiteX57" fmla="*/ 841058 w 1226819"/>
                <a:gd name="connsiteY57" fmla="*/ 191093 h 475356"/>
                <a:gd name="connsiteX58" fmla="*/ 811530 w 1226819"/>
                <a:gd name="connsiteY58" fmla="*/ 182537 h 475356"/>
                <a:gd name="connsiteX59" fmla="*/ 780098 w 1226819"/>
                <a:gd name="connsiteY59" fmla="*/ 173030 h 475356"/>
                <a:gd name="connsiteX60" fmla="*/ 746760 w 1226819"/>
                <a:gd name="connsiteY60" fmla="*/ 162572 h 475356"/>
                <a:gd name="connsiteX61" fmla="*/ 711518 w 1226819"/>
                <a:gd name="connsiteY61" fmla="*/ 151163 h 475356"/>
                <a:gd name="connsiteX62" fmla="*/ 675323 w 1226819"/>
                <a:gd name="connsiteY62" fmla="*/ 139755 h 475356"/>
                <a:gd name="connsiteX63" fmla="*/ 638175 w 1226819"/>
                <a:gd name="connsiteY63" fmla="*/ 127396 h 475356"/>
                <a:gd name="connsiteX64" fmla="*/ 601028 w 1226819"/>
                <a:gd name="connsiteY64" fmla="*/ 115036 h 475356"/>
                <a:gd name="connsiteX65" fmla="*/ 562928 w 1226819"/>
                <a:gd name="connsiteY65" fmla="*/ 102677 h 475356"/>
                <a:gd name="connsiteX66" fmla="*/ 526733 w 1226819"/>
                <a:gd name="connsiteY66" fmla="*/ 90318 h 475356"/>
                <a:gd name="connsiteX67" fmla="*/ 491490 w 1226819"/>
                <a:gd name="connsiteY67" fmla="*/ 78909 h 475356"/>
                <a:gd name="connsiteX68" fmla="*/ 457200 w 1226819"/>
                <a:gd name="connsiteY68" fmla="*/ 68451 h 475356"/>
                <a:gd name="connsiteX69" fmla="*/ 425768 w 1226819"/>
                <a:gd name="connsiteY69" fmla="*/ 58944 h 475356"/>
                <a:gd name="connsiteX70" fmla="*/ 395288 w 1226819"/>
                <a:gd name="connsiteY70" fmla="*/ 49437 h 475356"/>
                <a:gd name="connsiteX71" fmla="*/ 366713 w 1226819"/>
                <a:gd name="connsiteY71" fmla="*/ 41831 h 475356"/>
                <a:gd name="connsiteX72" fmla="*/ 358140 w 1226819"/>
                <a:gd name="connsiteY72" fmla="*/ 39930 h 475356"/>
                <a:gd name="connsiteX73" fmla="*/ 325755 w 1226819"/>
                <a:gd name="connsiteY73" fmla="*/ 32324 h 475356"/>
                <a:gd name="connsiteX74" fmla="*/ 293370 w 1226819"/>
                <a:gd name="connsiteY74" fmla="*/ 25669 h 475356"/>
                <a:gd name="connsiteX75" fmla="*/ 261938 w 1226819"/>
                <a:gd name="connsiteY75" fmla="*/ 19965 h 475356"/>
                <a:gd name="connsiteX76" fmla="*/ 227648 w 1226819"/>
                <a:gd name="connsiteY76" fmla="*/ 15211 h 475356"/>
                <a:gd name="connsiteX77" fmla="*/ 192405 w 1226819"/>
                <a:gd name="connsiteY77" fmla="*/ 11409 h 475356"/>
                <a:gd name="connsiteX78" fmla="*/ 153353 w 1226819"/>
                <a:gd name="connsiteY78" fmla="*/ 7606 h 475356"/>
                <a:gd name="connsiteX79" fmla="*/ 114300 w 1226819"/>
                <a:gd name="connsiteY79" fmla="*/ 5704 h 475356"/>
                <a:gd name="connsiteX80" fmla="*/ 75248 w 1226819"/>
                <a:gd name="connsiteY80" fmla="*/ 2852 h 475356"/>
                <a:gd name="connsiteX81" fmla="*/ 41910 w 1226819"/>
                <a:gd name="connsiteY81" fmla="*/ 1901 h 475356"/>
                <a:gd name="connsiteX82" fmla="*/ 18098 w 1226819"/>
                <a:gd name="connsiteY82" fmla="*/ 951 h 475356"/>
                <a:gd name="connsiteX83" fmla="*/ 4763 w 1226819"/>
                <a:gd name="connsiteY83" fmla="*/ 0 h 475356"/>
                <a:gd name="connsiteX84" fmla="*/ 953 w 1226819"/>
                <a:gd name="connsiteY84" fmla="*/ 0 h 475356"/>
                <a:gd name="connsiteX85" fmla="*/ 0 w 1226819"/>
                <a:gd name="connsiteY85" fmla="*/ 0 h 475356"/>
                <a:gd name="connsiteX86" fmla="*/ 0 w 1226819"/>
                <a:gd name="connsiteY86" fmla="*/ 237678 h 475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26819" h="475356">
                  <a:moveTo>
                    <a:pt x="0" y="237678"/>
                  </a:moveTo>
                  <a:lnTo>
                    <a:pt x="1905" y="237678"/>
                  </a:lnTo>
                  <a:lnTo>
                    <a:pt x="9525" y="237678"/>
                  </a:lnTo>
                  <a:lnTo>
                    <a:pt x="27623" y="238629"/>
                  </a:lnTo>
                  <a:lnTo>
                    <a:pt x="56198" y="239580"/>
                  </a:lnTo>
                  <a:lnTo>
                    <a:pt x="92393" y="241481"/>
                  </a:lnTo>
                  <a:lnTo>
                    <a:pt x="132398" y="244333"/>
                  </a:lnTo>
                  <a:lnTo>
                    <a:pt x="171450" y="247185"/>
                  </a:lnTo>
                  <a:lnTo>
                    <a:pt x="208598" y="250038"/>
                  </a:lnTo>
                  <a:lnTo>
                    <a:pt x="243840" y="254791"/>
                  </a:lnTo>
                  <a:lnTo>
                    <a:pt x="276225" y="259545"/>
                  </a:lnTo>
                  <a:lnTo>
                    <a:pt x="307658" y="265249"/>
                  </a:lnTo>
                  <a:lnTo>
                    <a:pt x="340043" y="272855"/>
                  </a:lnTo>
                  <a:lnTo>
                    <a:pt x="358140" y="277608"/>
                  </a:lnTo>
                  <a:lnTo>
                    <a:pt x="386715" y="285214"/>
                  </a:lnTo>
                  <a:lnTo>
                    <a:pt x="416243" y="293770"/>
                  </a:lnTo>
                  <a:lnTo>
                    <a:pt x="447675" y="303277"/>
                  </a:lnTo>
                  <a:lnTo>
                    <a:pt x="481013" y="313735"/>
                  </a:lnTo>
                  <a:lnTo>
                    <a:pt x="516255" y="324193"/>
                  </a:lnTo>
                  <a:lnTo>
                    <a:pt x="552450" y="336552"/>
                  </a:lnTo>
                  <a:lnTo>
                    <a:pt x="589598" y="348912"/>
                  </a:lnTo>
                  <a:lnTo>
                    <a:pt x="626745" y="361271"/>
                  </a:lnTo>
                  <a:lnTo>
                    <a:pt x="663893" y="373630"/>
                  </a:lnTo>
                  <a:lnTo>
                    <a:pt x="701040" y="385039"/>
                  </a:lnTo>
                  <a:lnTo>
                    <a:pt x="736283" y="396447"/>
                  </a:lnTo>
                  <a:lnTo>
                    <a:pt x="769620" y="406905"/>
                  </a:lnTo>
                  <a:lnTo>
                    <a:pt x="802005" y="416412"/>
                  </a:lnTo>
                  <a:lnTo>
                    <a:pt x="832485" y="425919"/>
                  </a:lnTo>
                  <a:lnTo>
                    <a:pt x="861060" y="433525"/>
                  </a:lnTo>
                  <a:lnTo>
                    <a:pt x="869633" y="435427"/>
                  </a:lnTo>
                  <a:lnTo>
                    <a:pt x="902018" y="443983"/>
                  </a:lnTo>
                  <a:lnTo>
                    <a:pt x="934403" y="450638"/>
                  </a:lnTo>
                  <a:lnTo>
                    <a:pt x="965835" y="456342"/>
                  </a:lnTo>
                  <a:lnTo>
                    <a:pt x="999173" y="460145"/>
                  </a:lnTo>
                  <a:lnTo>
                    <a:pt x="1035368" y="464899"/>
                  </a:lnTo>
                  <a:lnTo>
                    <a:pt x="1073468" y="467751"/>
                  </a:lnTo>
                  <a:lnTo>
                    <a:pt x="1113473" y="470603"/>
                  </a:lnTo>
                  <a:lnTo>
                    <a:pt x="1152525" y="472504"/>
                  </a:lnTo>
                  <a:lnTo>
                    <a:pt x="1185863" y="473455"/>
                  </a:lnTo>
                  <a:lnTo>
                    <a:pt x="1209675" y="474406"/>
                  </a:lnTo>
                  <a:lnTo>
                    <a:pt x="1223010" y="475357"/>
                  </a:lnTo>
                  <a:lnTo>
                    <a:pt x="1226820" y="475357"/>
                  </a:lnTo>
                  <a:lnTo>
                    <a:pt x="1226820" y="475357"/>
                  </a:lnTo>
                  <a:lnTo>
                    <a:pt x="1226820" y="237678"/>
                  </a:lnTo>
                  <a:lnTo>
                    <a:pt x="1225868" y="237678"/>
                  </a:lnTo>
                  <a:lnTo>
                    <a:pt x="1218248" y="237678"/>
                  </a:lnTo>
                  <a:lnTo>
                    <a:pt x="1200150" y="236728"/>
                  </a:lnTo>
                  <a:lnTo>
                    <a:pt x="1171575" y="235777"/>
                  </a:lnTo>
                  <a:lnTo>
                    <a:pt x="1135380" y="233875"/>
                  </a:lnTo>
                  <a:lnTo>
                    <a:pt x="1095375" y="231974"/>
                  </a:lnTo>
                  <a:lnTo>
                    <a:pt x="1056323" y="229122"/>
                  </a:lnTo>
                  <a:lnTo>
                    <a:pt x="1019175" y="225319"/>
                  </a:lnTo>
                  <a:lnTo>
                    <a:pt x="983932" y="221516"/>
                  </a:lnTo>
                  <a:lnTo>
                    <a:pt x="951548" y="215812"/>
                  </a:lnTo>
                  <a:lnTo>
                    <a:pt x="920115" y="210108"/>
                  </a:lnTo>
                  <a:lnTo>
                    <a:pt x="887730" y="202502"/>
                  </a:lnTo>
                  <a:lnTo>
                    <a:pt x="869633" y="197748"/>
                  </a:lnTo>
                  <a:lnTo>
                    <a:pt x="841058" y="191093"/>
                  </a:lnTo>
                  <a:lnTo>
                    <a:pt x="811530" y="182537"/>
                  </a:lnTo>
                  <a:lnTo>
                    <a:pt x="780098" y="173030"/>
                  </a:lnTo>
                  <a:lnTo>
                    <a:pt x="746760" y="162572"/>
                  </a:lnTo>
                  <a:lnTo>
                    <a:pt x="711518" y="151163"/>
                  </a:lnTo>
                  <a:lnTo>
                    <a:pt x="675323" y="139755"/>
                  </a:lnTo>
                  <a:lnTo>
                    <a:pt x="638175" y="127396"/>
                  </a:lnTo>
                  <a:lnTo>
                    <a:pt x="601028" y="115036"/>
                  </a:lnTo>
                  <a:lnTo>
                    <a:pt x="562928" y="102677"/>
                  </a:lnTo>
                  <a:lnTo>
                    <a:pt x="526733" y="90318"/>
                  </a:lnTo>
                  <a:lnTo>
                    <a:pt x="491490" y="78909"/>
                  </a:lnTo>
                  <a:lnTo>
                    <a:pt x="457200" y="68451"/>
                  </a:lnTo>
                  <a:lnTo>
                    <a:pt x="425768" y="58944"/>
                  </a:lnTo>
                  <a:lnTo>
                    <a:pt x="395288" y="49437"/>
                  </a:lnTo>
                  <a:lnTo>
                    <a:pt x="366713" y="41831"/>
                  </a:lnTo>
                  <a:lnTo>
                    <a:pt x="358140" y="39930"/>
                  </a:lnTo>
                  <a:lnTo>
                    <a:pt x="325755" y="32324"/>
                  </a:lnTo>
                  <a:lnTo>
                    <a:pt x="293370" y="25669"/>
                  </a:lnTo>
                  <a:lnTo>
                    <a:pt x="261938" y="19965"/>
                  </a:lnTo>
                  <a:lnTo>
                    <a:pt x="227648" y="15211"/>
                  </a:lnTo>
                  <a:lnTo>
                    <a:pt x="192405" y="11409"/>
                  </a:lnTo>
                  <a:lnTo>
                    <a:pt x="153353" y="7606"/>
                  </a:lnTo>
                  <a:lnTo>
                    <a:pt x="114300" y="5704"/>
                  </a:lnTo>
                  <a:lnTo>
                    <a:pt x="75248" y="2852"/>
                  </a:lnTo>
                  <a:lnTo>
                    <a:pt x="41910" y="1901"/>
                  </a:lnTo>
                  <a:lnTo>
                    <a:pt x="18098" y="951"/>
                  </a:lnTo>
                  <a:lnTo>
                    <a:pt x="4763" y="0"/>
                  </a:lnTo>
                  <a:lnTo>
                    <a:pt x="953" y="0"/>
                  </a:lnTo>
                  <a:lnTo>
                    <a:pt x="0" y="0"/>
                  </a:lnTo>
                  <a:lnTo>
                    <a:pt x="0" y="237678"/>
                  </a:lnTo>
                  <a:close/>
                </a:path>
              </a:pathLst>
            </a:custGeom>
            <a:noFill/>
            <a:ln w="9525" cap="flat">
              <a:solidFill>
                <a:srgbClr val="FCAF17"/>
              </a:solidFill>
              <a:prstDash val="solid"/>
              <a:miter/>
            </a:ln>
          </p:spPr>
          <p:txBody>
            <a:bodyPr rtlCol="0" anchor="ctr"/>
            <a:lstStyle/>
            <a:p>
              <a:endParaRPr lang="en-US" sz="1050"/>
            </a:p>
          </p:txBody>
        </p:sp>
        <p:sp>
          <p:nvSpPr>
            <p:cNvPr id="212" name="Freeform 264">
              <a:extLst>
                <a:ext uri="{FF2B5EF4-FFF2-40B4-BE49-F238E27FC236}">
                  <a16:creationId xmlns:a16="http://schemas.microsoft.com/office/drawing/2014/main" id="{803A0861-D33E-63C2-4492-06DD1405E12D}"/>
                </a:ext>
              </a:extLst>
            </p:cNvPr>
            <p:cNvSpPr/>
            <p:nvPr/>
          </p:nvSpPr>
          <p:spPr>
            <a:xfrm>
              <a:off x="3987133" y="2214624"/>
              <a:ext cx="1226819" cy="475356"/>
            </a:xfrm>
            <a:custGeom>
              <a:avLst/>
              <a:gdLst>
                <a:gd name="connsiteX0" fmla="*/ 0 w 1226819"/>
                <a:gd name="connsiteY0" fmla="*/ 237678 h 475356"/>
                <a:gd name="connsiteX1" fmla="*/ 1905 w 1226819"/>
                <a:gd name="connsiteY1" fmla="*/ 237678 h 475356"/>
                <a:gd name="connsiteX2" fmla="*/ 9525 w 1226819"/>
                <a:gd name="connsiteY2" fmla="*/ 237678 h 475356"/>
                <a:gd name="connsiteX3" fmla="*/ 27623 w 1226819"/>
                <a:gd name="connsiteY3" fmla="*/ 238629 h 475356"/>
                <a:gd name="connsiteX4" fmla="*/ 56198 w 1226819"/>
                <a:gd name="connsiteY4" fmla="*/ 239580 h 475356"/>
                <a:gd name="connsiteX5" fmla="*/ 92393 w 1226819"/>
                <a:gd name="connsiteY5" fmla="*/ 241481 h 475356"/>
                <a:gd name="connsiteX6" fmla="*/ 132398 w 1226819"/>
                <a:gd name="connsiteY6" fmla="*/ 244333 h 475356"/>
                <a:gd name="connsiteX7" fmla="*/ 171450 w 1226819"/>
                <a:gd name="connsiteY7" fmla="*/ 247185 h 475356"/>
                <a:gd name="connsiteX8" fmla="*/ 208598 w 1226819"/>
                <a:gd name="connsiteY8" fmla="*/ 250038 h 475356"/>
                <a:gd name="connsiteX9" fmla="*/ 243840 w 1226819"/>
                <a:gd name="connsiteY9" fmla="*/ 254791 h 475356"/>
                <a:gd name="connsiteX10" fmla="*/ 276225 w 1226819"/>
                <a:gd name="connsiteY10" fmla="*/ 259545 h 475356"/>
                <a:gd name="connsiteX11" fmla="*/ 307658 w 1226819"/>
                <a:gd name="connsiteY11" fmla="*/ 265249 h 475356"/>
                <a:gd name="connsiteX12" fmla="*/ 340043 w 1226819"/>
                <a:gd name="connsiteY12" fmla="*/ 272855 h 475356"/>
                <a:gd name="connsiteX13" fmla="*/ 358140 w 1226819"/>
                <a:gd name="connsiteY13" fmla="*/ 277608 h 475356"/>
                <a:gd name="connsiteX14" fmla="*/ 386715 w 1226819"/>
                <a:gd name="connsiteY14" fmla="*/ 285214 h 475356"/>
                <a:gd name="connsiteX15" fmla="*/ 416243 w 1226819"/>
                <a:gd name="connsiteY15" fmla="*/ 293770 h 475356"/>
                <a:gd name="connsiteX16" fmla="*/ 447675 w 1226819"/>
                <a:gd name="connsiteY16" fmla="*/ 303277 h 475356"/>
                <a:gd name="connsiteX17" fmla="*/ 481013 w 1226819"/>
                <a:gd name="connsiteY17" fmla="*/ 313735 h 475356"/>
                <a:gd name="connsiteX18" fmla="*/ 516255 w 1226819"/>
                <a:gd name="connsiteY18" fmla="*/ 324193 h 475356"/>
                <a:gd name="connsiteX19" fmla="*/ 552450 w 1226819"/>
                <a:gd name="connsiteY19" fmla="*/ 336552 h 475356"/>
                <a:gd name="connsiteX20" fmla="*/ 589598 w 1226819"/>
                <a:gd name="connsiteY20" fmla="*/ 348912 h 475356"/>
                <a:gd name="connsiteX21" fmla="*/ 626745 w 1226819"/>
                <a:gd name="connsiteY21" fmla="*/ 361271 h 475356"/>
                <a:gd name="connsiteX22" fmla="*/ 663893 w 1226819"/>
                <a:gd name="connsiteY22" fmla="*/ 373630 h 475356"/>
                <a:gd name="connsiteX23" fmla="*/ 701040 w 1226819"/>
                <a:gd name="connsiteY23" fmla="*/ 385039 h 475356"/>
                <a:gd name="connsiteX24" fmla="*/ 736283 w 1226819"/>
                <a:gd name="connsiteY24" fmla="*/ 396447 h 475356"/>
                <a:gd name="connsiteX25" fmla="*/ 769620 w 1226819"/>
                <a:gd name="connsiteY25" fmla="*/ 406905 h 475356"/>
                <a:gd name="connsiteX26" fmla="*/ 802005 w 1226819"/>
                <a:gd name="connsiteY26" fmla="*/ 416412 h 475356"/>
                <a:gd name="connsiteX27" fmla="*/ 832485 w 1226819"/>
                <a:gd name="connsiteY27" fmla="*/ 425919 h 475356"/>
                <a:gd name="connsiteX28" fmla="*/ 861060 w 1226819"/>
                <a:gd name="connsiteY28" fmla="*/ 433525 h 475356"/>
                <a:gd name="connsiteX29" fmla="*/ 869633 w 1226819"/>
                <a:gd name="connsiteY29" fmla="*/ 435427 h 475356"/>
                <a:gd name="connsiteX30" fmla="*/ 902018 w 1226819"/>
                <a:gd name="connsiteY30" fmla="*/ 443983 h 475356"/>
                <a:gd name="connsiteX31" fmla="*/ 934403 w 1226819"/>
                <a:gd name="connsiteY31" fmla="*/ 450638 h 475356"/>
                <a:gd name="connsiteX32" fmla="*/ 965835 w 1226819"/>
                <a:gd name="connsiteY32" fmla="*/ 456342 h 475356"/>
                <a:gd name="connsiteX33" fmla="*/ 999173 w 1226819"/>
                <a:gd name="connsiteY33" fmla="*/ 460145 h 475356"/>
                <a:gd name="connsiteX34" fmla="*/ 1035368 w 1226819"/>
                <a:gd name="connsiteY34" fmla="*/ 464899 h 475356"/>
                <a:gd name="connsiteX35" fmla="*/ 1073468 w 1226819"/>
                <a:gd name="connsiteY35" fmla="*/ 467751 h 475356"/>
                <a:gd name="connsiteX36" fmla="*/ 1113473 w 1226819"/>
                <a:gd name="connsiteY36" fmla="*/ 470603 h 475356"/>
                <a:gd name="connsiteX37" fmla="*/ 1152525 w 1226819"/>
                <a:gd name="connsiteY37" fmla="*/ 472504 h 475356"/>
                <a:gd name="connsiteX38" fmla="*/ 1185863 w 1226819"/>
                <a:gd name="connsiteY38" fmla="*/ 473455 h 475356"/>
                <a:gd name="connsiteX39" fmla="*/ 1209675 w 1226819"/>
                <a:gd name="connsiteY39" fmla="*/ 474406 h 475356"/>
                <a:gd name="connsiteX40" fmla="*/ 1223010 w 1226819"/>
                <a:gd name="connsiteY40" fmla="*/ 475357 h 475356"/>
                <a:gd name="connsiteX41" fmla="*/ 1226820 w 1226819"/>
                <a:gd name="connsiteY41" fmla="*/ 475357 h 475356"/>
                <a:gd name="connsiteX42" fmla="*/ 1226820 w 1226819"/>
                <a:gd name="connsiteY42" fmla="*/ 475357 h 475356"/>
                <a:gd name="connsiteX43" fmla="*/ 1226820 w 1226819"/>
                <a:gd name="connsiteY43" fmla="*/ 237678 h 475356"/>
                <a:gd name="connsiteX44" fmla="*/ 1225868 w 1226819"/>
                <a:gd name="connsiteY44" fmla="*/ 237678 h 475356"/>
                <a:gd name="connsiteX45" fmla="*/ 1218248 w 1226819"/>
                <a:gd name="connsiteY45" fmla="*/ 237678 h 475356"/>
                <a:gd name="connsiteX46" fmla="*/ 1200150 w 1226819"/>
                <a:gd name="connsiteY46" fmla="*/ 236728 h 475356"/>
                <a:gd name="connsiteX47" fmla="*/ 1171575 w 1226819"/>
                <a:gd name="connsiteY47" fmla="*/ 235777 h 475356"/>
                <a:gd name="connsiteX48" fmla="*/ 1135380 w 1226819"/>
                <a:gd name="connsiteY48" fmla="*/ 233875 h 475356"/>
                <a:gd name="connsiteX49" fmla="*/ 1095375 w 1226819"/>
                <a:gd name="connsiteY49" fmla="*/ 231974 h 475356"/>
                <a:gd name="connsiteX50" fmla="*/ 1056323 w 1226819"/>
                <a:gd name="connsiteY50" fmla="*/ 229122 h 475356"/>
                <a:gd name="connsiteX51" fmla="*/ 1019175 w 1226819"/>
                <a:gd name="connsiteY51" fmla="*/ 225319 h 475356"/>
                <a:gd name="connsiteX52" fmla="*/ 983932 w 1226819"/>
                <a:gd name="connsiteY52" fmla="*/ 221516 h 475356"/>
                <a:gd name="connsiteX53" fmla="*/ 951548 w 1226819"/>
                <a:gd name="connsiteY53" fmla="*/ 215812 h 475356"/>
                <a:gd name="connsiteX54" fmla="*/ 920115 w 1226819"/>
                <a:gd name="connsiteY54" fmla="*/ 210108 h 475356"/>
                <a:gd name="connsiteX55" fmla="*/ 887730 w 1226819"/>
                <a:gd name="connsiteY55" fmla="*/ 202502 h 475356"/>
                <a:gd name="connsiteX56" fmla="*/ 869633 w 1226819"/>
                <a:gd name="connsiteY56" fmla="*/ 197748 h 475356"/>
                <a:gd name="connsiteX57" fmla="*/ 841058 w 1226819"/>
                <a:gd name="connsiteY57" fmla="*/ 191093 h 475356"/>
                <a:gd name="connsiteX58" fmla="*/ 811530 w 1226819"/>
                <a:gd name="connsiteY58" fmla="*/ 182537 h 475356"/>
                <a:gd name="connsiteX59" fmla="*/ 780098 w 1226819"/>
                <a:gd name="connsiteY59" fmla="*/ 173030 h 475356"/>
                <a:gd name="connsiteX60" fmla="*/ 746760 w 1226819"/>
                <a:gd name="connsiteY60" fmla="*/ 162572 h 475356"/>
                <a:gd name="connsiteX61" fmla="*/ 711518 w 1226819"/>
                <a:gd name="connsiteY61" fmla="*/ 151163 h 475356"/>
                <a:gd name="connsiteX62" fmla="*/ 675323 w 1226819"/>
                <a:gd name="connsiteY62" fmla="*/ 139755 h 475356"/>
                <a:gd name="connsiteX63" fmla="*/ 638175 w 1226819"/>
                <a:gd name="connsiteY63" fmla="*/ 127396 h 475356"/>
                <a:gd name="connsiteX64" fmla="*/ 601028 w 1226819"/>
                <a:gd name="connsiteY64" fmla="*/ 115036 h 475356"/>
                <a:gd name="connsiteX65" fmla="*/ 562928 w 1226819"/>
                <a:gd name="connsiteY65" fmla="*/ 102677 h 475356"/>
                <a:gd name="connsiteX66" fmla="*/ 526733 w 1226819"/>
                <a:gd name="connsiteY66" fmla="*/ 90318 h 475356"/>
                <a:gd name="connsiteX67" fmla="*/ 491490 w 1226819"/>
                <a:gd name="connsiteY67" fmla="*/ 78909 h 475356"/>
                <a:gd name="connsiteX68" fmla="*/ 457200 w 1226819"/>
                <a:gd name="connsiteY68" fmla="*/ 68451 h 475356"/>
                <a:gd name="connsiteX69" fmla="*/ 425768 w 1226819"/>
                <a:gd name="connsiteY69" fmla="*/ 58944 h 475356"/>
                <a:gd name="connsiteX70" fmla="*/ 395288 w 1226819"/>
                <a:gd name="connsiteY70" fmla="*/ 49437 h 475356"/>
                <a:gd name="connsiteX71" fmla="*/ 366713 w 1226819"/>
                <a:gd name="connsiteY71" fmla="*/ 41831 h 475356"/>
                <a:gd name="connsiteX72" fmla="*/ 358140 w 1226819"/>
                <a:gd name="connsiteY72" fmla="*/ 39930 h 475356"/>
                <a:gd name="connsiteX73" fmla="*/ 325755 w 1226819"/>
                <a:gd name="connsiteY73" fmla="*/ 32324 h 475356"/>
                <a:gd name="connsiteX74" fmla="*/ 293370 w 1226819"/>
                <a:gd name="connsiteY74" fmla="*/ 25669 h 475356"/>
                <a:gd name="connsiteX75" fmla="*/ 261938 w 1226819"/>
                <a:gd name="connsiteY75" fmla="*/ 19965 h 475356"/>
                <a:gd name="connsiteX76" fmla="*/ 227648 w 1226819"/>
                <a:gd name="connsiteY76" fmla="*/ 15211 h 475356"/>
                <a:gd name="connsiteX77" fmla="*/ 192405 w 1226819"/>
                <a:gd name="connsiteY77" fmla="*/ 11409 h 475356"/>
                <a:gd name="connsiteX78" fmla="*/ 153353 w 1226819"/>
                <a:gd name="connsiteY78" fmla="*/ 7606 h 475356"/>
                <a:gd name="connsiteX79" fmla="*/ 114300 w 1226819"/>
                <a:gd name="connsiteY79" fmla="*/ 5704 h 475356"/>
                <a:gd name="connsiteX80" fmla="*/ 75248 w 1226819"/>
                <a:gd name="connsiteY80" fmla="*/ 2852 h 475356"/>
                <a:gd name="connsiteX81" fmla="*/ 41910 w 1226819"/>
                <a:gd name="connsiteY81" fmla="*/ 1901 h 475356"/>
                <a:gd name="connsiteX82" fmla="*/ 18098 w 1226819"/>
                <a:gd name="connsiteY82" fmla="*/ 951 h 475356"/>
                <a:gd name="connsiteX83" fmla="*/ 4763 w 1226819"/>
                <a:gd name="connsiteY83" fmla="*/ 0 h 475356"/>
                <a:gd name="connsiteX84" fmla="*/ 953 w 1226819"/>
                <a:gd name="connsiteY84" fmla="*/ 0 h 475356"/>
                <a:gd name="connsiteX85" fmla="*/ 0 w 1226819"/>
                <a:gd name="connsiteY85" fmla="*/ 0 h 475356"/>
                <a:gd name="connsiteX86" fmla="*/ 0 w 1226819"/>
                <a:gd name="connsiteY86" fmla="*/ 237678 h 475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26819" h="475356">
                  <a:moveTo>
                    <a:pt x="0" y="237678"/>
                  </a:moveTo>
                  <a:lnTo>
                    <a:pt x="1905" y="237678"/>
                  </a:lnTo>
                  <a:lnTo>
                    <a:pt x="9525" y="237678"/>
                  </a:lnTo>
                  <a:lnTo>
                    <a:pt x="27623" y="238629"/>
                  </a:lnTo>
                  <a:lnTo>
                    <a:pt x="56198" y="239580"/>
                  </a:lnTo>
                  <a:lnTo>
                    <a:pt x="92393" y="241481"/>
                  </a:lnTo>
                  <a:lnTo>
                    <a:pt x="132398" y="244333"/>
                  </a:lnTo>
                  <a:lnTo>
                    <a:pt x="171450" y="247185"/>
                  </a:lnTo>
                  <a:lnTo>
                    <a:pt x="208598" y="250038"/>
                  </a:lnTo>
                  <a:lnTo>
                    <a:pt x="243840" y="254791"/>
                  </a:lnTo>
                  <a:lnTo>
                    <a:pt x="276225" y="259545"/>
                  </a:lnTo>
                  <a:lnTo>
                    <a:pt x="307658" y="265249"/>
                  </a:lnTo>
                  <a:lnTo>
                    <a:pt x="340043" y="272855"/>
                  </a:lnTo>
                  <a:lnTo>
                    <a:pt x="358140" y="277608"/>
                  </a:lnTo>
                  <a:lnTo>
                    <a:pt x="386715" y="285214"/>
                  </a:lnTo>
                  <a:lnTo>
                    <a:pt x="416243" y="293770"/>
                  </a:lnTo>
                  <a:lnTo>
                    <a:pt x="447675" y="303277"/>
                  </a:lnTo>
                  <a:lnTo>
                    <a:pt x="481013" y="313735"/>
                  </a:lnTo>
                  <a:lnTo>
                    <a:pt x="516255" y="324193"/>
                  </a:lnTo>
                  <a:lnTo>
                    <a:pt x="552450" y="336552"/>
                  </a:lnTo>
                  <a:lnTo>
                    <a:pt x="589598" y="348912"/>
                  </a:lnTo>
                  <a:lnTo>
                    <a:pt x="626745" y="361271"/>
                  </a:lnTo>
                  <a:lnTo>
                    <a:pt x="663893" y="373630"/>
                  </a:lnTo>
                  <a:lnTo>
                    <a:pt x="701040" y="385039"/>
                  </a:lnTo>
                  <a:lnTo>
                    <a:pt x="736283" y="396447"/>
                  </a:lnTo>
                  <a:lnTo>
                    <a:pt x="769620" y="406905"/>
                  </a:lnTo>
                  <a:lnTo>
                    <a:pt x="802005" y="416412"/>
                  </a:lnTo>
                  <a:lnTo>
                    <a:pt x="832485" y="425919"/>
                  </a:lnTo>
                  <a:lnTo>
                    <a:pt x="861060" y="433525"/>
                  </a:lnTo>
                  <a:lnTo>
                    <a:pt x="869633" y="435427"/>
                  </a:lnTo>
                  <a:lnTo>
                    <a:pt x="902018" y="443983"/>
                  </a:lnTo>
                  <a:lnTo>
                    <a:pt x="934403" y="450638"/>
                  </a:lnTo>
                  <a:lnTo>
                    <a:pt x="965835" y="456342"/>
                  </a:lnTo>
                  <a:lnTo>
                    <a:pt x="999173" y="460145"/>
                  </a:lnTo>
                  <a:lnTo>
                    <a:pt x="1035368" y="464899"/>
                  </a:lnTo>
                  <a:lnTo>
                    <a:pt x="1073468" y="467751"/>
                  </a:lnTo>
                  <a:lnTo>
                    <a:pt x="1113473" y="470603"/>
                  </a:lnTo>
                  <a:lnTo>
                    <a:pt x="1152525" y="472504"/>
                  </a:lnTo>
                  <a:lnTo>
                    <a:pt x="1185863" y="473455"/>
                  </a:lnTo>
                  <a:lnTo>
                    <a:pt x="1209675" y="474406"/>
                  </a:lnTo>
                  <a:lnTo>
                    <a:pt x="1223010" y="475357"/>
                  </a:lnTo>
                  <a:lnTo>
                    <a:pt x="1226820" y="475357"/>
                  </a:lnTo>
                  <a:lnTo>
                    <a:pt x="1226820" y="475357"/>
                  </a:lnTo>
                  <a:lnTo>
                    <a:pt x="1226820" y="237678"/>
                  </a:lnTo>
                  <a:lnTo>
                    <a:pt x="1225868" y="237678"/>
                  </a:lnTo>
                  <a:lnTo>
                    <a:pt x="1218248" y="237678"/>
                  </a:lnTo>
                  <a:lnTo>
                    <a:pt x="1200150" y="236728"/>
                  </a:lnTo>
                  <a:lnTo>
                    <a:pt x="1171575" y="235777"/>
                  </a:lnTo>
                  <a:lnTo>
                    <a:pt x="1135380" y="233875"/>
                  </a:lnTo>
                  <a:lnTo>
                    <a:pt x="1095375" y="231974"/>
                  </a:lnTo>
                  <a:lnTo>
                    <a:pt x="1056323" y="229122"/>
                  </a:lnTo>
                  <a:lnTo>
                    <a:pt x="1019175" y="225319"/>
                  </a:lnTo>
                  <a:lnTo>
                    <a:pt x="983932" y="221516"/>
                  </a:lnTo>
                  <a:lnTo>
                    <a:pt x="951548" y="215812"/>
                  </a:lnTo>
                  <a:lnTo>
                    <a:pt x="920115" y="210108"/>
                  </a:lnTo>
                  <a:lnTo>
                    <a:pt x="887730" y="202502"/>
                  </a:lnTo>
                  <a:lnTo>
                    <a:pt x="869633" y="197748"/>
                  </a:lnTo>
                  <a:lnTo>
                    <a:pt x="841058" y="191093"/>
                  </a:lnTo>
                  <a:lnTo>
                    <a:pt x="811530" y="182537"/>
                  </a:lnTo>
                  <a:lnTo>
                    <a:pt x="780098" y="173030"/>
                  </a:lnTo>
                  <a:lnTo>
                    <a:pt x="746760" y="162572"/>
                  </a:lnTo>
                  <a:lnTo>
                    <a:pt x="711518" y="151163"/>
                  </a:lnTo>
                  <a:lnTo>
                    <a:pt x="675323" y="139755"/>
                  </a:lnTo>
                  <a:lnTo>
                    <a:pt x="638175" y="127396"/>
                  </a:lnTo>
                  <a:lnTo>
                    <a:pt x="601028" y="115036"/>
                  </a:lnTo>
                  <a:lnTo>
                    <a:pt x="562928" y="102677"/>
                  </a:lnTo>
                  <a:lnTo>
                    <a:pt x="526733" y="90318"/>
                  </a:lnTo>
                  <a:lnTo>
                    <a:pt x="491490" y="78909"/>
                  </a:lnTo>
                  <a:lnTo>
                    <a:pt x="457200" y="68451"/>
                  </a:lnTo>
                  <a:lnTo>
                    <a:pt x="425768" y="58944"/>
                  </a:lnTo>
                  <a:lnTo>
                    <a:pt x="395288" y="49437"/>
                  </a:lnTo>
                  <a:lnTo>
                    <a:pt x="366713" y="41831"/>
                  </a:lnTo>
                  <a:lnTo>
                    <a:pt x="358140" y="39930"/>
                  </a:lnTo>
                  <a:lnTo>
                    <a:pt x="325755" y="32324"/>
                  </a:lnTo>
                  <a:lnTo>
                    <a:pt x="293370" y="25669"/>
                  </a:lnTo>
                  <a:lnTo>
                    <a:pt x="261938" y="19965"/>
                  </a:lnTo>
                  <a:lnTo>
                    <a:pt x="227648" y="15211"/>
                  </a:lnTo>
                  <a:lnTo>
                    <a:pt x="192405" y="11409"/>
                  </a:lnTo>
                  <a:lnTo>
                    <a:pt x="153353" y="7606"/>
                  </a:lnTo>
                  <a:lnTo>
                    <a:pt x="114300" y="5704"/>
                  </a:lnTo>
                  <a:lnTo>
                    <a:pt x="75248" y="2852"/>
                  </a:lnTo>
                  <a:lnTo>
                    <a:pt x="41910" y="1901"/>
                  </a:lnTo>
                  <a:lnTo>
                    <a:pt x="18098" y="951"/>
                  </a:lnTo>
                  <a:lnTo>
                    <a:pt x="4763" y="0"/>
                  </a:lnTo>
                  <a:lnTo>
                    <a:pt x="953" y="0"/>
                  </a:lnTo>
                  <a:lnTo>
                    <a:pt x="0" y="0"/>
                  </a:lnTo>
                  <a:lnTo>
                    <a:pt x="0" y="237678"/>
                  </a:lnTo>
                  <a:close/>
                </a:path>
              </a:pathLst>
            </a:custGeom>
            <a:solidFill>
              <a:srgbClr val="FCAF17">
                <a:alpha val="60000"/>
              </a:srgbClr>
            </a:solidFill>
            <a:ln w="9525" cap="flat">
              <a:noFill/>
              <a:prstDash val="solid"/>
              <a:miter/>
            </a:ln>
          </p:spPr>
          <p:txBody>
            <a:bodyPr rtlCol="0" anchor="ctr"/>
            <a:lstStyle/>
            <a:p>
              <a:endParaRPr lang="en-US" sz="1050"/>
            </a:p>
          </p:txBody>
        </p:sp>
        <p:sp>
          <p:nvSpPr>
            <p:cNvPr id="213" name="Freeform 265">
              <a:extLst>
                <a:ext uri="{FF2B5EF4-FFF2-40B4-BE49-F238E27FC236}">
                  <a16:creationId xmlns:a16="http://schemas.microsoft.com/office/drawing/2014/main" id="{32D0DB11-EEF3-505F-0194-6B379E0A05E8}"/>
                </a:ext>
              </a:extLst>
            </p:cNvPr>
            <p:cNvSpPr/>
            <p:nvPr/>
          </p:nvSpPr>
          <p:spPr>
            <a:xfrm>
              <a:off x="1534446" y="2689980"/>
              <a:ext cx="613410" cy="3562321"/>
            </a:xfrm>
            <a:custGeom>
              <a:avLst/>
              <a:gdLst>
                <a:gd name="connsiteX0" fmla="*/ 0 w 613410"/>
                <a:gd name="connsiteY0" fmla="*/ 0 h 3562321"/>
                <a:gd name="connsiteX1" fmla="*/ 613410 w 613410"/>
                <a:gd name="connsiteY1" fmla="*/ 0 h 3562321"/>
                <a:gd name="connsiteX2" fmla="*/ 613410 w 613410"/>
                <a:gd name="connsiteY2" fmla="*/ 3562322 h 3562321"/>
                <a:gd name="connsiteX3" fmla="*/ 0 w 613410"/>
                <a:gd name="connsiteY3" fmla="*/ 3562322 h 3562321"/>
              </a:gdLst>
              <a:ahLst/>
              <a:cxnLst>
                <a:cxn ang="0">
                  <a:pos x="connsiteX0" y="connsiteY0"/>
                </a:cxn>
                <a:cxn ang="0">
                  <a:pos x="connsiteX1" y="connsiteY1"/>
                </a:cxn>
                <a:cxn ang="0">
                  <a:pos x="connsiteX2" y="connsiteY2"/>
                </a:cxn>
                <a:cxn ang="0">
                  <a:pos x="connsiteX3" y="connsiteY3"/>
                </a:cxn>
              </a:cxnLst>
              <a:rect l="l" t="t" r="r" b="b"/>
              <a:pathLst>
                <a:path w="613410" h="3562321">
                  <a:moveTo>
                    <a:pt x="0" y="0"/>
                  </a:moveTo>
                  <a:lnTo>
                    <a:pt x="613410" y="0"/>
                  </a:lnTo>
                  <a:lnTo>
                    <a:pt x="613410" y="3562322"/>
                  </a:lnTo>
                  <a:lnTo>
                    <a:pt x="0" y="3562322"/>
                  </a:lnTo>
                  <a:close/>
                </a:path>
              </a:pathLst>
            </a:custGeom>
            <a:solidFill>
              <a:srgbClr val="BBBDBF"/>
            </a:solidFill>
            <a:ln w="9525" cap="flat">
              <a:noFill/>
              <a:prstDash val="solid"/>
              <a:miter/>
            </a:ln>
          </p:spPr>
          <p:txBody>
            <a:bodyPr rtlCol="0" anchor="ctr"/>
            <a:lstStyle/>
            <a:p>
              <a:endParaRPr lang="en-US" sz="1050"/>
            </a:p>
          </p:txBody>
        </p:sp>
        <p:sp>
          <p:nvSpPr>
            <p:cNvPr id="214" name="Freeform 266">
              <a:extLst>
                <a:ext uri="{FF2B5EF4-FFF2-40B4-BE49-F238E27FC236}">
                  <a16:creationId xmlns:a16="http://schemas.microsoft.com/office/drawing/2014/main" id="{BEA47744-02E8-5DBB-8F83-F65925C3BEF7}"/>
                </a:ext>
              </a:extLst>
            </p:cNvPr>
            <p:cNvSpPr/>
            <p:nvPr/>
          </p:nvSpPr>
          <p:spPr>
            <a:xfrm>
              <a:off x="1534446" y="2452302"/>
              <a:ext cx="613410" cy="237678"/>
            </a:xfrm>
            <a:custGeom>
              <a:avLst/>
              <a:gdLst>
                <a:gd name="connsiteX0" fmla="*/ 0 w 613410"/>
                <a:gd name="connsiteY0" fmla="*/ 0 h 237678"/>
                <a:gd name="connsiteX1" fmla="*/ 613410 w 613410"/>
                <a:gd name="connsiteY1" fmla="*/ 0 h 237678"/>
                <a:gd name="connsiteX2" fmla="*/ 613410 w 613410"/>
                <a:gd name="connsiteY2" fmla="*/ 237678 h 237678"/>
                <a:gd name="connsiteX3" fmla="*/ 0 w 613410"/>
                <a:gd name="connsiteY3" fmla="*/ 237678 h 237678"/>
              </a:gdLst>
              <a:ahLst/>
              <a:cxnLst>
                <a:cxn ang="0">
                  <a:pos x="connsiteX0" y="connsiteY0"/>
                </a:cxn>
                <a:cxn ang="0">
                  <a:pos x="connsiteX1" y="connsiteY1"/>
                </a:cxn>
                <a:cxn ang="0">
                  <a:pos x="connsiteX2" y="connsiteY2"/>
                </a:cxn>
                <a:cxn ang="0">
                  <a:pos x="connsiteX3" y="connsiteY3"/>
                </a:cxn>
              </a:cxnLst>
              <a:rect l="l" t="t" r="r" b="b"/>
              <a:pathLst>
                <a:path w="613410" h="237678">
                  <a:moveTo>
                    <a:pt x="0" y="0"/>
                  </a:moveTo>
                  <a:lnTo>
                    <a:pt x="613410" y="0"/>
                  </a:lnTo>
                  <a:lnTo>
                    <a:pt x="613410" y="237678"/>
                  </a:lnTo>
                  <a:lnTo>
                    <a:pt x="0" y="237678"/>
                  </a:lnTo>
                  <a:close/>
                </a:path>
              </a:pathLst>
            </a:custGeom>
            <a:solidFill>
              <a:srgbClr val="C1D42F"/>
            </a:solidFill>
            <a:ln w="9525" cap="flat">
              <a:noFill/>
              <a:prstDash val="solid"/>
              <a:miter/>
            </a:ln>
          </p:spPr>
          <p:txBody>
            <a:bodyPr rtlCol="0" anchor="ctr"/>
            <a:lstStyle/>
            <a:p>
              <a:endParaRPr lang="en-US" sz="1050"/>
            </a:p>
          </p:txBody>
        </p:sp>
        <p:sp>
          <p:nvSpPr>
            <p:cNvPr id="215" name="Freeform 267">
              <a:extLst>
                <a:ext uri="{FF2B5EF4-FFF2-40B4-BE49-F238E27FC236}">
                  <a16:creationId xmlns:a16="http://schemas.microsoft.com/office/drawing/2014/main" id="{237B5C78-9A53-9F51-A2B3-8138D41F17EE}"/>
                </a:ext>
              </a:extLst>
            </p:cNvPr>
            <p:cNvSpPr/>
            <p:nvPr/>
          </p:nvSpPr>
          <p:spPr>
            <a:xfrm>
              <a:off x="1534446" y="2209870"/>
              <a:ext cx="613410" cy="242431"/>
            </a:xfrm>
            <a:custGeom>
              <a:avLst/>
              <a:gdLst>
                <a:gd name="connsiteX0" fmla="*/ 0 w 613410"/>
                <a:gd name="connsiteY0" fmla="*/ 0 h 242431"/>
                <a:gd name="connsiteX1" fmla="*/ 613410 w 613410"/>
                <a:gd name="connsiteY1" fmla="*/ 0 h 242431"/>
                <a:gd name="connsiteX2" fmla="*/ 613410 w 613410"/>
                <a:gd name="connsiteY2" fmla="*/ 242432 h 242431"/>
                <a:gd name="connsiteX3" fmla="*/ 0 w 613410"/>
                <a:gd name="connsiteY3" fmla="*/ 242432 h 242431"/>
              </a:gdLst>
              <a:ahLst/>
              <a:cxnLst>
                <a:cxn ang="0">
                  <a:pos x="connsiteX0" y="connsiteY0"/>
                </a:cxn>
                <a:cxn ang="0">
                  <a:pos x="connsiteX1" y="connsiteY1"/>
                </a:cxn>
                <a:cxn ang="0">
                  <a:pos x="connsiteX2" y="connsiteY2"/>
                </a:cxn>
                <a:cxn ang="0">
                  <a:pos x="connsiteX3" y="connsiteY3"/>
                </a:cxn>
              </a:cxnLst>
              <a:rect l="l" t="t" r="r" b="b"/>
              <a:pathLst>
                <a:path w="613410" h="242431">
                  <a:moveTo>
                    <a:pt x="0" y="0"/>
                  </a:moveTo>
                  <a:lnTo>
                    <a:pt x="613410" y="0"/>
                  </a:lnTo>
                  <a:lnTo>
                    <a:pt x="613410" y="242432"/>
                  </a:lnTo>
                  <a:lnTo>
                    <a:pt x="0" y="242432"/>
                  </a:lnTo>
                  <a:close/>
                </a:path>
              </a:pathLst>
            </a:custGeom>
            <a:solidFill>
              <a:srgbClr val="831B55"/>
            </a:solidFill>
            <a:ln w="9525" cap="flat">
              <a:noFill/>
              <a:prstDash val="solid"/>
              <a:miter/>
            </a:ln>
          </p:spPr>
          <p:txBody>
            <a:bodyPr rtlCol="0" anchor="ctr"/>
            <a:lstStyle/>
            <a:p>
              <a:endParaRPr lang="en-US" sz="1050"/>
            </a:p>
          </p:txBody>
        </p:sp>
        <p:sp>
          <p:nvSpPr>
            <p:cNvPr id="216" name="Freeform 268">
              <a:extLst>
                <a:ext uri="{FF2B5EF4-FFF2-40B4-BE49-F238E27FC236}">
                  <a16:creationId xmlns:a16="http://schemas.microsoft.com/office/drawing/2014/main" id="{DD2F898A-7395-81DF-70F5-5BDA0C9D35BD}"/>
                </a:ext>
              </a:extLst>
            </p:cNvPr>
            <p:cNvSpPr/>
            <p:nvPr/>
          </p:nvSpPr>
          <p:spPr>
            <a:xfrm>
              <a:off x="3374676" y="2927659"/>
              <a:ext cx="613409" cy="3324643"/>
            </a:xfrm>
            <a:custGeom>
              <a:avLst/>
              <a:gdLst>
                <a:gd name="connsiteX0" fmla="*/ 0 w 613409"/>
                <a:gd name="connsiteY0" fmla="*/ 0 h 3324643"/>
                <a:gd name="connsiteX1" fmla="*/ 613410 w 613409"/>
                <a:gd name="connsiteY1" fmla="*/ 0 h 3324643"/>
                <a:gd name="connsiteX2" fmla="*/ 613410 w 613409"/>
                <a:gd name="connsiteY2" fmla="*/ 3324643 h 3324643"/>
                <a:gd name="connsiteX3" fmla="*/ 0 w 613409"/>
                <a:gd name="connsiteY3" fmla="*/ 3324643 h 3324643"/>
              </a:gdLst>
              <a:ahLst/>
              <a:cxnLst>
                <a:cxn ang="0">
                  <a:pos x="connsiteX0" y="connsiteY0"/>
                </a:cxn>
                <a:cxn ang="0">
                  <a:pos x="connsiteX1" y="connsiteY1"/>
                </a:cxn>
                <a:cxn ang="0">
                  <a:pos x="connsiteX2" y="connsiteY2"/>
                </a:cxn>
                <a:cxn ang="0">
                  <a:pos x="connsiteX3" y="connsiteY3"/>
                </a:cxn>
              </a:cxnLst>
              <a:rect l="l" t="t" r="r" b="b"/>
              <a:pathLst>
                <a:path w="613409" h="3324643">
                  <a:moveTo>
                    <a:pt x="0" y="0"/>
                  </a:moveTo>
                  <a:lnTo>
                    <a:pt x="613410" y="0"/>
                  </a:lnTo>
                  <a:lnTo>
                    <a:pt x="613410" y="3324643"/>
                  </a:lnTo>
                  <a:lnTo>
                    <a:pt x="0" y="3324643"/>
                  </a:lnTo>
                  <a:close/>
                </a:path>
              </a:pathLst>
            </a:custGeom>
            <a:solidFill>
              <a:srgbClr val="BBBDBF"/>
            </a:solidFill>
            <a:ln w="9525" cap="flat">
              <a:noFill/>
              <a:prstDash val="solid"/>
              <a:miter/>
            </a:ln>
          </p:spPr>
          <p:txBody>
            <a:bodyPr rtlCol="0" anchor="ctr"/>
            <a:lstStyle/>
            <a:p>
              <a:endParaRPr lang="en-US" sz="1050"/>
            </a:p>
          </p:txBody>
        </p:sp>
        <p:sp>
          <p:nvSpPr>
            <p:cNvPr id="217" name="Freeform 269">
              <a:extLst>
                <a:ext uri="{FF2B5EF4-FFF2-40B4-BE49-F238E27FC236}">
                  <a16:creationId xmlns:a16="http://schemas.microsoft.com/office/drawing/2014/main" id="{FBD4A6BB-88F8-6D85-077D-985946E41BC8}"/>
                </a:ext>
              </a:extLst>
            </p:cNvPr>
            <p:cNvSpPr/>
            <p:nvPr/>
          </p:nvSpPr>
          <p:spPr>
            <a:xfrm>
              <a:off x="3374676" y="2452302"/>
              <a:ext cx="613409" cy="475356"/>
            </a:xfrm>
            <a:custGeom>
              <a:avLst/>
              <a:gdLst>
                <a:gd name="connsiteX0" fmla="*/ 0 w 613409"/>
                <a:gd name="connsiteY0" fmla="*/ 0 h 475356"/>
                <a:gd name="connsiteX1" fmla="*/ 613410 w 613409"/>
                <a:gd name="connsiteY1" fmla="*/ 0 h 475356"/>
                <a:gd name="connsiteX2" fmla="*/ 613410 w 613409"/>
                <a:gd name="connsiteY2" fmla="*/ 475357 h 475356"/>
                <a:gd name="connsiteX3" fmla="*/ 0 w 613409"/>
                <a:gd name="connsiteY3" fmla="*/ 475357 h 475356"/>
              </a:gdLst>
              <a:ahLst/>
              <a:cxnLst>
                <a:cxn ang="0">
                  <a:pos x="connsiteX0" y="connsiteY0"/>
                </a:cxn>
                <a:cxn ang="0">
                  <a:pos x="connsiteX1" y="connsiteY1"/>
                </a:cxn>
                <a:cxn ang="0">
                  <a:pos x="connsiteX2" y="connsiteY2"/>
                </a:cxn>
                <a:cxn ang="0">
                  <a:pos x="connsiteX3" y="connsiteY3"/>
                </a:cxn>
              </a:cxnLst>
              <a:rect l="l" t="t" r="r" b="b"/>
              <a:pathLst>
                <a:path w="613409" h="475356">
                  <a:moveTo>
                    <a:pt x="0" y="0"/>
                  </a:moveTo>
                  <a:lnTo>
                    <a:pt x="613410" y="0"/>
                  </a:lnTo>
                  <a:lnTo>
                    <a:pt x="613410" y="475357"/>
                  </a:lnTo>
                  <a:lnTo>
                    <a:pt x="0" y="475357"/>
                  </a:lnTo>
                  <a:close/>
                </a:path>
              </a:pathLst>
            </a:custGeom>
            <a:solidFill>
              <a:srgbClr val="C1D42F"/>
            </a:solidFill>
            <a:ln w="9525" cap="flat">
              <a:noFill/>
              <a:prstDash val="solid"/>
              <a:miter/>
            </a:ln>
          </p:spPr>
          <p:txBody>
            <a:bodyPr rtlCol="0" anchor="ctr"/>
            <a:lstStyle/>
            <a:p>
              <a:endParaRPr lang="en-US" sz="1050"/>
            </a:p>
          </p:txBody>
        </p:sp>
        <p:sp>
          <p:nvSpPr>
            <p:cNvPr id="218" name="Freeform 270">
              <a:extLst>
                <a:ext uri="{FF2B5EF4-FFF2-40B4-BE49-F238E27FC236}">
                  <a16:creationId xmlns:a16="http://schemas.microsoft.com/office/drawing/2014/main" id="{B49D20D6-30E9-5D82-7421-A5AAF47160D5}"/>
                </a:ext>
              </a:extLst>
            </p:cNvPr>
            <p:cNvSpPr/>
            <p:nvPr/>
          </p:nvSpPr>
          <p:spPr>
            <a:xfrm>
              <a:off x="3374676" y="2209870"/>
              <a:ext cx="613409" cy="242431"/>
            </a:xfrm>
            <a:custGeom>
              <a:avLst/>
              <a:gdLst>
                <a:gd name="connsiteX0" fmla="*/ 0 w 613409"/>
                <a:gd name="connsiteY0" fmla="*/ 0 h 242431"/>
                <a:gd name="connsiteX1" fmla="*/ 613410 w 613409"/>
                <a:gd name="connsiteY1" fmla="*/ 0 h 242431"/>
                <a:gd name="connsiteX2" fmla="*/ 613410 w 613409"/>
                <a:gd name="connsiteY2" fmla="*/ 242432 h 242431"/>
                <a:gd name="connsiteX3" fmla="*/ 0 w 613409"/>
                <a:gd name="connsiteY3" fmla="*/ 242432 h 242431"/>
              </a:gdLst>
              <a:ahLst/>
              <a:cxnLst>
                <a:cxn ang="0">
                  <a:pos x="connsiteX0" y="connsiteY0"/>
                </a:cxn>
                <a:cxn ang="0">
                  <a:pos x="connsiteX1" y="connsiteY1"/>
                </a:cxn>
                <a:cxn ang="0">
                  <a:pos x="connsiteX2" y="connsiteY2"/>
                </a:cxn>
                <a:cxn ang="0">
                  <a:pos x="connsiteX3" y="connsiteY3"/>
                </a:cxn>
              </a:cxnLst>
              <a:rect l="l" t="t" r="r" b="b"/>
              <a:pathLst>
                <a:path w="613409" h="242431">
                  <a:moveTo>
                    <a:pt x="0" y="0"/>
                  </a:moveTo>
                  <a:lnTo>
                    <a:pt x="613410" y="0"/>
                  </a:lnTo>
                  <a:lnTo>
                    <a:pt x="613410" y="242432"/>
                  </a:lnTo>
                  <a:lnTo>
                    <a:pt x="0" y="242432"/>
                  </a:lnTo>
                  <a:close/>
                </a:path>
              </a:pathLst>
            </a:custGeom>
            <a:solidFill>
              <a:srgbClr val="FCAF17"/>
            </a:solidFill>
            <a:ln w="9525" cap="flat">
              <a:noFill/>
              <a:prstDash val="solid"/>
              <a:miter/>
            </a:ln>
          </p:spPr>
          <p:txBody>
            <a:bodyPr rtlCol="0" anchor="ctr"/>
            <a:lstStyle/>
            <a:p>
              <a:endParaRPr lang="en-US" sz="1050"/>
            </a:p>
          </p:txBody>
        </p:sp>
        <p:sp>
          <p:nvSpPr>
            <p:cNvPr id="219" name="Freeform 271">
              <a:extLst>
                <a:ext uri="{FF2B5EF4-FFF2-40B4-BE49-F238E27FC236}">
                  <a16:creationId xmlns:a16="http://schemas.microsoft.com/office/drawing/2014/main" id="{5A4983C7-D38E-F087-6352-02D0BD1BC8E9}"/>
                </a:ext>
              </a:extLst>
            </p:cNvPr>
            <p:cNvSpPr/>
            <p:nvPr/>
          </p:nvSpPr>
          <p:spPr>
            <a:xfrm>
              <a:off x="5213954" y="2452302"/>
              <a:ext cx="613409" cy="3799999"/>
            </a:xfrm>
            <a:custGeom>
              <a:avLst/>
              <a:gdLst>
                <a:gd name="connsiteX0" fmla="*/ 0 w 613409"/>
                <a:gd name="connsiteY0" fmla="*/ 0 h 3799999"/>
                <a:gd name="connsiteX1" fmla="*/ 613410 w 613409"/>
                <a:gd name="connsiteY1" fmla="*/ 0 h 3799999"/>
                <a:gd name="connsiteX2" fmla="*/ 613410 w 613409"/>
                <a:gd name="connsiteY2" fmla="*/ 3800000 h 3799999"/>
                <a:gd name="connsiteX3" fmla="*/ 0 w 613409"/>
                <a:gd name="connsiteY3" fmla="*/ 3800000 h 3799999"/>
              </a:gdLst>
              <a:ahLst/>
              <a:cxnLst>
                <a:cxn ang="0">
                  <a:pos x="connsiteX0" y="connsiteY0"/>
                </a:cxn>
                <a:cxn ang="0">
                  <a:pos x="connsiteX1" y="connsiteY1"/>
                </a:cxn>
                <a:cxn ang="0">
                  <a:pos x="connsiteX2" y="connsiteY2"/>
                </a:cxn>
                <a:cxn ang="0">
                  <a:pos x="connsiteX3" y="connsiteY3"/>
                </a:cxn>
              </a:cxnLst>
              <a:rect l="l" t="t" r="r" b="b"/>
              <a:pathLst>
                <a:path w="613409" h="3799999">
                  <a:moveTo>
                    <a:pt x="0" y="0"/>
                  </a:moveTo>
                  <a:lnTo>
                    <a:pt x="613410" y="0"/>
                  </a:lnTo>
                  <a:lnTo>
                    <a:pt x="613410" y="3800000"/>
                  </a:lnTo>
                  <a:lnTo>
                    <a:pt x="0" y="3800000"/>
                  </a:lnTo>
                  <a:close/>
                </a:path>
              </a:pathLst>
            </a:custGeom>
            <a:solidFill>
              <a:srgbClr val="BBBDBF"/>
            </a:solidFill>
            <a:ln w="9525" cap="flat">
              <a:noFill/>
              <a:prstDash val="solid"/>
              <a:miter/>
            </a:ln>
          </p:spPr>
          <p:txBody>
            <a:bodyPr rtlCol="0" anchor="ctr"/>
            <a:lstStyle/>
            <a:p>
              <a:endParaRPr lang="en-US" sz="1050"/>
            </a:p>
          </p:txBody>
        </p:sp>
        <p:sp>
          <p:nvSpPr>
            <p:cNvPr id="220" name="Freeform 272">
              <a:extLst>
                <a:ext uri="{FF2B5EF4-FFF2-40B4-BE49-F238E27FC236}">
                  <a16:creationId xmlns:a16="http://schemas.microsoft.com/office/drawing/2014/main" id="{B5E8FA8F-70EF-69CC-B036-16BAA1D0DDBE}"/>
                </a:ext>
              </a:extLst>
            </p:cNvPr>
            <p:cNvSpPr/>
            <p:nvPr/>
          </p:nvSpPr>
          <p:spPr>
            <a:xfrm>
              <a:off x="5213954" y="2209870"/>
              <a:ext cx="613409" cy="242431"/>
            </a:xfrm>
            <a:custGeom>
              <a:avLst/>
              <a:gdLst>
                <a:gd name="connsiteX0" fmla="*/ 0 w 613409"/>
                <a:gd name="connsiteY0" fmla="*/ 0 h 242431"/>
                <a:gd name="connsiteX1" fmla="*/ 613410 w 613409"/>
                <a:gd name="connsiteY1" fmla="*/ 0 h 242431"/>
                <a:gd name="connsiteX2" fmla="*/ 613410 w 613409"/>
                <a:gd name="connsiteY2" fmla="*/ 242432 h 242431"/>
                <a:gd name="connsiteX3" fmla="*/ 0 w 613409"/>
                <a:gd name="connsiteY3" fmla="*/ 242432 h 242431"/>
              </a:gdLst>
              <a:ahLst/>
              <a:cxnLst>
                <a:cxn ang="0">
                  <a:pos x="connsiteX0" y="connsiteY0"/>
                </a:cxn>
                <a:cxn ang="0">
                  <a:pos x="connsiteX1" y="connsiteY1"/>
                </a:cxn>
                <a:cxn ang="0">
                  <a:pos x="connsiteX2" y="connsiteY2"/>
                </a:cxn>
                <a:cxn ang="0">
                  <a:pos x="connsiteX3" y="connsiteY3"/>
                </a:cxn>
              </a:cxnLst>
              <a:rect l="l" t="t" r="r" b="b"/>
              <a:pathLst>
                <a:path w="613409" h="242431">
                  <a:moveTo>
                    <a:pt x="0" y="0"/>
                  </a:moveTo>
                  <a:lnTo>
                    <a:pt x="613410" y="0"/>
                  </a:lnTo>
                  <a:lnTo>
                    <a:pt x="613410" y="242432"/>
                  </a:lnTo>
                  <a:lnTo>
                    <a:pt x="0" y="242432"/>
                  </a:lnTo>
                  <a:close/>
                </a:path>
              </a:pathLst>
            </a:custGeom>
            <a:solidFill>
              <a:srgbClr val="FCAF17"/>
            </a:solidFill>
            <a:ln w="9525" cap="flat">
              <a:noFill/>
              <a:prstDash val="solid"/>
              <a:miter/>
            </a:ln>
          </p:spPr>
          <p:txBody>
            <a:bodyPr rtlCol="0" anchor="ctr"/>
            <a:lstStyle/>
            <a:p>
              <a:endParaRPr lang="en-US" sz="1050"/>
            </a:p>
          </p:txBody>
        </p:sp>
        <p:sp>
          <p:nvSpPr>
            <p:cNvPr id="221" name="TextBox 220">
              <a:extLst>
                <a:ext uri="{FF2B5EF4-FFF2-40B4-BE49-F238E27FC236}">
                  <a16:creationId xmlns:a16="http://schemas.microsoft.com/office/drawing/2014/main" id="{20EBDC3C-F043-30A8-B729-BEA806854A80}"/>
                </a:ext>
              </a:extLst>
            </p:cNvPr>
            <p:cNvSpPr txBox="1"/>
            <p:nvPr/>
          </p:nvSpPr>
          <p:spPr>
            <a:xfrm>
              <a:off x="1553496" y="4329876"/>
              <a:ext cx="709340" cy="301517"/>
            </a:xfrm>
            <a:prstGeom prst="rect">
              <a:avLst/>
            </a:prstGeom>
            <a:noFill/>
          </p:spPr>
          <p:txBody>
            <a:bodyPr wrap="none" rtlCol="0">
              <a:spAutoFit/>
            </a:bodyPr>
            <a:lstStyle/>
            <a:p>
              <a:pPr>
                <a:lnSpc>
                  <a:spcPct val="90000"/>
                </a:lnSpc>
                <a:spcAft>
                  <a:spcPts val="450"/>
                </a:spcAft>
              </a:pPr>
              <a:r>
                <a:rPr lang="en-US" sz="825" b="1">
                  <a:ln/>
                  <a:solidFill>
                    <a:srgbClr val="231F20"/>
                  </a:solidFill>
                  <a:latin typeface="HelveticaNeue-Bold"/>
                  <a:ea typeface="HelveticaNeue-Bold"/>
                  <a:cs typeface="HelveticaNeue-Bold"/>
                  <a:sym typeface="HelveticaNeue-Bold"/>
                  <a:rtl val="0"/>
                </a:rPr>
                <a:t>88.2%</a:t>
              </a:r>
            </a:p>
          </p:txBody>
        </p:sp>
        <p:sp>
          <p:nvSpPr>
            <p:cNvPr id="222" name="TextBox 221">
              <a:extLst>
                <a:ext uri="{FF2B5EF4-FFF2-40B4-BE49-F238E27FC236}">
                  <a16:creationId xmlns:a16="http://schemas.microsoft.com/office/drawing/2014/main" id="{7A31123C-BABB-30AE-9EBF-2BD97B8F895A}"/>
                </a:ext>
              </a:extLst>
            </p:cNvPr>
            <p:cNvSpPr txBox="1"/>
            <p:nvPr/>
          </p:nvSpPr>
          <p:spPr>
            <a:xfrm>
              <a:off x="1589691" y="2456780"/>
              <a:ext cx="622780" cy="301517"/>
            </a:xfrm>
            <a:prstGeom prst="rect">
              <a:avLst/>
            </a:prstGeom>
            <a:noFill/>
          </p:spPr>
          <p:txBody>
            <a:bodyPr wrap="none" rtlCol="0">
              <a:spAutoFit/>
            </a:bodyPr>
            <a:lstStyle/>
            <a:p>
              <a:pPr>
                <a:lnSpc>
                  <a:spcPct val="90000"/>
                </a:lnSpc>
                <a:spcAft>
                  <a:spcPts val="450"/>
                </a:spcAft>
              </a:pPr>
              <a:r>
                <a:rPr lang="en-US" sz="825" b="1">
                  <a:ln/>
                  <a:solidFill>
                    <a:srgbClr val="231F20"/>
                  </a:solidFill>
                  <a:latin typeface="HelveticaNeue-Bold"/>
                  <a:ea typeface="HelveticaNeue-Bold"/>
                  <a:cs typeface="HelveticaNeue-Bold"/>
                  <a:sym typeface="HelveticaNeue-Bold"/>
                  <a:rtl val="0"/>
                </a:rPr>
                <a:t>5.9%</a:t>
              </a:r>
            </a:p>
          </p:txBody>
        </p:sp>
        <p:sp>
          <p:nvSpPr>
            <p:cNvPr id="223" name="TextBox 222">
              <a:extLst>
                <a:ext uri="{FF2B5EF4-FFF2-40B4-BE49-F238E27FC236}">
                  <a16:creationId xmlns:a16="http://schemas.microsoft.com/office/drawing/2014/main" id="{35E74FE5-1AED-F282-DFDF-6CBCA3A92931}"/>
                </a:ext>
              </a:extLst>
            </p:cNvPr>
            <p:cNvSpPr txBox="1"/>
            <p:nvPr/>
          </p:nvSpPr>
          <p:spPr>
            <a:xfrm>
              <a:off x="1589691" y="2213816"/>
              <a:ext cx="622780" cy="301517"/>
            </a:xfrm>
            <a:prstGeom prst="rect">
              <a:avLst/>
            </a:prstGeom>
            <a:noFill/>
          </p:spPr>
          <p:txBody>
            <a:bodyPr wrap="none" rtlCol="0">
              <a:spAutoFit/>
            </a:bodyPr>
            <a:lstStyle/>
            <a:p>
              <a:pPr>
                <a:lnSpc>
                  <a:spcPct val="90000"/>
                </a:lnSpc>
                <a:spcAft>
                  <a:spcPts val="450"/>
                </a:spcAft>
              </a:pPr>
              <a:r>
                <a:rPr lang="en-US" sz="825" b="1">
                  <a:ln/>
                  <a:solidFill>
                    <a:srgbClr val="FFFFFF"/>
                  </a:solidFill>
                  <a:latin typeface="HelveticaNeue-Bold"/>
                  <a:ea typeface="HelveticaNeue-Bold"/>
                  <a:cs typeface="HelveticaNeue-Bold"/>
                  <a:sym typeface="HelveticaNeue-Bold"/>
                  <a:rtl val="0"/>
                </a:rPr>
                <a:t>5.9%</a:t>
              </a:r>
            </a:p>
          </p:txBody>
        </p:sp>
        <p:sp>
          <p:nvSpPr>
            <p:cNvPr id="224" name="TextBox 223">
              <a:extLst>
                <a:ext uri="{FF2B5EF4-FFF2-40B4-BE49-F238E27FC236}">
                  <a16:creationId xmlns:a16="http://schemas.microsoft.com/office/drawing/2014/main" id="{CFA41C75-F269-F27A-480A-DD7CF1DE6E76}"/>
                </a:ext>
              </a:extLst>
            </p:cNvPr>
            <p:cNvSpPr txBox="1"/>
            <p:nvPr/>
          </p:nvSpPr>
          <p:spPr>
            <a:xfrm>
              <a:off x="3392774" y="4448713"/>
              <a:ext cx="709340" cy="301517"/>
            </a:xfrm>
            <a:prstGeom prst="rect">
              <a:avLst/>
            </a:prstGeom>
            <a:noFill/>
          </p:spPr>
          <p:txBody>
            <a:bodyPr wrap="none" rtlCol="0">
              <a:spAutoFit/>
            </a:bodyPr>
            <a:lstStyle/>
            <a:p>
              <a:pPr>
                <a:lnSpc>
                  <a:spcPct val="90000"/>
                </a:lnSpc>
                <a:spcAft>
                  <a:spcPts val="450"/>
                </a:spcAft>
              </a:pPr>
              <a:r>
                <a:rPr lang="en-US" sz="825" b="1">
                  <a:ln/>
                  <a:solidFill>
                    <a:srgbClr val="231F20"/>
                  </a:solidFill>
                  <a:latin typeface="HelveticaNeue-Bold"/>
                  <a:ea typeface="HelveticaNeue-Bold"/>
                  <a:cs typeface="HelveticaNeue-Bold"/>
                  <a:sym typeface="HelveticaNeue-Bold"/>
                  <a:rtl val="0"/>
                </a:rPr>
                <a:t>82.4%</a:t>
              </a:r>
            </a:p>
          </p:txBody>
        </p:sp>
        <p:sp>
          <p:nvSpPr>
            <p:cNvPr id="225" name="TextBox 224">
              <a:extLst>
                <a:ext uri="{FF2B5EF4-FFF2-40B4-BE49-F238E27FC236}">
                  <a16:creationId xmlns:a16="http://schemas.microsoft.com/office/drawing/2014/main" id="{1FC75670-1CA4-A940-0EFC-1056BC84A24B}"/>
                </a:ext>
              </a:extLst>
            </p:cNvPr>
            <p:cNvSpPr txBox="1"/>
            <p:nvPr/>
          </p:nvSpPr>
          <p:spPr>
            <a:xfrm>
              <a:off x="3392774" y="2574668"/>
              <a:ext cx="709340" cy="301517"/>
            </a:xfrm>
            <a:prstGeom prst="rect">
              <a:avLst/>
            </a:prstGeom>
            <a:noFill/>
          </p:spPr>
          <p:txBody>
            <a:bodyPr wrap="none" rtlCol="0">
              <a:spAutoFit/>
            </a:bodyPr>
            <a:lstStyle/>
            <a:p>
              <a:pPr>
                <a:lnSpc>
                  <a:spcPct val="90000"/>
                </a:lnSpc>
                <a:spcAft>
                  <a:spcPts val="450"/>
                </a:spcAft>
              </a:pPr>
              <a:r>
                <a:rPr lang="en-US" sz="825" b="1">
                  <a:ln/>
                  <a:solidFill>
                    <a:srgbClr val="231F20"/>
                  </a:solidFill>
                  <a:latin typeface="HelveticaNeue-Bold"/>
                  <a:ea typeface="HelveticaNeue-Bold"/>
                  <a:cs typeface="HelveticaNeue-Bold"/>
                  <a:sym typeface="HelveticaNeue-Bold"/>
                  <a:rtl val="0"/>
                </a:rPr>
                <a:t>11.8%</a:t>
              </a:r>
            </a:p>
          </p:txBody>
        </p:sp>
        <p:sp>
          <p:nvSpPr>
            <p:cNvPr id="226" name="TextBox 225">
              <a:extLst>
                <a:ext uri="{FF2B5EF4-FFF2-40B4-BE49-F238E27FC236}">
                  <a16:creationId xmlns:a16="http://schemas.microsoft.com/office/drawing/2014/main" id="{A7D3113B-3158-F587-2E5D-F232BBC05651}"/>
                </a:ext>
              </a:extLst>
            </p:cNvPr>
            <p:cNvSpPr txBox="1"/>
            <p:nvPr/>
          </p:nvSpPr>
          <p:spPr>
            <a:xfrm>
              <a:off x="3429921" y="2213816"/>
              <a:ext cx="622780" cy="301517"/>
            </a:xfrm>
            <a:prstGeom prst="rect">
              <a:avLst/>
            </a:prstGeom>
            <a:noFill/>
          </p:spPr>
          <p:txBody>
            <a:bodyPr wrap="none" rtlCol="0">
              <a:spAutoFit/>
            </a:bodyPr>
            <a:lstStyle/>
            <a:p>
              <a:pPr>
                <a:lnSpc>
                  <a:spcPct val="90000"/>
                </a:lnSpc>
                <a:spcAft>
                  <a:spcPts val="450"/>
                </a:spcAft>
              </a:pPr>
              <a:r>
                <a:rPr lang="en-US" sz="825" b="1">
                  <a:ln/>
                  <a:solidFill>
                    <a:srgbClr val="231F20"/>
                  </a:solidFill>
                  <a:latin typeface="HelveticaNeue-Bold"/>
                  <a:ea typeface="HelveticaNeue-Bold"/>
                  <a:cs typeface="HelveticaNeue-Bold"/>
                  <a:sym typeface="HelveticaNeue-Bold"/>
                  <a:rtl val="0"/>
                </a:rPr>
                <a:t>5.9%</a:t>
              </a:r>
            </a:p>
          </p:txBody>
        </p:sp>
        <p:sp>
          <p:nvSpPr>
            <p:cNvPr id="227" name="TextBox 226">
              <a:extLst>
                <a:ext uri="{FF2B5EF4-FFF2-40B4-BE49-F238E27FC236}">
                  <a16:creationId xmlns:a16="http://schemas.microsoft.com/office/drawing/2014/main" id="{9E045861-A0D9-9657-9C58-EBF26FC268CB}"/>
                </a:ext>
              </a:extLst>
            </p:cNvPr>
            <p:cNvSpPr txBox="1"/>
            <p:nvPr/>
          </p:nvSpPr>
          <p:spPr>
            <a:xfrm>
              <a:off x="5233005" y="4211035"/>
              <a:ext cx="709340" cy="301517"/>
            </a:xfrm>
            <a:prstGeom prst="rect">
              <a:avLst/>
            </a:prstGeom>
            <a:noFill/>
          </p:spPr>
          <p:txBody>
            <a:bodyPr wrap="none" rtlCol="0">
              <a:spAutoFit/>
            </a:bodyPr>
            <a:lstStyle/>
            <a:p>
              <a:pPr>
                <a:lnSpc>
                  <a:spcPct val="90000"/>
                </a:lnSpc>
                <a:spcAft>
                  <a:spcPts val="450"/>
                </a:spcAft>
              </a:pPr>
              <a:r>
                <a:rPr lang="en-US" sz="825" b="1">
                  <a:ln/>
                  <a:solidFill>
                    <a:srgbClr val="231F20"/>
                  </a:solidFill>
                  <a:latin typeface="HelveticaNeue-Bold"/>
                  <a:ea typeface="HelveticaNeue-Bold"/>
                  <a:cs typeface="HelveticaNeue-Bold"/>
                  <a:sym typeface="HelveticaNeue-Bold"/>
                  <a:rtl val="0"/>
                </a:rPr>
                <a:t>94.1%</a:t>
              </a:r>
            </a:p>
          </p:txBody>
        </p:sp>
        <p:sp>
          <p:nvSpPr>
            <p:cNvPr id="228" name="TextBox 227">
              <a:extLst>
                <a:ext uri="{FF2B5EF4-FFF2-40B4-BE49-F238E27FC236}">
                  <a16:creationId xmlns:a16="http://schemas.microsoft.com/office/drawing/2014/main" id="{E6B117F5-D140-CCA4-DB7D-9DAAE03CCC5F}"/>
                </a:ext>
              </a:extLst>
            </p:cNvPr>
            <p:cNvSpPr txBox="1"/>
            <p:nvPr/>
          </p:nvSpPr>
          <p:spPr>
            <a:xfrm>
              <a:off x="5270151" y="2213816"/>
              <a:ext cx="622780" cy="301517"/>
            </a:xfrm>
            <a:prstGeom prst="rect">
              <a:avLst/>
            </a:prstGeom>
            <a:noFill/>
          </p:spPr>
          <p:txBody>
            <a:bodyPr wrap="none" rtlCol="0">
              <a:spAutoFit/>
            </a:bodyPr>
            <a:lstStyle/>
            <a:p>
              <a:pPr>
                <a:lnSpc>
                  <a:spcPct val="90000"/>
                </a:lnSpc>
                <a:spcAft>
                  <a:spcPts val="450"/>
                </a:spcAft>
              </a:pPr>
              <a:r>
                <a:rPr lang="en-US" sz="825" b="1">
                  <a:ln/>
                  <a:solidFill>
                    <a:srgbClr val="231F20"/>
                  </a:solidFill>
                  <a:latin typeface="HelveticaNeue-Bold"/>
                  <a:ea typeface="HelveticaNeue-Bold"/>
                  <a:cs typeface="HelveticaNeue-Bold"/>
                  <a:sym typeface="HelveticaNeue-Bold"/>
                  <a:rtl val="0"/>
                </a:rPr>
                <a:t>5.9%</a:t>
              </a:r>
            </a:p>
          </p:txBody>
        </p:sp>
        <p:sp>
          <p:nvSpPr>
            <p:cNvPr id="229" name="Freeform 281">
              <a:extLst>
                <a:ext uri="{FF2B5EF4-FFF2-40B4-BE49-F238E27FC236}">
                  <a16:creationId xmlns:a16="http://schemas.microsoft.com/office/drawing/2014/main" id="{C4615AB5-E285-7D8C-52C3-9AAEE0EAB39F}"/>
                </a:ext>
              </a:extLst>
            </p:cNvPr>
            <p:cNvSpPr/>
            <p:nvPr/>
          </p:nvSpPr>
          <p:spPr>
            <a:xfrm>
              <a:off x="737204" y="2013073"/>
              <a:ext cx="5888355" cy="4440780"/>
            </a:xfrm>
            <a:custGeom>
              <a:avLst/>
              <a:gdLst>
                <a:gd name="connsiteX0" fmla="*/ 0 w 5888355"/>
                <a:gd name="connsiteY0" fmla="*/ 0 h 4440780"/>
                <a:gd name="connsiteX1" fmla="*/ 5888355 w 5888355"/>
                <a:gd name="connsiteY1" fmla="*/ 0 h 4440780"/>
                <a:gd name="connsiteX2" fmla="*/ 5888355 w 5888355"/>
                <a:gd name="connsiteY2" fmla="*/ 4440780 h 4440780"/>
                <a:gd name="connsiteX3" fmla="*/ 0 w 5888355"/>
                <a:gd name="connsiteY3" fmla="*/ 4440780 h 4440780"/>
              </a:gdLst>
              <a:ahLst/>
              <a:cxnLst>
                <a:cxn ang="0">
                  <a:pos x="connsiteX0" y="connsiteY0"/>
                </a:cxn>
                <a:cxn ang="0">
                  <a:pos x="connsiteX1" y="connsiteY1"/>
                </a:cxn>
                <a:cxn ang="0">
                  <a:pos x="connsiteX2" y="connsiteY2"/>
                </a:cxn>
                <a:cxn ang="0">
                  <a:pos x="connsiteX3" y="connsiteY3"/>
                </a:cxn>
              </a:cxnLst>
              <a:rect l="l" t="t" r="r" b="b"/>
              <a:pathLst>
                <a:path w="5888355" h="4440780">
                  <a:moveTo>
                    <a:pt x="0" y="0"/>
                  </a:moveTo>
                  <a:lnTo>
                    <a:pt x="5888355" y="0"/>
                  </a:lnTo>
                  <a:lnTo>
                    <a:pt x="5888355" y="4440780"/>
                  </a:lnTo>
                  <a:lnTo>
                    <a:pt x="0" y="4440780"/>
                  </a:lnTo>
                  <a:close/>
                </a:path>
              </a:pathLst>
            </a:custGeom>
            <a:noFill/>
            <a:ln w="10478" cap="rnd">
              <a:solidFill>
                <a:srgbClr val="333333"/>
              </a:solidFill>
              <a:prstDash val="solid"/>
              <a:round/>
            </a:ln>
          </p:spPr>
          <p:txBody>
            <a:bodyPr rtlCol="0" anchor="ctr"/>
            <a:lstStyle/>
            <a:p>
              <a:endParaRPr lang="en-US" sz="1050"/>
            </a:p>
          </p:txBody>
        </p:sp>
        <p:sp>
          <p:nvSpPr>
            <p:cNvPr id="230" name="Freeform 282">
              <a:extLst>
                <a:ext uri="{FF2B5EF4-FFF2-40B4-BE49-F238E27FC236}">
                  <a16:creationId xmlns:a16="http://schemas.microsoft.com/office/drawing/2014/main" id="{9C233F69-218E-731A-14D3-AF9E59DF5DF1}"/>
                </a:ext>
              </a:extLst>
            </p:cNvPr>
            <p:cNvSpPr/>
            <p:nvPr/>
          </p:nvSpPr>
          <p:spPr>
            <a:xfrm>
              <a:off x="737204" y="2013073"/>
              <a:ext cx="5888355" cy="4440780"/>
            </a:xfrm>
            <a:custGeom>
              <a:avLst/>
              <a:gdLst>
                <a:gd name="connsiteX0" fmla="*/ 0 w 5888355"/>
                <a:gd name="connsiteY0" fmla="*/ 0 h 4440780"/>
                <a:gd name="connsiteX1" fmla="*/ 5888355 w 5888355"/>
                <a:gd name="connsiteY1" fmla="*/ 0 h 4440780"/>
                <a:gd name="connsiteX2" fmla="*/ 5888355 w 5888355"/>
                <a:gd name="connsiteY2" fmla="*/ 4440780 h 4440780"/>
                <a:gd name="connsiteX3" fmla="*/ 0 w 5888355"/>
                <a:gd name="connsiteY3" fmla="*/ 4440780 h 4440780"/>
              </a:gdLst>
              <a:ahLst/>
              <a:cxnLst>
                <a:cxn ang="0">
                  <a:pos x="connsiteX0" y="connsiteY0"/>
                </a:cxn>
                <a:cxn ang="0">
                  <a:pos x="connsiteX1" y="connsiteY1"/>
                </a:cxn>
                <a:cxn ang="0">
                  <a:pos x="connsiteX2" y="connsiteY2"/>
                </a:cxn>
                <a:cxn ang="0">
                  <a:pos x="connsiteX3" y="connsiteY3"/>
                </a:cxn>
              </a:cxnLst>
              <a:rect l="l" t="t" r="r" b="b"/>
              <a:pathLst>
                <a:path w="5888355" h="4440780">
                  <a:moveTo>
                    <a:pt x="0" y="0"/>
                  </a:moveTo>
                  <a:lnTo>
                    <a:pt x="5888355" y="0"/>
                  </a:lnTo>
                  <a:lnTo>
                    <a:pt x="5888355" y="4440780"/>
                  </a:lnTo>
                  <a:lnTo>
                    <a:pt x="0" y="4440780"/>
                  </a:lnTo>
                  <a:close/>
                </a:path>
              </a:pathLst>
            </a:custGeom>
            <a:noFill/>
            <a:ln w="9525" cap="flat">
              <a:noFill/>
              <a:prstDash val="solid"/>
              <a:miter/>
            </a:ln>
          </p:spPr>
          <p:txBody>
            <a:bodyPr rtlCol="0" anchor="ctr"/>
            <a:lstStyle/>
            <a:p>
              <a:endParaRPr lang="en-US" sz="1050"/>
            </a:p>
          </p:txBody>
        </p:sp>
        <p:sp>
          <p:nvSpPr>
            <p:cNvPr id="231" name="TextBox 230">
              <a:extLst>
                <a:ext uri="{FF2B5EF4-FFF2-40B4-BE49-F238E27FC236}">
                  <a16:creationId xmlns:a16="http://schemas.microsoft.com/office/drawing/2014/main" id="{FABF8804-08E5-1519-7C67-2B4BBC77E462}"/>
                </a:ext>
              </a:extLst>
            </p:cNvPr>
            <p:cNvSpPr txBox="1"/>
            <p:nvPr/>
          </p:nvSpPr>
          <p:spPr>
            <a:xfrm>
              <a:off x="463837" y="6095347"/>
              <a:ext cx="379471" cy="346996"/>
            </a:xfrm>
            <a:prstGeom prst="rect">
              <a:avLst/>
            </a:prstGeom>
            <a:noFill/>
          </p:spPr>
          <p:txBody>
            <a:bodyPr wrap="none" rtlCol="0">
              <a:spAutoFit/>
            </a:bodyPr>
            <a:lstStyle/>
            <a:p>
              <a:pPr>
                <a:lnSpc>
                  <a:spcPct val="90000"/>
                </a:lnSpc>
                <a:spcAft>
                  <a:spcPts val="450"/>
                </a:spcAft>
              </a:pPr>
              <a:r>
                <a:rPr lang="en-US" sz="1050">
                  <a:ln/>
                  <a:solidFill>
                    <a:srgbClr val="231F20"/>
                  </a:solidFill>
                  <a:latin typeface="HelveticaNeue-Roman"/>
                  <a:ea typeface="HelveticaNeue-Roman"/>
                  <a:cs typeface="HelveticaNeue-Roman"/>
                  <a:sym typeface="HelveticaNeue-Roman"/>
                  <a:rtl val="0"/>
                </a:rPr>
                <a:t>0</a:t>
              </a:r>
            </a:p>
          </p:txBody>
        </p:sp>
        <p:sp>
          <p:nvSpPr>
            <p:cNvPr id="232" name="TextBox 231">
              <a:extLst>
                <a:ext uri="{FF2B5EF4-FFF2-40B4-BE49-F238E27FC236}">
                  <a16:creationId xmlns:a16="http://schemas.microsoft.com/office/drawing/2014/main" id="{56068E29-4976-797C-F703-2B00B6089453}"/>
                </a:ext>
              </a:extLst>
            </p:cNvPr>
            <p:cNvSpPr txBox="1"/>
            <p:nvPr/>
          </p:nvSpPr>
          <p:spPr>
            <a:xfrm>
              <a:off x="463837" y="4907909"/>
              <a:ext cx="379471" cy="346996"/>
            </a:xfrm>
            <a:prstGeom prst="rect">
              <a:avLst/>
            </a:prstGeom>
            <a:noFill/>
          </p:spPr>
          <p:txBody>
            <a:bodyPr wrap="none" rtlCol="0">
              <a:spAutoFit/>
            </a:bodyPr>
            <a:lstStyle/>
            <a:p>
              <a:pPr>
                <a:lnSpc>
                  <a:spcPct val="90000"/>
                </a:lnSpc>
                <a:spcAft>
                  <a:spcPts val="450"/>
                </a:spcAft>
              </a:pPr>
              <a:r>
                <a:rPr lang="en-US" sz="1050">
                  <a:ln/>
                  <a:solidFill>
                    <a:srgbClr val="231F20"/>
                  </a:solidFill>
                  <a:latin typeface="HelveticaNeue-Roman"/>
                  <a:ea typeface="HelveticaNeue-Roman"/>
                  <a:cs typeface="HelveticaNeue-Roman"/>
                  <a:sym typeface="HelveticaNeue-Roman"/>
                  <a:rtl val="0"/>
                </a:rPr>
                <a:t>5</a:t>
              </a:r>
            </a:p>
          </p:txBody>
        </p:sp>
        <p:sp>
          <p:nvSpPr>
            <p:cNvPr id="233" name="TextBox 232">
              <a:extLst>
                <a:ext uri="{FF2B5EF4-FFF2-40B4-BE49-F238E27FC236}">
                  <a16:creationId xmlns:a16="http://schemas.microsoft.com/office/drawing/2014/main" id="{2A6FAE40-8EDF-75F6-6761-75184E706444}"/>
                </a:ext>
              </a:extLst>
            </p:cNvPr>
            <p:cNvSpPr txBox="1"/>
            <p:nvPr/>
          </p:nvSpPr>
          <p:spPr>
            <a:xfrm>
              <a:off x="374300" y="3720469"/>
              <a:ext cx="489426" cy="346996"/>
            </a:xfrm>
            <a:prstGeom prst="rect">
              <a:avLst/>
            </a:prstGeom>
            <a:noFill/>
          </p:spPr>
          <p:txBody>
            <a:bodyPr wrap="none" rtlCol="0">
              <a:spAutoFit/>
            </a:bodyPr>
            <a:lstStyle/>
            <a:p>
              <a:pPr>
                <a:lnSpc>
                  <a:spcPct val="90000"/>
                </a:lnSpc>
                <a:spcAft>
                  <a:spcPts val="450"/>
                </a:spcAft>
              </a:pPr>
              <a:r>
                <a:rPr lang="en-US" sz="1050">
                  <a:ln/>
                  <a:solidFill>
                    <a:srgbClr val="231F20"/>
                  </a:solidFill>
                  <a:latin typeface="HelveticaNeue-Roman"/>
                  <a:ea typeface="HelveticaNeue-Roman"/>
                  <a:cs typeface="HelveticaNeue-Roman"/>
                  <a:sym typeface="HelveticaNeue-Roman"/>
                  <a:rtl val="0"/>
                </a:rPr>
                <a:t>10</a:t>
              </a:r>
            </a:p>
          </p:txBody>
        </p:sp>
        <p:sp>
          <p:nvSpPr>
            <p:cNvPr id="234" name="TextBox 233">
              <a:extLst>
                <a:ext uri="{FF2B5EF4-FFF2-40B4-BE49-F238E27FC236}">
                  <a16:creationId xmlns:a16="http://schemas.microsoft.com/office/drawing/2014/main" id="{9450B74B-09D8-FC90-4D71-4DBB01E4B2B8}"/>
                </a:ext>
              </a:extLst>
            </p:cNvPr>
            <p:cNvSpPr txBox="1"/>
            <p:nvPr/>
          </p:nvSpPr>
          <p:spPr>
            <a:xfrm>
              <a:off x="374300" y="2533027"/>
              <a:ext cx="489426" cy="346996"/>
            </a:xfrm>
            <a:prstGeom prst="rect">
              <a:avLst/>
            </a:prstGeom>
            <a:noFill/>
          </p:spPr>
          <p:txBody>
            <a:bodyPr wrap="none" rtlCol="0">
              <a:spAutoFit/>
            </a:bodyPr>
            <a:lstStyle/>
            <a:p>
              <a:pPr>
                <a:lnSpc>
                  <a:spcPct val="90000"/>
                </a:lnSpc>
                <a:spcAft>
                  <a:spcPts val="450"/>
                </a:spcAft>
              </a:pPr>
              <a:r>
                <a:rPr lang="en-US" sz="1050">
                  <a:ln/>
                  <a:solidFill>
                    <a:srgbClr val="231F20"/>
                  </a:solidFill>
                  <a:latin typeface="HelveticaNeue-Roman"/>
                  <a:ea typeface="HelveticaNeue-Roman"/>
                  <a:cs typeface="HelveticaNeue-Roman"/>
                  <a:sym typeface="HelveticaNeue-Roman"/>
                  <a:rtl val="0"/>
                </a:rPr>
                <a:t>15</a:t>
              </a:r>
            </a:p>
          </p:txBody>
        </p:sp>
        <p:sp>
          <p:nvSpPr>
            <p:cNvPr id="235" name="Freeform 287">
              <a:extLst>
                <a:ext uri="{FF2B5EF4-FFF2-40B4-BE49-F238E27FC236}">
                  <a16:creationId xmlns:a16="http://schemas.microsoft.com/office/drawing/2014/main" id="{43E4957F-28FC-B180-C1A7-0113F0D40D6F}"/>
                </a:ext>
              </a:extLst>
            </p:cNvPr>
            <p:cNvSpPr/>
            <p:nvPr/>
          </p:nvSpPr>
          <p:spPr>
            <a:xfrm>
              <a:off x="676244" y="6252302"/>
              <a:ext cx="60959" cy="9507"/>
            </a:xfrm>
            <a:custGeom>
              <a:avLst/>
              <a:gdLst>
                <a:gd name="connsiteX0" fmla="*/ 0 w 60959"/>
                <a:gd name="connsiteY0" fmla="*/ 0 h 9507"/>
                <a:gd name="connsiteX1" fmla="*/ 60960 w 60959"/>
                <a:gd name="connsiteY1" fmla="*/ 0 h 9507"/>
              </a:gdLst>
              <a:ahLst/>
              <a:cxnLst>
                <a:cxn ang="0">
                  <a:pos x="connsiteX0" y="connsiteY0"/>
                </a:cxn>
                <a:cxn ang="0">
                  <a:pos x="connsiteX1" y="connsiteY1"/>
                </a:cxn>
              </a:cxnLst>
              <a:rect l="l" t="t" r="r" b="b"/>
              <a:pathLst>
                <a:path w="60959" h="9507">
                  <a:moveTo>
                    <a:pt x="0" y="0"/>
                  </a:moveTo>
                  <a:lnTo>
                    <a:pt x="60960" y="0"/>
                  </a:lnTo>
                </a:path>
              </a:pathLst>
            </a:custGeom>
            <a:ln w="10478" cap="flat">
              <a:solidFill>
                <a:srgbClr val="333333"/>
              </a:solidFill>
              <a:prstDash val="solid"/>
              <a:round/>
            </a:ln>
          </p:spPr>
          <p:txBody>
            <a:bodyPr rtlCol="0" anchor="ctr"/>
            <a:lstStyle/>
            <a:p>
              <a:endParaRPr lang="en-US" sz="1050"/>
            </a:p>
          </p:txBody>
        </p:sp>
        <p:sp>
          <p:nvSpPr>
            <p:cNvPr id="236" name="Freeform 288">
              <a:extLst>
                <a:ext uri="{FF2B5EF4-FFF2-40B4-BE49-F238E27FC236}">
                  <a16:creationId xmlns:a16="http://schemas.microsoft.com/office/drawing/2014/main" id="{A9880FA5-3694-944D-AD50-A587C680B3FB}"/>
                </a:ext>
              </a:extLst>
            </p:cNvPr>
            <p:cNvSpPr/>
            <p:nvPr/>
          </p:nvSpPr>
          <p:spPr>
            <a:xfrm>
              <a:off x="676244" y="5064861"/>
              <a:ext cx="60959" cy="9507"/>
            </a:xfrm>
            <a:custGeom>
              <a:avLst/>
              <a:gdLst>
                <a:gd name="connsiteX0" fmla="*/ 0 w 60959"/>
                <a:gd name="connsiteY0" fmla="*/ 0 h 9507"/>
                <a:gd name="connsiteX1" fmla="*/ 60960 w 60959"/>
                <a:gd name="connsiteY1" fmla="*/ 0 h 9507"/>
              </a:gdLst>
              <a:ahLst/>
              <a:cxnLst>
                <a:cxn ang="0">
                  <a:pos x="connsiteX0" y="connsiteY0"/>
                </a:cxn>
                <a:cxn ang="0">
                  <a:pos x="connsiteX1" y="connsiteY1"/>
                </a:cxn>
              </a:cxnLst>
              <a:rect l="l" t="t" r="r" b="b"/>
              <a:pathLst>
                <a:path w="60959" h="9507">
                  <a:moveTo>
                    <a:pt x="0" y="0"/>
                  </a:moveTo>
                  <a:lnTo>
                    <a:pt x="60960" y="0"/>
                  </a:lnTo>
                </a:path>
              </a:pathLst>
            </a:custGeom>
            <a:ln w="10478" cap="flat">
              <a:solidFill>
                <a:srgbClr val="333333"/>
              </a:solidFill>
              <a:prstDash val="solid"/>
              <a:round/>
            </a:ln>
          </p:spPr>
          <p:txBody>
            <a:bodyPr rtlCol="0" anchor="ctr"/>
            <a:lstStyle/>
            <a:p>
              <a:endParaRPr lang="en-US" sz="1050"/>
            </a:p>
          </p:txBody>
        </p:sp>
        <p:sp>
          <p:nvSpPr>
            <p:cNvPr id="237" name="Freeform 289">
              <a:extLst>
                <a:ext uri="{FF2B5EF4-FFF2-40B4-BE49-F238E27FC236}">
                  <a16:creationId xmlns:a16="http://schemas.microsoft.com/office/drawing/2014/main" id="{F1F624E5-A641-9E0F-98CD-1F1B48E44B45}"/>
                </a:ext>
              </a:extLst>
            </p:cNvPr>
            <p:cNvSpPr/>
            <p:nvPr/>
          </p:nvSpPr>
          <p:spPr>
            <a:xfrm>
              <a:off x="676244" y="3877421"/>
              <a:ext cx="60959" cy="9507"/>
            </a:xfrm>
            <a:custGeom>
              <a:avLst/>
              <a:gdLst>
                <a:gd name="connsiteX0" fmla="*/ 0 w 60959"/>
                <a:gd name="connsiteY0" fmla="*/ 0 h 9507"/>
                <a:gd name="connsiteX1" fmla="*/ 60960 w 60959"/>
                <a:gd name="connsiteY1" fmla="*/ 0 h 9507"/>
              </a:gdLst>
              <a:ahLst/>
              <a:cxnLst>
                <a:cxn ang="0">
                  <a:pos x="connsiteX0" y="connsiteY0"/>
                </a:cxn>
                <a:cxn ang="0">
                  <a:pos x="connsiteX1" y="connsiteY1"/>
                </a:cxn>
              </a:cxnLst>
              <a:rect l="l" t="t" r="r" b="b"/>
              <a:pathLst>
                <a:path w="60959" h="9507">
                  <a:moveTo>
                    <a:pt x="0" y="0"/>
                  </a:moveTo>
                  <a:lnTo>
                    <a:pt x="60960" y="0"/>
                  </a:lnTo>
                </a:path>
              </a:pathLst>
            </a:custGeom>
            <a:ln w="10478" cap="flat">
              <a:solidFill>
                <a:srgbClr val="333333"/>
              </a:solidFill>
              <a:prstDash val="solid"/>
              <a:round/>
            </a:ln>
          </p:spPr>
          <p:txBody>
            <a:bodyPr rtlCol="0" anchor="ctr"/>
            <a:lstStyle/>
            <a:p>
              <a:endParaRPr lang="en-US" sz="1050"/>
            </a:p>
          </p:txBody>
        </p:sp>
        <p:sp>
          <p:nvSpPr>
            <p:cNvPr id="238" name="Freeform 290">
              <a:extLst>
                <a:ext uri="{FF2B5EF4-FFF2-40B4-BE49-F238E27FC236}">
                  <a16:creationId xmlns:a16="http://schemas.microsoft.com/office/drawing/2014/main" id="{20C36D4C-EB44-7C95-8D7C-33477E7A9C4E}"/>
                </a:ext>
              </a:extLst>
            </p:cNvPr>
            <p:cNvSpPr/>
            <p:nvPr/>
          </p:nvSpPr>
          <p:spPr>
            <a:xfrm>
              <a:off x="676244" y="2689980"/>
              <a:ext cx="60959" cy="9507"/>
            </a:xfrm>
            <a:custGeom>
              <a:avLst/>
              <a:gdLst>
                <a:gd name="connsiteX0" fmla="*/ 0 w 60959"/>
                <a:gd name="connsiteY0" fmla="*/ 0 h 9507"/>
                <a:gd name="connsiteX1" fmla="*/ 60960 w 60959"/>
                <a:gd name="connsiteY1" fmla="*/ 0 h 9507"/>
              </a:gdLst>
              <a:ahLst/>
              <a:cxnLst>
                <a:cxn ang="0">
                  <a:pos x="connsiteX0" y="connsiteY0"/>
                </a:cxn>
                <a:cxn ang="0">
                  <a:pos x="connsiteX1" y="connsiteY1"/>
                </a:cxn>
              </a:cxnLst>
              <a:rect l="l" t="t" r="r" b="b"/>
              <a:pathLst>
                <a:path w="60959" h="9507">
                  <a:moveTo>
                    <a:pt x="0" y="0"/>
                  </a:moveTo>
                  <a:lnTo>
                    <a:pt x="60960" y="0"/>
                  </a:lnTo>
                </a:path>
              </a:pathLst>
            </a:custGeom>
            <a:ln w="10478" cap="flat">
              <a:solidFill>
                <a:srgbClr val="333333"/>
              </a:solidFill>
              <a:prstDash val="solid"/>
              <a:round/>
            </a:ln>
          </p:spPr>
          <p:txBody>
            <a:bodyPr rtlCol="0" anchor="ctr"/>
            <a:lstStyle/>
            <a:p>
              <a:endParaRPr lang="en-US" sz="1050"/>
            </a:p>
          </p:txBody>
        </p:sp>
        <p:sp>
          <p:nvSpPr>
            <p:cNvPr id="239" name="Freeform 291">
              <a:extLst>
                <a:ext uri="{FF2B5EF4-FFF2-40B4-BE49-F238E27FC236}">
                  <a16:creationId xmlns:a16="http://schemas.microsoft.com/office/drawing/2014/main" id="{9EB44C3C-0D0B-FADF-664B-85813F5FAC41}"/>
                </a:ext>
              </a:extLst>
            </p:cNvPr>
            <p:cNvSpPr/>
            <p:nvPr/>
          </p:nvSpPr>
          <p:spPr>
            <a:xfrm>
              <a:off x="1841151" y="6453853"/>
              <a:ext cx="9525" cy="89367"/>
            </a:xfrm>
            <a:custGeom>
              <a:avLst/>
              <a:gdLst>
                <a:gd name="connsiteX0" fmla="*/ 0 w 9525"/>
                <a:gd name="connsiteY0" fmla="*/ 89367 h 89367"/>
                <a:gd name="connsiteX1" fmla="*/ 0 w 9525"/>
                <a:gd name="connsiteY1" fmla="*/ 0 h 89367"/>
              </a:gdLst>
              <a:ahLst/>
              <a:cxnLst>
                <a:cxn ang="0">
                  <a:pos x="connsiteX0" y="connsiteY0"/>
                </a:cxn>
                <a:cxn ang="0">
                  <a:pos x="connsiteX1" y="connsiteY1"/>
                </a:cxn>
              </a:cxnLst>
              <a:rect l="l" t="t" r="r" b="b"/>
              <a:pathLst>
                <a:path w="9525" h="89367">
                  <a:moveTo>
                    <a:pt x="0" y="89367"/>
                  </a:moveTo>
                  <a:lnTo>
                    <a:pt x="0" y="0"/>
                  </a:lnTo>
                </a:path>
              </a:pathLst>
            </a:custGeom>
            <a:ln w="10478" cap="flat">
              <a:solidFill>
                <a:srgbClr val="333333"/>
              </a:solidFill>
              <a:prstDash val="solid"/>
              <a:round/>
            </a:ln>
          </p:spPr>
          <p:txBody>
            <a:bodyPr rtlCol="0" anchor="ctr"/>
            <a:lstStyle/>
            <a:p>
              <a:endParaRPr lang="en-US" sz="1050"/>
            </a:p>
          </p:txBody>
        </p:sp>
        <p:sp>
          <p:nvSpPr>
            <p:cNvPr id="240" name="Freeform 292">
              <a:extLst>
                <a:ext uri="{FF2B5EF4-FFF2-40B4-BE49-F238E27FC236}">
                  <a16:creationId xmlns:a16="http://schemas.microsoft.com/office/drawing/2014/main" id="{39FC1BD3-3BE5-A4BB-2A6E-9DAB72FE7FFE}"/>
                </a:ext>
              </a:extLst>
            </p:cNvPr>
            <p:cNvSpPr/>
            <p:nvPr/>
          </p:nvSpPr>
          <p:spPr>
            <a:xfrm>
              <a:off x="3681381" y="6453853"/>
              <a:ext cx="9525" cy="89367"/>
            </a:xfrm>
            <a:custGeom>
              <a:avLst/>
              <a:gdLst>
                <a:gd name="connsiteX0" fmla="*/ 0 w 9525"/>
                <a:gd name="connsiteY0" fmla="*/ 89367 h 89367"/>
                <a:gd name="connsiteX1" fmla="*/ 0 w 9525"/>
                <a:gd name="connsiteY1" fmla="*/ 0 h 89367"/>
              </a:gdLst>
              <a:ahLst/>
              <a:cxnLst>
                <a:cxn ang="0">
                  <a:pos x="connsiteX0" y="connsiteY0"/>
                </a:cxn>
                <a:cxn ang="0">
                  <a:pos x="connsiteX1" y="connsiteY1"/>
                </a:cxn>
              </a:cxnLst>
              <a:rect l="l" t="t" r="r" b="b"/>
              <a:pathLst>
                <a:path w="9525" h="89367">
                  <a:moveTo>
                    <a:pt x="0" y="89367"/>
                  </a:moveTo>
                  <a:lnTo>
                    <a:pt x="0" y="0"/>
                  </a:lnTo>
                </a:path>
              </a:pathLst>
            </a:custGeom>
            <a:ln w="10478" cap="flat">
              <a:solidFill>
                <a:srgbClr val="333333"/>
              </a:solidFill>
              <a:prstDash val="solid"/>
              <a:round/>
            </a:ln>
          </p:spPr>
          <p:txBody>
            <a:bodyPr rtlCol="0" anchor="ctr"/>
            <a:lstStyle/>
            <a:p>
              <a:endParaRPr lang="en-US" sz="1050"/>
            </a:p>
          </p:txBody>
        </p:sp>
        <p:sp>
          <p:nvSpPr>
            <p:cNvPr id="241" name="Freeform 293">
              <a:extLst>
                <a:ext uri="{FF2B5EF4-FFF2-40B4-BE49-F238E27FC236}">
                  <a16:creationId xmlns:a16="http://schemas.microsoft.com/office/drawing/2014/main" id="{03C4F810-4F97-84D0-B09D-FF59E9AA10B8}"/>
                </a:ext>
              </a:extLst>
            </p:cNvPr>
            <p:cNvSpPr/>
            <p:nvPr/>
          </p:nvSpPr>
          <p:spPr>
            <a:xfrm>
              <a:off x="5520659" y="6453853"/>
              <a:ext cx="9525" cy="89367"/>
            </a:xfrm>
            <a:custGeom>
              <a:avLst/>
              <a:gdLst>
                <a:gd name="connsiteX0" fmla="*/ 0 w 9525"/>
                <a:gd name="connsiteY0" fmla="*/ 89367 h 89367"/>
                <a:gd name="connsiteX1" fmla="*/ 0 w 9525"/>
                <a:gd name="connsiteY1" fmla="*/ 0 h 89367"/>
              </a:gdLst>
              <a:ahLst/>
              <a:cxnLst>
                <a:cxn ang="0">
                  <a:pos x="connsiteX0" y="connsiteY0"/>
                </a:cxn>
                <a:cxn ang="0">
                  <a:pos x="connsiteX1" y="connsiteY1"/>
                </a:cxn>
              </a:cxnLst>
              <a:rect l="l" t="t" r="r" b="b"/>
              <a:pathLst>
                <a:path w="9525" h="89367">
                  <a:moveTo>
                    <a:pt x="0" y="89367"/>
                  </a:moveTo>
                  <a:lnTo>
                    <a:pt x="0" y="0"/>
                  </a:lnTo>
                </a:path>
              </a:pathLst>
            </a:custGeom>
            <a:ln w="10478" cap="flat">
              <a:solidFill>
                <a:srgbClr val="333333"/>
              </a:solidFill>
              <a:prstDash val="solid"/>
              <a:round/>
            </a:ln>
          </p:spPr>
          <p:txBody>
            <a:bodyPr rtlCol="0" anchor="ctr"/>
            <a:lstStyle/>
            <a:p>
              <a:endParaRPr lang="en-US" sz="1050"/>
            </a:p>
          </p:txBody>
        </p:sp>
        <p:sp>
          <p:nvSpPr>
            <p:cNvPr id="242" name="TextBox 241">
              <a:extLst>
                <a:ext uri="{FF2B5EF4-FFF2-40B4-BE49-F238E27FC236}">
                  <a16:creationId xmlns:a16="http://schemas.microsoft.com/office/drawing/2014/main" id="{22B5A7DF-7614-EC95-B1B8-87F56ABBC72E}"/>
                </a:ext>
              </a:extLst>
            </p:cNvPr>
            <p:cNvSpPr txBox="1"/>
            <p:nvPr/>
          </p:nvSpPr>
          <p:spPr>
            <a:xfrm>
              <a:off x="1543972" y="6512712"/>
              <a:ext cx="774848" cy="346996"/>
            </a:xfrm>
            <a:prstGeom prst="rect">
              <a:avLst/>
            </a:prstGeom>
            <a:noFill/>
          </p:spPr>
          <p:txBody>
            <a:bodyPr wrap="none" rtlCol="0">
              <a:spAutoFit/>
            </a:bodyPr>
            <a:lstStyle/>
            <a:p>
              <a:pPr>
                <a:lnSpc>
                  <a:spcPct val="90000"/>
                </a:lnSpc>
                <a:spcAft>
                  <a:spcPts val="450"/>
                </a:spcAft>
              </a:pPr>
              <a:r>
                <a:rPr lang="en-US" sz="1050">
                  <a:ln/>
                  <a:solidFill>
                    <a:srgbClr val="231F20"/>
                  </a:solidFill>
                  <a:latin typeface="HelveticaNeue-Roman"/>
                  <a:ea typeface="HelveticaNeue-Roman"/>
                  <a:cs typeface="HelveticaNeue-Roman"/>
                  <a:sym typeface="HelveticaNeue-Roman"/>
                  <a:rtl val="0"/>
                </a:rPr>
                <a:t>C1D1</a:t>
              </a:r>
            </a:p>
          </p:txBody>
        </p:sp>
        <p:sp>
          <p:nvSpPr>
            <p:cNvPr id="243" name="TextBox 242">
              <a:extLst>
                <a:ext uri="{FF2B5EF4-FFF2-40B4-BE49-F238E27FC236}">
                  <a16:creationId xmlns:a16="http://schemas.microsoft.com/office/drawing/2014/main" id="{D6622EE3-DD2A-FAE9-F985-13A1A018B382}"/>
                </a:ext>
              </a:extLst>
            </p:cNvPr>
            <p:cNvSpPr txBox="1"/>
            <p:nvPr/>
          </p:nvSpPr>
          <p:spPr>
            <a:xfrm>
              <a:off x="3339433" y="6512712"/>
              <a:ext cx="884805" cy="346996"/>
            </a:xfrm>
            <a:prstGeom prst="rect">
              <a:avLst/>
            </a:prstGeom>
            <a:noFill/>
          </p:spPr>
          <p:txBody>
            <a:bodyPr wrap="none" rtlCol="0">
              <a:spAutoFit/>
            </a:bodyPr>
            <a:lstStyle/>
            <a:p>
              <a:pPr>
                <a:lnSpc>
                  <a:spcPct val="90000"/>
                </a:lnSpc>
                <a:spcAft>
                  <a:spcPts val="450"/>
                </a:spcAft>
              </a:pPr>
              <a:r>
                <a:rPr lang="en-US" sz="1050">
                  <a:ln/>
                  <a:solidFill>
                    <a:srgbClr val="231F20"/>
                  </a:solidFill>
                  <a:latin typeface="HelveticaNeue-Roman"/>
                  <a:ea typeface="HelveticaNeue-Roman"/>
                  <a:cs typeface="HelveticaNeue-Roman"/>
                  <a:sym typeface="HelveticaNeue-Roman"/>
                  <a:rtl val="0"/>
                </a:rPr>
                <a:t>C1D15</a:t>
              </a:r>
            </a:p>
          </p:txBody>
        </p:sp>
        <p:sp>
          <p:nvSpPr>
            <p:cNvPr id="244" name="TextBox 243">
              <a:extLst>
                <a:ext uri="{FF2B5EF4-FFF2-40B4-BE49-F238E27FC236}">
                  <a16:creationId xmlns:a16="http://schemas.microsoft.com/office/drawing/2014/main" id="{715551FD-435D-6629-5B46-69F63511371A}"/>
                </a:ext>
              </a:extLst>
            </p:cNvPr>
            <p:cNvSpPr txBox="1"/>
            <p:nvPr/>
          </p:nvSpPr>
          <p:spPr>
            <a:xfrm>
              <a:off x="5224432" y="6512712"/>
              <a:ext cx="774848" cy="346996"/>
            </a:xfrm>
            <a:prstGeom prst="rect">
              <a:avLst/>
            </a:prstGeom>
            <a:noFill/>
          </p:spPr>
          <p:txBody>
            <a:bodyPr wrap="none" rtlCol="0">
              <a:spAutoFit/>
            </a:bodyPr>
            <a:lstStyle/>
            <a:p>
              <a:pPr>
                <a:lnSpc>
                  <a:spcPct val="90000"/>
                </a:lnSpc>
                <a:spcAft>
                  <a:spcPts val="450"/>
                </a:spcAft>
              </a:pPr>
              <a:r>
                <a:rPr lang="en-US" sz="1050">
                  <a:ln/>
                  <a:solidFill>
                    <a:srgbClr val="231F20"/>
                  </a:solidFill>
                  <a:latin typeface="HelveticaNeue-Roman"/>
                  <a:ea typeface="HelveticaNeue-Roman"/>
                  <a:cs typeface="HelveticaNeue-Roman"/>
                  <a:sym typeface="HelveticaNeue-Roman"/>
                  <a:rtl val="0"/>
                </a:rPr>
                <a:t>C2D1</a:t>
              </a:r>
            </a:p>
          </p:txBody>
        </p:sp>
        <p:sp>
          <p:nvSpPr>
            <p:cNvPr id="245" name="TextBox 244">
              <a:extLst>
                <a:ext uri="{FF2B5EF4-FFF2-40B4-BE49-F238E27FC236}">
                  <a16:creationId xmlns:a16="http://schemas.microsoft.com/office/drawing/2014/main" id="{5C8529D0-CBD1-C1A5-8750-B8767EC3F8D7}"/>
                </a:ext>
              </a:extLst>
            </p:cNvPr>
            <p:cNvSpPr txBox="1"/>
            <p:nvPr/>
          </p:nvSpPr>
          <p:spPr>
            <a:xfrm rot="16200000">
              <a:off x="-881280" y="4289614"/>
              <a:ext cx="2328287" cy="377317"/>
            </a:xfrm>
            <a:prstGeom prst="rect">
              <a:avLst/>
            </a:prstGeom>
            <a:noFill/>
          </p:spPr>
          <p:txBody>
            <a:bodyPr wrap="none" rtlCol="0">
              <a:spAutoFit/>
            </a:bodyPr>
            <a:lstStyle/>
            <a:p>
              <a:pPr>
                <a:lnSpc>
                  <a:spcPct val="90000"/>
                </a:lnSpc>
                <a:spcAft>
                  <a:spcPts val="450"/>
                </a:spcAft>
              </a:pPr>
              <a:r>
                <a:rPr lang="en-US" sz="1200" b="1">
                  <a:ln/>
                  <a:solidFill>
                    <a:srgbClr val="231F20"/>
                  </a:solidFill>
                  <a:latin typeface="HelveticaNeue-Bold"/>
                  <a:ea typeface="HelveticaNeue-Bold"/>
                  <a:cs typeface="HelveticaNeue-Bold"/>
                  <a:sym typeface="HelveticaNeue-Bold"/>
                  <a:rtl val="0"/>
                </a:rPr>
                <a:t>Number of Patients</a:t>
              </a:r>
            </a:p>
          </p:txBody>
        </p:sp>
        <p:sp>
          <p:nvSpPr>
            <p:cNvPr id="246" name="TextBox 245">
              <a:extLst>
                <a:ext uri="{FF2B5EF4-FFF2-40B4-BE49-F238E27FC236}">
                  <a16:creationId xmlns:a16="http://schemas.microsoft.com/office/drawing/2014/main" id="{1695B95E-F437-5989-BC55-F68AEB174E08}"/>
                </a:ext>
              </a:extLst>
            </p:cNvPr>
            <p:cNvSpPr txBox="1"/>
            <p:nvPr/>
          </p:nvSpPr>
          <p:spPr>
            <a:xfrm>
              <a:off x="3348006" y="6716164"/>
              <a:ext cx="866089" cy="377317"/>
            </a:xfrm>
            <a:prstGeom prst="rect">
              <a:avLst/>
            </a:prstGeom>
            <a:noFill/>
          </p:spPr>
          <p:txBody>
            <a:bodyPr wrap="none" rtlCol="0">
              <a:spAutoFit/>
            </a:bodyPr>
            <a:lstStyle/>
            <a:p>
              <a:pPr>
                <a:lnSpc>
                  <a:spcPct val="90000"/>
                </a:lnSpc>
                <a:spcAft>
                  <a:spcPts val="450"/>
                </a:spcAft>
              </a:pPr>
              <a:r>
                <a:rPr lang="en-US" sz="1200" b="1">
                  <a:ln/>
                  <a:solidFill>
                    <a:srgbClr val="231F20"/>
                  </a:solidFill>
                  <a:latin typeface="HelveticaNeue-Bold"/>
                  <a:ea typeface="HelveticaNeue-Bold"/>
                  <a:cs typeface="HelveticaNeue-Bold"/>
                  <a:sym typeface="HelveticaNeue-Bold"/>
                  <a:rtl val="0"/>
                </a:rPr>
                <a:t>Cycle</a:t>
              </a:r>
            </a:p>
          </p:txBody>
        </p:sp>
        <p:sp>
          <p:nvSpPr>
            <p:cNvPr id="247" name="TextBox 246">
              <a:extLst>
                <a:ext uri="{FF2B5EF4-FFF2-40B4-BE49-F238E27FC236}">
                  <a16:creationId xmlns:a16="http://schemas.microsoft.com/office/drawing/2014/main" id="{0441EE5C-ACE0-94AE-86D2-0C5C672FC9EC}"/>
                </a:ext>
              </a:extLst>
            </p:cNvPr>
            <p:cNvSpPr txBox="1"/>
            <p:nvPr/>
          </p:nvSpPr>
          <p:spPr>
            <a:xfrm>
              <a:off x="6790341" y="3799867"/>
              <a:ext cx="877787" cy="316676"/>
            </a:xfrm>
            <a:prstGeom prst="rect">
              <a:avLst/>
            </a:prstGeom>
            <a:noFill/>
          </p:spPr>
          <p:txBody>
            <a:bodyPr wrap="none" rtlCol="0">
              <a:spAutoFit/>
            </a:bodyPr>
            <a:lstStyle/>
            <a:p>
              <a:pPr>
                <a:lnSpc>
                  <a:spcPct val="90000"/>
                </a:lnSpc>
                <a:spcAft>
                  <a:spcPts val="450"/>
                </a:spcAft>
              </a:pPr>
              <a:r>
                <a:rPr lang="en-US" sz="900">
                  <a:ln/>
                  <a:solidFill>
                    <a:srgbClr val="231F20"/>
                  </a:solidFill>
                  <a:latin typeface="HelveticaNeue-Roman"/>
                  <a:ea typeface="HelveticaNeue-Roman"/>
                  <a:cs typeface="HelveticaNeue-Roman"/>
                  <a:sym typeface="HelveticaNeue-Roman"/>
                  <a:rtl val="0"/>
                </a:rPr>
                <a:t>Grade 3</a:t>
              </a:r>
            </a:p>
          </p:txBody>
        </p:sp>
        <p:sp>
          <p:nvSpPr>
            <p:cNvPr id="248" name="Freeform 300">
              <a:extLst>
                <a:ext uri="{FF2B5EF4-FFF2-40B4-BE49-F238E27FC236}">
                  <a16:creationId xmlns:a16="http://schemas.microsoft.com/office/drawing/2014/main" id="{1C294015-DB3F-0435-2FDF-8BBF80679A90}"/>
                </a:ext>
              </a:extLst>
            </p:cNvPr>
            <p:cNvSpPr/>
            <p:nvPr/>
          </p:nvSpPr>
          <p:spPr>
            <a:xfrm>
              <a:off x="6746526" y="3870766"/>
              <a:ext cx="127745" cy="114746"/>
            </a:xfrm>
            <a:custGeom>
              <a:avLst/>
              <a:gdLst>
                <a:gd name="connsiteX0" fmla="*/ 0 w 102869"/>
                <a:gd name="connsiteY0" fmla="*/ 0 h 96972"/>
                <a:gd name="connsiteX1" fmla="*/ 102870 w 102869"/>
                <a:gd name="connsiteY1" fmla="*/ 0 h 96972"/>
                <a:gd name="connsiteX2" fmla="*/ 102870 w 102869"/>
                <a:gd name="connsiteY2" fmla="*/ 96973 h 96972"/>
                <a:gd name="connsiteX3" fmla="*/ 0 w 102869"/>
                <a:gd name="connsiteY3" fmla="*/ 96973 h 96972"/>
              </a:gdLst>
              <a:ahLst/>
              <a:cxnLst>
                <a:cxn ang="0">
                  <a:pos x="connsiteX0" y="connsiteY0"/>
                </a:cxn>
                <a:cxn ang="0">
                  <a:pos x="connsiteX1" y="connsiteY1"/>
                </a:cxn>
                <a:cxn ang="0">
                  <a:pos x="connsiteX2" y="connsiteY2"/>
                </a:cxn>
                <a:cxn ang="0">
                  <a:pos x="connsiteX3" y="connsiteY3"/>
                </a:cxn>
              </a:cxnLst>
              <a:rect l="l" t="t" r="r" b="b"/>
              <a:pathLst>
                <a:path w="102869" h="96972">
                  <a:moveTo>
                    <a:pt x="0" y="0"/>
                  </a:moveTo>
                  <a:lnTo>
                    <a:pt x="102870" y="0"/>
                  </a:lnTo>
                  <a:lnTo>
                    <a:pt x="102870" y="96973"/>
                  </a:lnTo>
                  <a:lnTo>
                    <a:pt x="0" y="96973"/>
                  </a:lnTo>
                  <a:close/>
                </a:path>
              </a:pathLst>
            </a:custGeom>
            <a:solidFill>
              <a:srgbClr val="831B55"/>
            </a:solidFill>
            <a:ln w="9525" cap="flat">
              <a:noFill/>
              <a:prstDash val="solid"/>
              <a:miter/>
            </a:ln>
          </p:spPr>
          <p:txBody>
            <a:bodyPr rtlCol="0" anchor="ctr"/>
            <a:lstStyle/>
            <a:p>
              <a:endParaRPr lang="en-US" sz="1050"/>
            </a:p>
          </p:txBody>
        </p:sp>
        <p:sp>
          <p:nvSpPr>
            <p:cNvPr id="249" name="TextBox 248">
              <a:extLst>
                <a:ext uri="{FF2B5EF4-FFF2-40B4-BE49-F238E27FC236}">
                  <a16:creationId xmlns:a16="http://schemas.microsoft.com/office/drawing/2014/main" id="{6CDBD4D7-7886-7455-495E-D551018A0848}"/>
                </a:ext>
              </a:extLst>
            </p:cNvPr>
            <p:cNvSpPr txBox="1"/>
            <p:nvPr/>
          </p:nvSpPr>
          <p:spPr>
            <a:xfrm>
              <a:off x="6790341" y="3970912"/>
              <a:ext cx="877787" cy="316676"/>
            </a:xfrm>
            <a:prstGeom prst="rect">
              <a:avLst/>
            </a:prstGeom>
            <a:noFill/>
          </p:spPr>
          <p:txBody>
            <a:bodyPr wrap="none" rtlCol="0">
              <a:spAutoFit/>
            </a:bodyPr>
            <a:lstStyle/>
            <a:p>
              <a:pPr>
                <a:lnSpc>
                  <a:spcPct val="90000"/>
                </a:lnSpc>
                <a:spcAft>
                  <a:spcPts val="450"/>
                </a:spcAft>
              </a:pPr>
              <a:r>
                <a:rPr lang="en-US" sz="900">
                  <a:ln/>
                  <a:solidFill>
                    <a:srgbClr val="231F20"/>
                  </a:solidFill>
                  <a:latin typeface="HelveticaNeue-Roman"/>
                  <a:ea typeface="HelveticaNeue-Roman"/>
                  <a:cs typeface="HelveticaNeue-Roman"/>
                  <a:sym typeface="HelveticaNeue-Roman"/>
                  <a:rtl val="0"/>
                </a:rPr>
                <a:t>Grade 2</a:t>
              </a:r>
            </a:p>
          </p:txBody>
        </p:sp>
        <p:sp>
          <p:nvSpPr>
            <p:cNvPr id="250" name="Freeform 302">
              <a:extLst>
                <a:ext uri="{FF2B5EF4-FFF2-40B4-BE49-F238E27FC236}">
                  <a16:creationId xmlns:a16="http://schemas.microsoft.com/office/drawing/2014/main" id="{DFE6E8A3-B866-D5AB-A720-6BEA24EEBF4F}"/>
                </a:ext>
              </a:extLst>
            </p:cNvPr>
            <p:cNvSpPr/>
            <p:nvPr/>
          </p:nvSpPr>
          <p:spPr>
            <a:xfrm>
              <a:off x="6746526" y="4040859"/>
              <a:ext cx="127745" cy="114746"/>
            </a:xfrm>
            <a:custGeom>
              <a:avLst/>
              <a:gdLst>
                <a:gd name="connsiteX0" fmla="*/ 0 w 102869"/>
                <a:gd name="connsiteY0" fmla="*/ 0 h 96972"/>
                <a:gd name="connsiteX1" fmla="*/ 102870 w 102869"/>
                <a:gd name="connsiteY1" fmla="*/ 0 h 96972"/>
                <a:gd name="connsiteX2" fmla="*/ 102870 w 102869"/>
                <a:gd name="connsiteY2" fmla="*/ 96973 h 96972"/>
                <a:gd name="connsiteX3" fmla="*/ 0 w 102869"/>
                <a:gd name="connsiteY3" fmla="*/ 96973 h 96972"/>
              </a:gdLst>
              <a:ahLst/>
              <a:cxnLst>
                <a:cxn ang="0">
                  <a:pos x="connsiteX0" y="connsiteY0"/>
                </a:cxn>
                <a:cxn ang="0">
                  <a:pos x="connsiteX1" y="connsiteY1"/>
                </a:cxn>
                <a:cxn ang="0">
                  <a:pos x="connsiteX2" y="connsiteY2"/>
                </a:cxn>
                <a:cxn ang="0">
                  <a:pos x="connsiteX3" y="connsiteY3"/>
                </a:cxn>
              </a:cxnLst>
              <a:rect l="l" t="t" r="r" b="b"/>
              <a:pathLst>
                <a:path w="102869" h="96972">
                  <a:moveTo>
                    <a:pt x="0" y="0"/>
                  </a:moveTo>
                  <a:lnTo>
                    <a:pt x="102870" y="0"/>
                  </a:lnTo>
                  <a:lnTo>
                    <a:pt x="102870" y="96973"/>
                  </a:lnTo>
                  <a:lnTo>
                    <a:pt x="0" y="96973"/>
                  </a:lnTo>
                  <a:close/>
                </a:path>
              </a:pathLst>
            </a:custGeom>
            <a:solidFill>
              <a:srgbClr val="FCAF17"/>
            </a:solidFill>
            <a:ln w="9525" cap="flat">
              <a:noFill/>
              <a:prstDash val="solid"/>
              <a:miter/>
            </a:ln>
          </p:spPr>
          <p:txBody>
            <a:bodyPr rtlCol="0" anchor="ctr"/>
            <a:lstStyle/>
            <a:p>
              <a:endParaRPr lang="en-US" sz="1050"/>
            </a:p>
          </p:txBody>
        </p:sp>
        <p:sp>
          <p:nvSpPr>
            <p:cNvPr id="251" name="TextBox 250">
              <a:extLst>
                <a:ext uri="{FF2B5EF4-FFF2-40B4-BE49-F238E27FC236}">
                  <a16:creationId xmlns:a16="http://schemas.microsoft.com/office/drawing/2014/main" id="{E7F1338C-EFD7-4A98-C55B-20AB1E4D6CA6}"/>
                </a:ext>
              </a:extLst>
            </p:cNvPr>
            <p:cNvSpPr txBox="1"/>
            <p:nvPr/>
          </p:nvSpPr>
          <p:spPr>
            <a:xfrm>
              <a:off x="6790341" y="4135789"/>
              <a:ext cx="877787" cy="316676"/>
            </a:xfrm>
            <a:prstGeom prst="rect">
              <a:avLst/>
            </a:prstGeom>
            <a:noFill/>
          </p:spPr>
          <p:txBody>
            <a:bodyPr wrap="none" rtlCol="0">
              <a:spAutoFit/>
            </a:bodyPr>
            <a:lstStyle/>
            <a:p>
              <a:pPr>
                <a:lnSpc>
                  <a:spcPct val="90000"/>
                </a:lnSpc>
                <a:spcAft>
                  <a:spcPts val="450"/>
                </a:spcAft>
              </a:pPr>
              <a:r>
                <a:rPr lang="en-US" sz="900">
                  <a:ln/>
                  <a:solidFill>
                    <a:srgbClr val="231F20"/>
                  </a:solidFill>
                  <a:latin typeface="HelveticaNeue-Roman"/>
                  <a:ea typeface="HelveticaNeue-Roman"/>
                  <a:cs typeface="HelveticaNeue-Roman"/>
                  <a:sym typeface="HelveticaNeue-Roman"/>
                  <a:rtl val="0"/>
                </a:rPr>
                <a:t>Grade 1</a:t>
              </a:r>
            </a:p>
          </p:txBody>
        </p:sp>
        <p:sp>
          <p:nvSpPr>
            <p:cNvPr id="252" name="TextBox 251">
              <a:extLst>
                <a:ext uri="{FF2B5EF4-FFF2-40B4-BE49-F238E27FC236}">
                  <a16:creationId xmlns:a16="http://schemas.microsoft.com/office/drawing/2014/main" id="{FE921428-60F5-4E1D-59D0-BAE74D9A2B82}"/>
                </a:ext>
              </a:extLst>
            </p:cNvPr>
            <p:cNvSpPr txBox="1"/>
            <p:nvPr/>
          </p:nvSpPr>
          <p:spPr>
            <a:xfrm>
              <a:off x="6655086" y="3608897"/>
              <a:ext cx="1008799" cy="316676"/>
            </a:xfrm>
            <a:prstGeom prst="rect">
              <a:avLst/>
            </a:prstGeom>
            <a:noFill/>
          </p:spPr>
          <p:txBody>
            <a:bodyPr wrap="none" rtlCol="0">
              <a:spAutoFit/>
            </a:bodyPr>
            <a:lstStyle/>
            <a:p>
              <a:pPr>
                <a:lnSpc>
                  <a:spcPct val="90000"/>
                </a:lnSpc>
                <a:spcAft>
                  <a:spcPts val="450"/>
                </a:spcAft>
              </a:pPr>
              <a:r>
                <a:rPr lang="en-US" sz="900">
                  <a:ln/>
                  <a:solidFill>
                    <a:srgbClr val="231F20"/>
                  </a:solidFill>
                  <a:latin typeface="HelveticaNeue-Roman"/>
                  <a:ea typeface="HelveticaNeue-Roman"/>
                  <a:cs typeface="HelveticaNeue-Roman"/>
                  <a:sym typeface="HelveticaNeue-Roman"/>
                  <a:rtl val="0"/>
                </a:rPr>
                <a:t>NT Grade</a:t>
              </a:r>
            </a:p>
          </p:txBody>
        </p:sp>
        <p:sp>
          <p:nvSpPr>
            <p:cNvPr id="253" name="Freeform 305">
              <a:extLst>
                <a:ext uri="{FF2B5EF4-FFF2-40B4-BE49-F238E27FC236}">
                  <a16:creationId xmlns:a16="http://schemas.microsoft.com/office/drawing/2014/main" id="{6DB233F4-6B9B-967C-59A1-8375375BB002}"/>
                </a:ext>
              </a:extLst>
            </p:cNvPr>
            <p:cNvSpPr/>
            <p:nvPr/>
          </p:nvSpPr>
          <p:spPr>
            <a:xfrm>
              <a:off x="6746526" y="4206688"/>
              <a:ext cx="127745" cy="114746"/>
            </a:xfrm>
            <a:custGeom>
              <a:avLst/>
              <a:gdLst>
                <a:gd name="connsiteX0" fmla="*/ 0 w 102869"/>
                <a:gd name="connsiteY0" fmla="*/ 0 h 96972"/>
                <a:gd name="connsiteX1" fmla="*/ 102870 w 102869"/>
                <a:gd name="connsiteY1" fmla="*/ 0 h 96972"/>
                <a:gd name="connsiteX2" fmla="*/ 102870 w 102869"/>
                <a:gd name="connsiteY2" fmla="*/ 96973 h 96972"/>
                <a:gd name="connsiteX3" fmla="*/ 0 w 102869"/>
                <a:gd name="connsiteY3" fmla="*/ 96973 h 96972"/>
              </a:gdLst>
              <a:ahLst/>
              <a:cxnLst>
                <a:cxn ang="0">
                  <a:pos x="connsiteX0" y="connsiteY0"/>
                </a:cxn>
                <a:cxn ang="0">
                  <a:pos x="connsiteX1" y="connsiteY1"/>
                </a:cxn>
                <a:cxn ang="0">
                  <a:pos x="connsiteX2" y="connsiteY2"/>
                </a:cxn>
                <a:cxn ang="0">
                  <a:pos x="connsiteX3" y="connsiteY3"/>
                </a:cxn>
              </a:cxnLst>
              <a:rect l="l" t="t" r="r" b="b"/>
              <a:pathLst>
                <a:path w="102869" h="96972">
                  <a:moveTo>
                    <a:pt x="0" y="0"/>
                  </a:moveTo>
                  <a:lnTo>
                    <a:pt x="102870" y="0"/>
                  </a:lnTo>
                  <a:lnTo>
                    <a:pt x="102870" y="96973"/>
                  </a:lnTo>
                  <a:lnTo>
                    <a:pt x="0" y="96973"/>
                  </a:lnTo>
                  <a:close/>
                </a:path>
              </a:pathLst>
            </a:custGeom>
            <a:solidFill>
              <a:srgbClr val="C1D42F"/>
            </a:solidFill>
            <a:ln w="9525" cap="flat">
              <a:noFill/>
              <a:prstDash val="solid"/>
              <a:miter/>
            </a:ln>
          </p:spPr>
          <p:txBody>
            <a:bodyPr rtlCol="0" anchor="ctr"/>
            <a:lstStyle/>
            <a:p>
              <a:endParaRPr lang="en-US" sz="1050"/>
            </a:p>
          </p:txBody>
        </p:sp>
        <p:sp>
          <p:nvSpPr>
            <p:cNvPr id="254" name="TextBox 253">
              <a:extLst>
                <a:ext uri="{FF2B5EF4-FFF2-40B4-BE49-F238E27FC236}">
                  <a16:creationId xmlns:a16="http://schemas.microsoft.com/office/drawing/2014/main" id="{B021739F-8582-251B-DCE4-94A7D352EF5B}"/>
                </a:ext>
              </a:extLst>
            </p:cNvPr>
            <p:cNvSpPr txBox="1"/>
            <p:nvPr/>
          </p:nvSpPr>
          <p:spPr>
            <a:xfrm>
              <a:off x="6790341" y="4301619"/>
              <a:ext cx="756132" cy="316676"/>
            </a:xfrm>
            <a:prstGeom prst="rect">
              <a:avLst/>
            </a:prstGeom>
            <a:noFill/>
          </p:spPr>
          <p:txBody>
            <a:bodyPr wrap="none" rtlCol="0">
              <a:spAutoFit/>
            </a:bodyPr>
            <a:lstStyle/>
            <a:p>
              <a:pPr>
                <a:lnSpc>
                  <a:spcPct val="90000"/>
                </a:lnSpc>
                <a:spcAft>
                  <a:spcPts val="450"/>
                </a:spcAft>
              </a:pPr>
              <a:r>
                <a:rPr lang="en-US" sz="900">
                  <a:ln/>
                  <a:solidFill>
                    <a:srgbClr val="231F20"/>
                  </a:solidFill>
                  <a:latin typeface="HelveticaNeue-Roman"/>
                  <a:ea typeface="HelveticaNeue-Roman"/>
                  <a:cs typeface="HelveticaNeue-Roman"/>
                  <a:sym typeface="HelveticaNeue-Roman"/>
                  <a:rtl val="0"/>
                </a:rPr>
                <a:t>No NT</a:t>
              </a:r>
            </a:p>
          </p:txBody>
        </p:sp>
        <p:sp>
          <p:nvSpPr>
            <p:cNvPr id="255" name="Freeform 307">
              <a:extLst>
                <a:ext uri="{FF2B5EF4-FFF2-40B4-BE49-F238E27FC236}">
                  <a16:creationId xmlns:a16="http://schemas.microsoft.com/office/drawing/2014/main" id="{4DA5864E-371D-1A59-1CF4-0534B4B94A54}"/>
                </a:ext>
              </a:extLst>
            </p:cNvPr>
            <p:cNvSpPr/>
            <p:nvPr/>
          </p:nvSpPr>
          <p:spPr>
            <a:xfrm>
              <a:off x="6746526" y="4370664"/>
              <a:ext cx="127745" cy="114746"/>
            </a:xfrm>
            <a:custGeom>
              <a:avLst/>
              <a:gdLst>
                <a:gd name="connsiteX0" fmla="*/ 0 w 102869"/>
                <a:gd name="connsiteY0" fmla="*/ 0 h 96972"/>
                <a:gd name="connsiteX1" fmla="*/ 102870 w 102869"/>
                <a:gd name="connsiteY1" fmla="*/ 0 h 96972"/>
                <a:gd name="connsiteX2" fmla="*/ 102870 w 102869"/>
                <a:gd name="connsiteY2" fmla="*/ 96973 h 96972"/>
                <a:gd name="connsiteX3" fmla="*/ 0 w 102869"/>
                <a:gd name="connsiteY3" fmla="*/ 96973 h 96972"/>
              </a:gdLst>
              <a:ahLst/>
              <a:cxnLst>
                <a:cxn ang="0">
                  <a:pos x="connsiteX0" y="connsiteY0"/>
                </a:cxn>
                <a:cxn ang="0">
                  <a:pos x="connsiteX1" y="connsiteY1"/>
                </a:cxn>
                <a:cxn ang="0">
                  <a:pos x="connsiteX2" y="connsiteY2"/>
                </a:cxn>
                <a:cxn ang="0">
                  <a:pos x="connsiteX3" y="connsiteY3"/>
                </a:cxn>
              </a:cxnLst>
              <a:rect l="l" t="t" r="r" b="b"/>
              <a:pathLst>
                <a:path w="102869" h="96972">
                  <a:moveTo>
                    <a:pt x="0" y="0"/>
                  </a:moveTo>
                  <a:lnTo>
                    <a:pt x="102870" y="0"/>
                  </a:lnTo>
                  <a:lnTo>
                    <a:pt x="102870" y="96973"/>
                  </a:lnTo>
                  <a:lnTo>
                    <a:pt x="0" y="96973"/>
                  </a:lnTo>
                  <a:close/>
                </a:path>
              </a:pathLst>
            </a:custGeom>
            <a:solidFill>
              <a:srgbClr val="BBBDBF"/>
            </a:solidFill>
            <a:ln w="9525" cap="flat">
              <a:noFill/>
              <a:prstDash val="solid"/>
              <a:miter/>
            </a:ln>
          </p:spPr>
          <p:txBody>
            <a:bodyPr rtlCol="0" anchor="ctr"/>
            <a:lstStyle/>
            <a:p>
              <a:endParaRPr lang="en-US" sz="1050"/>
            </a:p>
          </p:txBody>
        </p:sp>
        <p:sp>
          <p:nvSpPr>
            <p:cNvPr id="256" name="Freeform 308">
              <a:extLst>
                <a:ext uri="{FF2B5EF4-FFF2-40B4-BE49-F238E27FC236}">
                  <a16:creationId xmlns:a16="http://schemas.microsoft.com/office/drawing/2014/main" id="{431B550B-8C60-AC2E-624A-E15427FD1493}"/>
                </a:ext>
              </a:extLst>
            </p:cNvPr>
            <p:cNvSpPr/>
            <p:nvPr/>
          </p:nvSpPr>
          <p:spPr>
            <a:xfrm>
              <a:off x="2147856" y="2452302"/>
              <a:ext cx="1226820" cy="237678"/>
            </a:xfrm>
            <a:custGeom>
              <a:avLst/>
              <a:gdLst>
                <a:gd name="connsiteX0" fmla="*/ 0 w 1226820"/>
                <a:gd name="connsiteY0" fmla="*/ 237678 h 237678"/>
                <a:gd name="connsiteX1" fmla="*/ 953 w 1226820"/>
                <a:gd name="connsiteY1" fmla="*/ 237678 h 237678"/>
                <a:gd name="connsiteX2" fmla="*/ 8573 w 1226820"/>
                <a:gd name="connsiteY2" fmla="*/ 237678 h 237678"/>
                <a:gd name="connsiteX3" fmla="*/ 26670 w 1226820"/>
                <a:gd name="connsiteY3" fmla="*/ 237678 h 237678"/>
                <a:gd name="connsiteX4" fmla="*/ 56198 w 1226820"/>
                <a:gd name="connsiteY4" fmla="*/ 237678 h 237678"/>
                <a:gd name="connsiteX5" fmla="*/ 92392 w 1226820"/>
                <a:gd name="connsiteY5" fmla="*/ 237678 h 237678"/>
                <a:gd name="connsiteX6" fmla="*/ 132398 w 1226820"/>
                <a:gd name="connsiteY6" fmla="*/ 237678 h 237678"/>
                <a:gd name="connsiteX7" fmla="*/ 171450 w 1226820"/>
                <a:gd name="connsiteY7" fmla="*/ 237678 h 237678"/>
                <a:gd name="connsiteX8" fmla="*/ 208598 w 1226820"/>
                <a:gd name="connsiteY8" fmla="*/ 237678 h 237678"/>
                <a:gd name="connsiteX9" fmla="*/ 243840 w 1226820"/>
                <a:gd name="connsiteY9" fmla="*/ 237678 h 237678"/>
                <a:gd name="connsiteX10" fmla="*/ 276225 w 1226820"/>
                <a:gd name="connsiteY10" fmla="*/ 237678 h 237678"/>
                <a:gd name="connsiteX11" fmla="*/ 308610 w 1226820"/>
                <a:gd name="connsiteY11" fmla="*/ 237678 h 237678"/>
                <a:gd name="connsiteX12" fmla="*/ 340995 w 1226820"/>
                <a:gd name="connsiteY12" fmla="*/ 237678 h 237678"/>
                <a:gd name="connsiteX13" fmla="*/ 357188 w 1226820"/>
                <a:gd name="connsiteY13" fmla="*/ 237678 h 237678"/>
                <a:gd name="connsiteX14" fmla="*/ 386715 w 1226820"/>
                <a:gd name="connsiteY14" fmla="*/ 237678 h 237678"/>
                <a:gd name="connsiteX15" fmla="*/ 417195 w 1226820"/>
                <a:gd name="connsiteY15" fmla="*/ 237678 h 237678"/>
                <a:gd name="connsiteX16" fmla="*/ 449580 w 1226820"/>
                <a:gd name="connsiteY16" fmla="*/ 237678 h 237678"/>
                <a:gd name="connsiteX17" fmla="*/ 483870 w 1226820"/>
                <a:gd name="connsiteY17" fmla="*/ 237678 h 237678"/>
                <a:gd name="connsiteX18" fmla="*/ 519113 w 1226820"/>
                <a:gd name="connsiteY18" fmla="*/ 237678 h 237678"/>
                <a:gd name="connsiteX19" fmla="*/ 556260 w 1226820"/>
                <a:gd name="connsiteY19" fmla="*/ 237678 h 237678"/>
                <a:gd name="connsiteX20" fmla="*/ 594360 w 1226820"/>
                <a:gd name="connsiteY20" fmla="*/ 237678 h 237678"/>
                <a:gd name="connsiteX21" fmla="*/ 633413 w 1226820"/>
                <a:gd name="connsiteY21" fmla="*/ 237678 h 237678"/>
                <a:gd name="connsiteX22" fmla="*/ 671513 w 1226820"/>
                <a:gd name="connsiteY22" fmla="*/ 237678 h 237678"/>
                <a:gd name="connsiteX23" fmla="*/ 708660 w 1226820"/>
                <a:gd name="connsiteY23" fmla="*/ 237678 h 237678"/>
                <a:gd name="connsiteX24" fmla="*/ 743902 w 1226820"/>
                <a:gd name="connsiteY24" fmla="*/ 237678 h 237678"/>
                <a:gd name="connsiteX25" fmla="*/ 778193 w 1226820"/>
                <a:gd name="connsiteY25" fmla="*/ 237678 h 237678"/>
                <a:gd name="connsiteX26" fmla="*/ 810577 w 1226820"/>
                <a:gd name="connsiteY26" fmla="*/ 237678 h 237678"/>
                <a:gd name="connsiteX27" fmla="*/ 841058 w 1226820"/>
                <a:gd name="connsiteY27" fmla="*/ 237678 h 237678"/>
                <a:gd name="connsiteX28" fmla="*/ 868680 w 1226820"/>
                <a:gd name="connsiteY28" fmla="*/ 237678 h 237678"/>
                <a:gd name="connsiteX29" fmla="*/ 902018 w 1226820"/>
                <a:gd name="connsiteY29" fmla="*/ 237678 h 237678"/>
                <a:gd name="connsiteX30" fmla="*/ 933450 w 1226820"/>
                <a:gd name="connsiteY30" fmla="*/ 237678 h 237678"/>
                <a:gd name="connsiteX31" fmla="*/ 965835 w 1226820"/>
                <a:gd name="connsiteY31" fmla="*/ 237678 h 237678"/>
                <a:gd name="connsiteX32" fmla="*/ 999173 w 1226820"/>
                <a:gd name="connsiteY32" fmla="*/ 237678 h 237678"/>
                <a:gd name="connsiteX33" fmla="*/ 1035368 w 1226820"/>
                <a:gd name="connsiteY33" fmla="*/ 237678 h 237678"/>
                <a:gd name="connsiteX34" fmla="*/ 1073468 w 1226820"/>
                <a:gd name="connsiteY34" fmla="*/ 237678 h 237678"/>
                <a:gd name="connsiteX35" fmla="*/ 1113473 w 1226820"/>
                <a:gd name="connsiteY35" fmla="*/ 237678 h 237678"/>
                <a:gd name="connsiteX36" fmla="*/ 1152525 w 1226820"/>
                <a:gd name="connsiteY36" fmla="*/ 237678 h 237678"/>
                <a:gd name="connsiteX37" fmla="*/ 1185863 w 1226820"/>
                <a:gd name="connsiteY37" fmla="*/ 237678 h 237678"/>
                <a:gd name="connsiteX38" fmla="*/ 1209675 w 1226820"/>
                <a:gd name="connsiteY38" fmla="*/ 237678 h 237678"/>
                <a:gd name="connsiteX39" fmla="*/ 1222058 w 1226820"/>
                <a:gd name="connsiteY39" fmla="*/ 237678 h 237678"/>
                <a:gd name="connsiteX40" fmla="*/ 1225868 w 1226820"/>
                <a:gd name="connsiteY40" fmla="*/ 237678 h 237678"/>
                <a:gd name="connsiteX41" fmla="*/ 1226820 w 1226820"/>
                <a:gd name="connsiteY41" fmla="*/ 237678 h 237678"/>
                <a:gd name="connsiteX42" fmla="*/ 1226820 w 1226820"/>
                <a:gd name="connsiteY42" fmla="*/ 0 h 237678"/>
                <a:gd name="connsiteX43" fmla="*/ 1224915 w 1226820"/>
                <a:gd name="connsiteY43" fmla="*/ 0 h 237678"/>
                <a:gd name="connsiteX44" fmla="*/ 1217295 w 1226820"/>
                <a:gd name="connsiteY44" fmla="*/ 0 h 237678"/>
                <a:gd name="connsiteX45" fmla="*/ 1199198 w 1226820"/>
                <a:gd name="connsiteY45" fmla="*/ 0 h 237678"/>
                <a:gd name="connsiteX46" fmla="*/ 1170623 w 1226820"/>
                <a:gd name="connsiteY46" fmla="*/ 0 h 237678"/>
                <a:gd name="connsiteX47" fmla="*/ 1133475 w 1226820"/>
                <a:gd name="connsiteY47" fmla="*/ 0 h 237678"/>
                <a:gd name="connsiteX48" fmla="*/ 1094423 w 1226820"/>
                <a:gd name="connsiteY48" fmla="*/ 0 h 237678"/>
                <a:gd name="connsiteX49" fmla="*/ 1054418 w 1226820"/>
                <a:gd name="connsiteY49" fmla="*/ 0 h 237678"/>
                <a:gd name="connsiteX50" fmla="*/ 1017270 w 1226820"/>
                <a:gd name="connsiteY50" fmla="*/ 0 h 237678"/>
                <a:gd name="connsiteX51" fmla="*/ 982980 w 1226820"/>
                <a:gd name="connsiteY51" fmla="*/ 0 h 237678"/>
                <a:gd name="connsiteX52" fmla="*/ 949643 w 1226820"/>
                <a:gd name="connsiteY52" fmla="*/ 0 h 237678"/>
                <a:gd name="connsiteX53" fmla="*/ 918210 w 1226820"/>
                <a:gd name="connsiteY53" fmla="*/ 0 h 237678"/>
                <a:gd name="connsiteX54" fmla="*/ 885825 w 1226820"/>
                <a:gd name="connsiteY54" fmla="*/ 0 h 237678"/>
                <a:gd name="connsiteX55" fmla="*/ 868680 w 1226820"/>
                <a:gd name="connsiteY55" fmla="*/ 0 h 237678"/>
                <a:gd name="connsiteX56" fmla="*/ 840105 w 1226820"/>
                <a:gd name="connsiteY56" fmla="*/ 0 h 237678"/>
                <a:gd name="connsiteX57" fmla="*/ 809625 w 1226820"/>
                <a:gd name="connsiteY57" fmla="*/ 0 h 237678"/>
                <a:gd name="connsiteX58" fmla="*/ 777240 w 1226820"/>
                <a:gd name="connsiteY58" fmla="*/ 0 h 237678"/>
                <a:gd name="connsiteX59" fmla="*/ 742950 w 1226820"/>
                <a:gd name="connsiteY59" fmla="*/ 0 h 237678"/>
                <a:gd name="connsiteX60" fmla="*/ 706755 w 1226820"/>
                <a:gd name="connsiteY60" fmla="*/ 0 h 237678"/>
                <a:gd name="connsiteX61" fmla="*/ 669608 w 1226820"/>
                <a:gd name="connsiteY61" fmla="*/ 0 h 237678"/>
                <a:gd name="connsiteX62" fmla="*/ 631508 w 1226820"/>
                <a:gd name="connsiteY62" fmla="*/ 0 h 237678"/>
                <a:gd name="connsiteX63" fmla="*/ 593408 w 1226820"/>
                <a:gd name="connsiteY63" fmla="*/ 0 h 237678"/>
                <a:gd name="connsiteX64" fmla="*/ 555308 w 1226820"/>
                <a:gd name="connsiteY64" fmla="*/ 0 h 237678"/>
                <a:gd name="connsiteX65" fmla="*/ 517208 w 1226820"/>
                <a:gd name="connsiteY65" fmla="*/ 0 h 237678"/>
                <a:gd name="connsiteX66" fmla="*/ 481965 w 1226820"/>
                <a:gd name="connsiteY66" fmla="*/ 0 h 237678"/>
                <a:gd name="connsiteX67" fmla="*/ 447675 w 1226820"/>
                <a:gd name="connsiteY67" fmla="*/ 0 h 237678"/>
                <a:gd name="connsiteX68" fmla="*/ 415290 w 1226820"/>
                <a:gd name="connsiteY68" fmla="*/ 0 h 237678"/>
                <a:gd name="connsiteX69" fmla="*/ 384810 w 1226820"/>
                <a:gd name="connsiteY69" fmla="*/ 0 h 237678"/>
                <a:gd name="connsiteX70" fmla="*/ 357188 w 1226820"/>
                <a:gd name="connsiteY70" fmla="*/ 0 h 237678"/>
                <a:gd name="connsiteX71" fmla="*/ 324803 w 1226820"/>
                <a:gd name="connsiteY71" fmla="*/ 0 h 237678"/>
                <a:gd name="connsiteX72" fmla="*/ 292417 w 1226820"/>
                <a:gd name="connsiteY72" fmla="*/ 0 h 237678"/>
                <a:gd name="connsiteX73" fmla="*/ 260985 w 1226820"/>
                <a:gd name="connsiteY73" fmla="*/ 0 h 237678"/>
                <a:gd name="connsiteX74" fmla="*/ 226695 w 1226820"/>
                <a:gd name="connsiteY74" fmla="*/ 0 h 237678"/>
                <a:gd name="connsiteX75" fmla="*/ 190500 w 1226820"/>
                <a:gd name="connsiteY75" fmla="*/ 0 h 237678"/>
                <a:gd name="connsiteX76" fmla="*/ 152400 w 1226820"/>
                <a:gd name="connsiteY76" fmla="*/ 0 h 237678"/>
                <a:gd name="connsiteX77" fmla="*/ 112395 w 1226820"/>
                <a:gd name="connsiteY77" fmla="*/ 0 h 237678"/>
                <a:gd name="connsiteX78" fmla="*/ 73342 w 1226820"/>
                <a:gd name="connsiteY78" fmla="*/ 0 h 237678"/>
                <a:gd name="connsiteX79" fmla="*/ 40958 w 1226820"/>
                <a:gd name="connsiteY79" fmla="*/ 0 h 237678"/>
                <a:gd name="connsiteX80" fmla="*/ 17145 w 1226820"/>
                <a:gd name="connsiteY80" fmla="*/ 0 h 237678"/>
                <a:gd name="connsiteX81" fmla="*/ 3810 w 1226820"/>
                <a:gd name="connsiteY81" fmla="*/ 0 h 237678"/>
                <a:gd name="connsiteX82" fmla="*/ 0 w 1226820"/>
                <a:gd name="connsiteY82" fmla="*/ 0 h 237678"/>
                <a:gd name="connsiteX83" fmla="*/ 0 w 1226820"/>
                <a:gd name="connsiteY83" fmla="*/ 0 h 237678"/>
                <a:gd name="connsiteX84" fmla="*/ 0 w 1226820"/>
                <a:gd name="connsiteY84" fmla="*/ 237678 h 23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26820" h="237678">
                  <a:moveTo>
                    <a:pt x="0" y="237678"/>
                  </a:moveTo>
                  <a:lnTo>
                    <a:pt x="953" y="237678"/>
                  </a:lnTo>
                  <a:lnTo>
                    <a:pt x="8573" y="237678"/>
                  </a:lnTo>
                  <a:lnTo>
                    <a:pt x="26670" y="237678"/>
                  </a:lnTo>
                  <a:lnTo>
                    <a:pt x="56198" y="237678"/>
                  </a:lnTo>
                  <a:lnTo>
                    <a:pt x="92392" y="237678"/>
                  </a:lnTo>
                  <a:lnTo>
                    <a:pt x="132398" y="237678"/>
                  </a:lnTo>
                  <a:lnTo>
                    <a:pt x="171450" y="237678"/>
                  </a:lnTo>
                  <a:lnTo>
                    <a:pt x="208598" y="237678"/>
                  </a:lnTo>
                  <a:lnTo>
                    <a:pt x="243840" y="237678"/>
                  </a:lnTo>
                  <a:lnTo>
                    <a:pt x="276225" y="237678"/>
                  </a:lnTo>
                  <a:lnTo>
                    <a:pt x="308610" y="237678"/>
                  </a:lnTo>
                  <a:lnTo>
                    <a:pt x="340995" y="237678"/>
                  </a:lnTo>
                  <a:lnTo>
                    <a:pt x="357188" y="237678"/>
                  </a:lnTo>
                  <a:lnTo>
                    <a:pt x="386715" y="237678"/>
                  </a:lnTo>
                  <a:lnTo>
                    <a:pt x="417195" y="237678"/>
                  </a:lnTo>
                  <a:lnTo>
                    <a:pt x="449580" y="237678"/>
                  </a:lnTo>
                  <a:lnTo>
                    <a:pt x="483870" y="237678"/>
                  </a:lnTo>
                  <a:lnTo>
                    <a:pt x="519113" y="237678"/>
                  </a:lnTo>
                  <a:lnTo>
                    <a:pt x="556260" y="237678"/>
                  </a:lnTo>
                  <a:lnTo>
                    <a:pt x="594360" y="237678"/>
                  </a:lnTo>
                  <a:lnTo>
                    <a:pt x="633413" y="237678"/>
                  </a:lnTo>
                  <a:lnTo>
                    <a:pt x="671513" y="237678"/>
                  </a:lnTo>
                  <a:lnTo>
                    <a:pt x="708660" y="237678"/>
                  </a:lnTo>
                  <a:lnTo>
                    <a:pt x="743902" y="237678"/>
                  </a:lnTo>
                  <a:lnTo>
                    <a:pt x="778193" y="237678"/>
                  </a:lnTo>
                  <a:lnTo>
                    <a:pt x="810577" y="237678"/>
                  </a:lnTo>
                  <a:lnTo>
                    <a:pt x="841058" y="237678"/>
                  </a:lnTo>
                  <a:lnTo>
                    <a:pt x="868680" y="237678"/>
                  </a:lnTo>
                  <a:lnTo>
                    <a:pt x="902018" y="237678"/>
                  </a:lnTo>
                  <a:lnTo>
                    <a:pt x="933450" y="237678"/>
                  </a:lnTo>
                  <a:lnTo>
                    <a:pt x="965835" y="237678"/>
                  </a:lnTo>
                  <a:lnTo>
                    <a:pt x="999173" y="237678"/>
                  </a:lnTo>
                  <a:lnTo>
                    <a:pt x="1035368" y="237678"/>
                  </a:lnTo>
                  <a:lnTo>
                    <a:pt x="1073468" y="237678"/>
                  </a:lnTo>
                  <a:lnTo>
                    <a:pt x="1113473" y="237678"/>
                  </a:lnTo>
                  <a:lnTo>
                    <a:pt x="1152525" y="237678"/>
                  </a:lnTo>
                  <a:lnTo>
                    <a:pt x="1185863" y="237678"/>
                  </a:lnTo>
                  <a:lnTo>
                    <a:pt x="1209675" y="237678"/>
                  </a:lnTo>
                  <a:lnTo>
                    <a:pt x="1222058" y="237678"/>
                  </a:lnTo>
                  <a:lnTo>
                    <a:pt x="1225868" y="237678"/>
                  </a:lnTo>
                  <a:lnTo>
                    <a:pt x="1226820" y="237678"/>
                  </a:lnTo>
                  <a:lnTo>
                    <a:pt x="1226820" y="0"/>
                  </a:lnTo>
                  <a:lnTo>
                    <a:pt x="1224915" y="0"/>
                  </a:lnTo>
                  <a:lnTo>
                    <a:pt x="1217295" y="0"/>
                  </a:lnTo>
                  <a:lnTo>
                    <a:pt x="1199198" y="0"/>
                  </a:lnTo>
                  <a:lnTo>
                    <a:pt x="1170623" y="0"/>
                  </a:lnTo>
                  <a:lnTo>
                    <a:pt x="1133475" y="0"/>
                  </a:lnTo>
                  <a:lnTo>
                    <a:pt x="1094423" y="0"/>
                  </a:lnTo>
                  <a:lnTo>
                    <a:pt x="1054418" y="0"/>
                  </a:lnTo>
                  <a:lnTo>
                    <a:pt x="1017270" y="0"/>
                  </a:lnTo>
                  <a:lnTo>
                    <a:pt x="982980" y="0"/>
                  </a:lnTo>
                  <a:lnTo>
                    <a:pt x="949643" y="0"/>
                  </a:lnTo>
                  <a:lnTo>
                    <a:pt x="918210" y="0"/>
                  </a:lnTo>
                  <a:lnTo>
                    <a:pt x="885825" y="0"/>
                  </a:lnTo>
                  <a:lnTo>
                    <a:pt x="868680" y="0"/>
                  </a:lnTo>
                  <a:lnTo>
                    <a:pt x="840105" y="0"/>
                  </a:lnTo>
                  <a:lnTo>
                    <a:pt x="809625" y="0"/>
                  </a:lnTo>
                  <a:lnTo>
                    <a:pt x="777240" y="0"/>
                  </a:lnTo>
                  <a:lnTo>
                    <a:pt x="742950" y="0"/>
                  </a:lnTo>
                  <a:lnTo>
                    <a:pt x="706755" y="0"/>
                  </a:lnTo>
                  <a:lnTo>
                    <a:pt x="669608" y="0"/>
                  </a:lnTo>
                  <a:lnTo>
                    <a:pt x="631508" y="0"/>
                  </a:lnTo>
                  <a:lnTo>
                    <a:pt x="593408" y="0"/>
                  </a:lnTo>
                  <a:lnTo>
                    <a:pt x="555308" y="0"/>
                  </a:lnTo>
                  <a:lnTo>
                    <a:pt x="517208" y="0"/>
                  </a:lnTo>
                  <a:lnTo>
                    <a:pt x="481965" y="0"/>
                  </a:lnTo>
                  <a:lnTo>
                    <a:pt x="447675" y="0"/>
                  </a:lnTo>
                  <a:lnTo>
                    <a:pt x="415290" y="0"/>
                  </a:lnTo>
                  <a:lnTo>
                    <a:pt x="384810" y="0"/>
                  </a:lnTo>
                  <a:lnTo>
                    <a:pt x="357188" y="0"/>
                  </a:lnTo>
                  <a:lnTo>
                    <a:pt x="324803" y="0"/>
                  </a:lnTo>
                  <a:lnTo>
                    <a:pt x="292417" y="0"/>
                  </a:lnTo>
                  <a:lnTo>
                    <a:pt x="260985" y="0"/>
                  </a:lnTo>
                  <a:lnTo>
                    <a:pt x="226695" y="0"/>
                  </a:lnTo>
                  <a:lnTo>
                    <a:pt x="190500" y="0"/>
                  </a:lnTo>
                  <a:lnTo>
                    <a:pt x="152400" y="0"/>
                  </a:lnTo>
                  <a:lnTo>
                    <a:pt x="112395" y="0"/>
                  </a:lnTo>
                  <a:lnTo>
                    <a:pt x="73342" y="0"/>
                  </a:lnTo>
                  <a:lnTo>
                    <a:pt x="40958" y="0"/>
                  </a:lnTo>
                  <a:lnTo>
                    <a:pt x="17145" y="0"/>
                  </a:lnTo>
                  <a:lnTo>
                    <a:pt x="3810" y="0"/>
                  </a:lnTo>
                  <a:lnTo>
                    <a:pt x="0" y="0"/>
                  </a:lnTo>
                  <a:lnTo>
                    <a:pt x="0" y="0"/>
                  </a:lnTo>
                  <a:lnTo>
                    <a:pt x="0" y="237678"/>
                  </a:lnTo>
                  <a:close/>
                </a:path>
              </a:pathLst>
            </a:custGeom>
            <a:solidFill>
              <a:srgbClr val="C1D42F">
                <a:alpha val="60000"/>
              </a:srgbClr>
            </a:solidFill>
            <a:ln w="9525" cap="flat">
              <a:noFill/>
              <a:prstDash val="solid"/>
              <a:miter/>
            </a:ln>
          </p:spPr>
          <p:txBody>
            <a:bodyPr rtlCol="0" anchor="ctr"/>
            <a:lstStyle/>
            <a:p>
              <a:endParaRPr lang="en-US" sz="1050"/>
            </a:p>
          </p:txBody>
        </p:sp>
        <p:sp>
          <p:nvSpPr>
            <p:cNvPr id="257" name="Freeform 309">
              <a:extLst>
                <a:ext uri="{FF2B5EF4-FFF2-40B4-BE49-F238E27FC236}">
                  <a16:creationId xmlns:a16="http://schemas.microsoft.com/office/drawing/2014/main" id="{CBD1186C-F20E-2D1A-2C72-D3FC265E2888}"/>
                </a:ext>
              </a:extLst>
            </p:cNvPr>
            <p:cNvSpPr/>
            <p:nvPr/>
          </p:nvSpPr>
          <p:spPr>
            <a:xfrm>
              <a:off x="737203" y="6252302"/>
              <a:ext cx="5887402" cy="9507"/>
            </a:xfrm>
            <a:custGeom>
              <a:avLst/>
              <a:gdLst>
                <a:gd name="connsiteX0" fmla="*/ 0 w 5887402"/>
                <a:gd name="connsiteY0" fmla="*/ 0 h 9507"/>
                <a:gd name="connsiteX1" fmla="*/ 5887403 w 5887402"/>
                <a:gd name="connsiteY1" fmla="*/ 0 h 9507"/>
              </a:gdLst>
              <a:ahLst/>
              <a:cxnLst>
                <a:cxn ang="0">
                  <a:pos x="connsiteX0" y="connsiteY0"/>
                </a:cxn>
                <a:cxn ang="0">
                  <a:pos x="connsiteX1" y="connsiteY1"/>
                </a:cxn>
              </a:cxnLst>
              <a:rect l="l" t="t" r="r" b="b"/>
              <a:pathLst>
                <a:path w="5887402" h="9507">
                  <a:moveTo>
                    <a:pt x="0" y="0"/>
                  </a:moveTo>
                  <a:lnTo>
                    <a:pt x="5887403" y="0"/>
                  </a:lnTo>
                </a:path>
              </a:pathLst>
            </a:custGeom>
            <a:ln w="10478" cap="flat">
              <a:solidFill>
                <a:srgbClr val="EBEBEB"/>
              </a:solidFill>
              <a:prstDash val="solid"/>
              <a:round/>
            </a:ln>
          </p:spPr>
          <p:txBody>
            <a:bodyPr rtlCol="0" anchor="ctr"/>
            <a:lstStyle/>
            <a:p>
              <a:endParaRPr lang="en-US" sz="1050"/>
            </a:p>
          </p:txBody>
        </p:sp>
      </p:grpSp>
    </p:spTree>
    <p:extLst>
      <p:ext uri="{BB962C8B-B14F-4D97-AF65-F5344CB8AC3E}">
        <p14:creationId xmlns:p14="http://schemas.microsoft.com/office/powerpoint/2010/main" val="157533704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CF9D22-F17B-03E0-F5BE-87DD723C7519}"/>
              </a:ext>
            </a:extLst>
          </p:cNvPr>
          <p:cNvSpPr>
            <a:spLocks noGrp="1"/>
          </p:cNvSpPr>
          <p:nvPr>
            <p:ph type="title"/>
          </p:nvPr>
        </p:nvSpPr>
        <p:spPr>
          <a:xfrm>
            <a:off x="271922" y="82529"/>
            <a:ext cx="8600156" cy="529450"/>
          </a:xfrm>
        </p:spPr>
        <p:txBody>
          <a:bodyPr/>
          <a:lstStyle/>
          <a:p>
            <a:pPr algn="ctr"/>
            <a:r>
              <a:rPr lang="en-US" sz="2700" b="1" dirty="0" err="1">
                <a:ln w="9525" cap="flat" cmpd="sng" algn="ctr">
                  <a:noFill/>
                  <a:prstDash val="solid"/>
                  <a:round/>
                  <a:headEnd type="none" w="med" len="med"/>
                  <a:tailEnd type="none" w="med" len="med"/>
                </a:ln>
                <a:solidFill>
                  <a:srgbClr val="000000"/>
                </a:solidFill>
                <a:cs typeface="Helvetica"/>
                <a:sym typeface="Wingdings"/>
              </a:rPr>
              <a:t>BsTCE</a:t>
            </a:r>
            <a:r>
              <a:rPr lang="en-US" sz="2700" b="1" dirty="0">
                <a:ln w="9525" cap="flat" cmpd="sng" algn="ctr">
                  <a:noFill/>
                  <a:prstDash val="solid"/>
                  <a:round/>
                  <a:headEnd type="none" w="med" len="med"/>
                  <a:tailEnd type="none" w="med" len="med"/>
                </a:ln>
                <a:solidFill>
                  <a:srgbClr val="000000"/>
                </a:solidFill>
                <a:cs typeface="Helvetica"/>
                <a:sym typeface="Wingdings"/>
              </a:rPr>
              <a:t> in Frontline Therapy</a:t>
            </a:r>
            <a:br>
              <a:rPr lang="en-US" sz="2700" b="1" dirty="0">
                <a:ln w="9525" cap="flat" cmpd="sng" algn="ctr">
                  <a:noFill/>
                  <a:prstDash val="solid"/>
                  <a:round/>
                  <a:headEnd type="none" w="med" len="med"/>
                  <a:tailEnd type="none" w="med" len="med"/>
                </a:ln>
                <a:solidFill>
                  <a:srgbClr val="000000"/>
                </a:solidFill>
                <a:cs typeface="Helvetica"/>
                <a:sym typeface="Wingdings"/>
              </a:rPr>
            </a:br>
            <a:r>
              <a:rPr lang="en-US" sz="2100" b="1" dirty="0" err="1">
                <a:ln w="9525" cap="flat" cmpd="sng" algn="ctr">
                  <a:noFill/>
                  <a:prstDash val="solid"/>
                  <a:round/>
                  <a:headEnd type="none" w="med" len="med"/>
                  <a:tailEnd type="none" w="med" len="med"/>
                </a:ln>
                <a:solidFill>
                  <a:srgbClr val="000000"/>
                </a:solidFill>
                <a:cs typeface="Helvetica"/>
                <a:sym typeface="Wingdings"/>
              </a:rPr>
              <a:t>Mosunetuzumab</a:t>
            </a:r>
            <a:r>
              <a:rPr lang="en-US" sz="2100" b="1" dirty="0">
                <a:ln w="9525" cap="flat" cmpd="sng" algn="ctr">
                  <a:noFill/>
                  <a:prstDash val="solid"/>
                  <a:round/>
                  <a:headEnd type="none" w="med" len="med"/>
                  <a:tailEnd type="none" w="med" len="med"/>
                </a:ln>
                <a:solidFill>
                  <a:srgbClr val="000000"/>
                </a:solidFill>
                <a:cs typeface="Helvetica"/>
                <a:sym typeface="Wingdings"/>
              </a:rPr>
              <a:t> + CHOP in previously untreated DLBCL: safety and efficacy results from a phase 2 study</a:t>
            </a:r>
            <a:endParaRPr lang="en-US" sz="2100" dirty="0"/>
          </a:p>
        </p:txBody>
      </p:sp>
      <p:pic>
        <p:nvPicPr>
          <p:cNvPr id="4" name="New picture">
            <a:extLst>
              <a:ext uri="{FF2B5EF4-FFF2-40B4-BE49-F238E27FC236}">
                <a16:creationId xmlns:a16="http://schemas.microsoft.com/office/drawing/2014/main" id="{61C6B50E-117F-5246-9D1A-B1B83FEA120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59481" y="1421678"/>
            <a:ext cx="5912597" cy="3385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
        <p:nvSpPr>
          <p:cNvPr id="5" name="TextBox 4">
            <a:extLst>
              <a:ext uri="{FF2B5EF4-FFF2-40B4-BE49-F238E27FC236}">
                <a16:creationId xmlns:a16="http://schemas.microsoft.com/office/drawing/2014/main" id="{AC8DE212-174D-1524-B3F1-D07C82470104}"/>
              </a:ext>
            </a:extLst>
          </p:cNvPr>
          <p:cNvSpPr txBox="1"/>
          <p:nvPr/>
        </p:nvSpPr>
        <p:spPr>
          <a:xfrm>
            <a:off x="6990573" y="4910431"/>
            <a:ext cx="2063385" cy="230832"/>
          </a:xfrm>
          <a:prstGeom prst="rect">
            <a:avLst/>
          </a:prstGeom>
          <a:noFill/>
        </p:spPr>
        <p:txBody>
          <a:bodyPr wrap="none" rtlCol="0">
            <a:spAutoFit/>
          </a:bodyPr>
          <a:lstStyle/>
          <a:p>
            <a:pPr defTabSz="685800" fontAlgn="auto">
              <a:spcBef>
                <a:spcPts val="0"/>
              </a:spcBef>
              <a:spcAft>
                <a:spcPts val="0"/>
              </a:spcAft>
            </a:pPr>
            <a:r>
              <a:rPr lang="en-US" sz="900" dirty="0">
                <a:ln w="9525" cap="flat" cmpd="sng" algn="ctr">
                  <a:noFill/>
                  <a:prstDash val="solid"/>
                  <a:round/>
                  <a:headEnd type="none" w="med" len="med"/>
                  <a:tailEnd type="none" w="med" len="med"/>
                </a:ln>
                <a:solidFill>
                  <a:srgbClr val="000000"/>
                </a:solidFill>
                <a:latin typeface="Helvetica"/>
                <a:ea typeface="+mn-ea"/>
                <a:cs typeface="Helvetica"/>
                <a:sym typeface="Wingdings"/>
              </a:rPr>
              <a:t>Olszewski AJ, et al, Blood Adv, 2023</a:t>
            </a:r>
            <a:endParaRPr lang="en-US" sz="900" dirty="0">
              <a:solidFill>
                <a:prstClr val="black"/>
              </a:solidFill>
              <a:latin typeface="Calibri" panose="020F0502020204030204"/>
              <a:ea typeface="+mn-ea"/>
              <a:cs typeface="+mn-cs"/>
            </a:endParaRPr>
          </a:p>
        </p:txBody>
      </p:sp>
      <p:pic>
        <p:nvPicPr>
          <p:cNvPr id="3" name="Picture 2" descr="https://ash.confex.com/data/abstract/ash/2016/9/5/Paper_96159_abstract_197917_0.jpg">
            <a:extLst>
              <a:ext uri="{FF2B5EF4-FFF2-40B4-BE49-F238E27FC236}">
                <a16:creationId xmlns:a16="http://schemas.microsoft.com/office/drawing/2014/main" id="{94B90798-F87C-BF38-E9B0-1DDD25824D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133" y="1535697"/>
            <a:ext cx="2728867" cy="3385145"/>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212CB786-4CA0-0B2B-3B81-96B1B84F23A5}"/>
              </a:ext>
            </a:extLst>
          </p:cNvPr>
          <p:cNvSpPr txBox="1">
            <a:spLocks/>
          </p:cNvSpPr>
          <p:nvPr/>
        </p:nvSpPr>
        <p:spPr>
          <a:xfrm>
            <a:off x="161365" y="1039776"/>
            <a:ext cx="2391656" cy="48551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800" fontAlgn="auto">
              <a:spcAft>
                <a:spcPts val="0"/>
              </a:spcAft>
            </a:pPr>
            <a:r>
              <a:rPr lang="en-US" sz="900" b="1" dirty="0">
                <a:solidFill>
                  <a:prstClr val="black"/>
                </a:solidFill>
                <a:latin typeface="Calibri Light" panose="020F0302020204030204"/>
              </a:rPr>
              <a:t>Obinutuzumab or Rituximab Plus CHOP in Patients with Previously Untreated Diffuse Large B-Cell Lymphoma: Final Results from an Open-Label, Randomized Phase 3 Study (GOYA) </a:t>
            </a:r>
            <a:endParaRPr lang="en-US" sz="900" dirty="0">
              <a:solidFill>
                <a:prstClr val="black"/>
              </a:solidFill>
              <a:latin typeface="Calibri Light" panose="020F0302020204030204"/>
            </a:endParaRPr>
          </a:p>
        </p:txBody>
      </p:sp>
      <p:sp>
        <p:nvSpPr>
          <p:cNvPr id="7" name="TextBox 6">
            <a:extLst>
              <a:ext uri="{FF2B5EF4-FFF2-40B4-BE49-F238E27FC236}">
                <a16:creationId xmlns:a16="http://schemas.microsoft.com/office/drawing/2014/main" id="{99918C12-0BDD-BAB2-3029-41849CC51698}"/>
              </a:ext>
            </a:extLst>
          </p:cNvPr>
          <p:cNvSpPr txBox="1"/>
          <p:nvPr/>
        </p:nvSpPr>
        <p:spPr>
          <a:xfrm>
            <a:off x="535961" y="4938132"/>
            <a:ext cx="1317990" cy="230832"/>
          </a:xfrm>
          <a:prstGeom prst="rect">
            <a:avLst/>
          </a:prstGeom>
          <a:noFill/>
        </p:spPr>
        <p:txBody>
          <a:bodyPr wrap="none" rtlCol="0">
            <a:spAutoFit/>
          </a:bodyPr>
          <a:lstStyle/>
          <a:p>
            <a:pPr defTabSz="685800" fontAlgn="auto">
              <a:spcBef>
                <a:spcPts val="0"/>
              </a:spcBef>
              <a:spcAft>
                <a:spcPts val="0"/>
              </a:spcAft>
            </a:pPr>
            <a:r>
              <a:rPr lang="en-US" sz="900" dirty="0" err="1">
                <a:solidFill>
                  <a:prstClr val="black"/>
                </a:solidFill>
                <a:latin typeface="Calibri" panose="020F0502020204030204"/>
                <a:ea typeface="+mn-ea"/>
                <a:cs typeface="+mn-cs"/>
              </a:rPr>
              <a:t>Sehn</a:t>
            </a:r>
            <a:r>
              <a:rPr lang="en-US" sz="900" dirty="0">
                <a:solidFill>
                  <a:prstClr val="black"/>
                </a:solidFill>
                <a:latin typeface="Calibri" panose="020F0502020204030204"/>
                <a:ea typeface="+mn-ea"/>
                <a:cs typeface="+mn-cs"/>
              </a:rPr>
              <a:t> LH et al, JHO, 2020</a:t>
            </a:r>
          </a:p>
        </p:txBody>
      </p:sp>
      <p:sp>
        <p:nvSpPr>
          <p:cNvPr id="8" name="Oval 7">
            <a:extLst>
              <a:ext uri="{FF2B5EF4-FFF2-40B4-BE49-F238E27FC236}">
                <a16:creationId xmlns:a16="http://schemas.microsoft.com/office/drawing/2014/main" id="{8BB36AA0-04C0-5B0A-395F-583953A41BCF}"/>
              </a:ext>
            </a:extLst>
          </p:cNvPr>
          <p:cNvSpPr/>
          <p:nvPr/>
        </p:nvSpPr>
        <p:spPr>
          <a:xfrm>
            <a:off x="95405" y="4278546"/>
            <a:ext cx="2501153" cy="224758"/>
          </a:xfrm>
          <a:prstGeom prst="ellipse">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a:solidFill>
                <a:prstClr val="white"/>
              </a:solidFill>
              <a:latin typeface="Calibri" panose="020F0502020204030204"/>
            </a:endParaRPr>
          </a:p>
        </p:txBody>
      </p:sp>
      <p:sp>
        <p:nvSpPr>
          <p:cNvPr id="9" name="Oval 8">
            <a:extLst>
              <a:ext uri="{FF2B5EF4-FFF2-40B4-BE49-F238E27FC236}">
                <a16:creationId xmlns:a16="http://schemas.microsoft.com/office/drawing/2014/main" id="{2CB5A1DF-5BF0-8737-16AA-FC05FDCC8845}"/>
              </a:ext>
            </a:extLst>
          </p:cNvPr>
          <p:cNvSpPr/>
          <p:nvPr/>
        </p:nvSpPr>
        <p:spPr>
          <a:xfrm>
            <a:off x="945136" y="1604502"/>
            <a:ext cx="1888961" cy="297155"/>
          </a:xfrm>
          <a:prstGeom prst="ellipse">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a:solidFill>
                <a:prstClr val="white"/>
              </a:solidFill>
              <a:latin typeface="Calibri" panose="020F0502020204030204"/>
            </a:endParaRPr>
          </a:p>
        </p:txBody>
      </p:sp>
    </p:spTree>
    <p:extLst>
      <p:ext uri="{BB962C8B-B14F-4D97-AF65-F5344CB8AC3E}">
        <p14:creationId xmlns:p14="http://schemas.microsoft.com/office/powerpoint/2010/main" val="1976140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B4E9686-6678-8553-802F-7FA313C80373}"/>
              </a:ext>
            </a:extLst>
          </p:cNvPr>
          <p:cNvPicPr>
            <a:picLocks noChangeAspect="1"/>
          </p:cNvPicPr>
          <p:nvPr/>
        </p:nvPicPr>
        <p:blipFill rotWithShape="1">
          <a:blip r:embed="rId2"/>
          <a:srcRect l="14085" t="10846" r="9296" b="9154"/>
          <a:stretch/>
        </p:blipFill>
        <p:spPr>
          <a:xfrm>
            <a:off x="160986" y="154546"/>
            <a:ext cx="7006108" cy="4114800"/>
          </a:xfrm>
          <a:prstGeom prst="rect">
            <a:avLst/>
          </a:prstGeom>
        </p:spPr>
      </p:pic>
    </p:spTree>
    <p:extLst>
      <p:ext uri="{BB962C8B-B14F-4D97-AF65-F5344CB8AC3E}">
        <p14:creationId xmlns:p14="http://schemas.microsoft.com/office/powerpoint/2010/main" val="1352029251"/>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4F79E29-81D8-4FC7-AABC-15E003BA3EA0}"/>
              </a:ext>
            </a:extLst>
          </p:cNvPr>
          <p:cNvSpPr>
            <a:spLocks noGrp="1"/>
          </p:cNvSpPr>
          <p:nvPr>
            <p:ph type="title"/>
          </p:nvPr>
        </p:nvSpPr>
        <p:spPr/>
        <p:txBody>
          <a:bodyPr/>
          <a:lstStyle/>
          <a:p>
            <a:r>
              <a:rPr lang="en-US" sz="2400" dirty="0">
                <a:latin typeface="Arial Narrow" panose="020B0606020202030204" pitchFamily="34" charset="0"/>
              </a:rPr>
              <a:t>Study Schema</a:t>
            </a:r>
          </a:p>
        </p:txBody>
      </p:sp>
      <p:sp>
        <p:nvSpPr>
          <p:cNvPr id="4" name="Slide Number Placeholder 3">
            <a:extLst>
              <a:ext uri="{FF2B5EF4-FFF2-40B4-BE49-F238E27FC236}">
                <a16:creationId xmlns:a16="http://schemas.microsoft.com/office/drawing/2014/main" id="{BC9D92EC-C4D5-4EDD-89BF-A25F6E48AD7D}"/>
              </a:ext>
            </a:extLst>
          </p:cNvPr>
          <p:cNvSpPr>
            <a:spLocks noGrp="1"/>
          </p:cNvSpPr>
          <p:nvPr>
            <p:ph type="sldNum" sz="quarter" idx="24"/>
          </p:nvPr>
        </p:nvSpPr>
        <p:spPr>
          <a:xfrm>
            <a:off x="0" y="4496351"/>
            <a:ext cx="394593" cy="273844"/>
          </a:xfrm>
        </p:spPr>
        <p:txBody>
          <a:bodyPr/>
          <a:lstStyle/>
          <a:p>
            <a:pPr defTabSz="685783"/>
            <a:fld id="{010B77E7-8D76-A248-9E9F-68FC055C9F4B}" type="slidenum">
              <a:rPr lang="en-US">
                <a:solidFill>
                  <a:srgbClr val="065BAA"/>
                </a:solidFill>
              </a:rPr>
              <a:pPr defTabSz="685783"/>
              <a:t>130</a:t>
            </a:fld>
            <a:endParaRPr lang="en-US" dirty="0">
              <a:solidFill>
                <a:srgbClr val="065BAA"/>
              </a:solidFill>
            </a:endParaRPr>
          </a:p>
        </p:txBody>
      </p:sp>
      <p:pic>
        <p:nvPicPr>
          <p:cNvPr id="5" name="Picture 4">
            <a:extLst>
              <a:ext uri="{FF2B5EF4-FFF2-40B4-BE49-F238E27FC236}">
                <a16:creationId xmlns:a16="http://schemas.microsoft.com/office/drawing/2014/main" id="{85245549-D252-4FFD-AE12-75D5CB847F6F}"/>
              </a:ext>
            </a:extLst>
          </p:cNvPr>
          <p:cNvPicPr>
            <a:picLocks noChangeAspect="1"/>
          </p:cNvPicPr>
          <p:nvPr/>
        </p:nvPicPr>
        <p:blipFill>
          <a:blip r:embed="rId3"/>
          <a:stretch>
            <a:fillRect/>
          </a:stretch>
        </p:blipFill>
        <p:spPr>
          <a:xfrm>
            <a:off x="765204" y="1269958"/>
            <a:ext cx="7613592" cy="3043553"/>
          </a:xfrm>
          <a:prstGeom prst="rect">
            <a:avLst/>
          </a:prstGeom>
        </p:spPr>
      </p:pic>
      <p:sp>
        <p:nvSpPr>
          <p:cNvPr id="2" name="TextBox 1">
            <a:extLst>
              <a:ext uri="{FF2B5EF4-FFF2-40B4-BE49-F238E27FC236}">
                <a16:creationId xmlns:a16="http://schemas.microsoft.com/office/drawing/2014/main" id="{ECA7C75B-73FB-898A-709C-7584176F0E5D}"/>
              </a:ext>
            </a:extLst>
          </p:cNvPr>
          <p:cNvSpPr txBox="1"/>
          <p:nvPr/>
        </p:nvSpPr>
        <p:spPr>
          <a:xfrm>
            <a:off x="451488" y="78154"/>
            <a:ext cx="1802481" cy="461665"/>
          </a:xfrm>
          <a:prstGeom prst="rect">
            <a:avLst/>
          </a:prstGeom>
          <a:noFill/>
        </p:spPr>
        <p:txBody>
          <a:bodyPr wrap="none" rtlCol="0">
            <a:spAutoFit/>
          </a:bodyPr>
          <a:lstStyle/>
          <a:p>
            <a:r>
              <a:rPr lang="en-US" b="1" dirty="0"/>
              <a:t>OLYMPIA 3</a:t>
            </a:r>
          </a:p>
        </p:txBody>
      </p:sp>
    </p:spTree>
    <p:extLst>
      <p:ext uri="{BB962C8B-B14F-4D97-AF65-F5344CB8AC3E}">
        <p14:creationId xmlns:p14="http://schemas.microsoft.com/office/powerpoint/2010/main" val="524262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EAC41A9-B367-3BBB-73EA-487F48C1EB94}"/>
              </a:ext>
            </a:extLst>
          </p:cNvPr>
          <p:cNvSpPr>
            <a:spLocks noGrp="1"/>
          </p:cNvSpPr>
          <p:nvPr>
            <p:ph type="title"/>
          </p:nvPr>
        </p:nvSpPr>
        <p:spPr>
          <a:xfrm>
            <a:off x="628650" y="276225"/>
            <a:ext cx="7886700" cy="567820"/>
          </a:xfrm>
        </p:spPr>
        <p:txBody>
          <a:bodyPr>
            <a:noAutofit/>
          </a:bodyPr>
          <a:lstStyle/>
          <a:p>
            <a:pPr algn="ctr"/>
            <a:r>
              <a:rPr lang="en-US" sz="2400" dirty="0">
                <a:solidFill>
                  <a:srgbClr val="003767"/>
                </a:solidFill>
              </a:rPr>
              <a:t>Current Open Trials of Bispecific Ab for </a:t>
            </a:r>
            <a:r>
              <a:rPr lang="en-US" sz="2400" dirty="0" err="1">
                <a:solidFill>
                  <a:srgbClr val="003767"/>
                </a:solidFill>
              </a:rPr>
              <a:t>rrNHL</a:t>
            </a:r>
            <a:br>
              <a:rPr lang="en-US" sz="2400" dirty="0">
                <a:solidFill>
                  <a:srgbClr val="003767"/>
                </a:solidFill>
              </a:rPr>
            </a:br>
            <a:r>
              <a:rPr lang="en-US" sz="2400" dirty="0">
                <a:solidFill>
                  <a:srgbClr val="003767"/>
                </a:solidFill>
              </a:rPr>
              <a:t>at Lemieux Center for Blood Cancer, UPMC HCC</a:t>
            </a:r>
          </a:p>
        </p:txBody>
      </p:sp>
      <p:sp>
        <p:nvSpPr>
          <p:cNvPr id="4" name="Content Placeholder 3">
            <a:extLst>
              <a:ext uri="{FF2B5EF4-FFF2-40B4-BE49-F238E27FC236}">
                <a16:creationId xmlns:a16="http://schemas.microsoft.com/office/drawing/2014/main" id="{750E5861-D030-C790-452F-F610A5C3FDDA}"/>
              </a:ext>
            </a:extLst>
          </p:cNvPr>
          <p:cNvSpPr>
            <a:spLocks noGrp="1"/>
          </p:cNvSpPr>
          <p:nvPr>
            <p:ph idx="1"/>
          </p:nvPr>
        </p:nvSpPr>
        <p:spPr>
          <a:xfrm>
            <a:off x="628650" y="1023800"/>
            <a:ext cx="7886700" cy="3412790"/>
          </a:xfrm>
        </p:spPr>
        <p:txBody>
          <a:bodyPr>
            <a:normAutofit lnSpcReduction="10000"/>
          </a:bodyPr>
          <a:lstStyle/>
          <a:p>
            <a:pPr marL="0">
              <a:spcBef>
                <a:spcPts val="0"/>
              </a:spcBef>
            </a:pPr>
            <a:r>
              <a:rPr lang="en-US" sz="1800" dirty="0">
                <a:solidFill>
                  <a:srgbClr val="002060"/>
                </a:solidFill>
                <a:ea typeface="PMingLiU" panose="02020500000000000000" pitchFamily="18" charset="-120"/>
              </a:rPr>
              <a:t>HCC# 21-076: </a:t>
            </a:r>
            <a:r>
              <a:rPr lang="en-US" sz="1800" dirty="0">
                <a:ea typeface="PMingLiU" panose="02020500000000000000" pitchFamily="18" charset="-120"/>
              </a:rPr>
              <a:t>A Multicenter, Phase 1, Open-label, Dose-escalation and Expansion Study of TNB-486, a Bispecific Antibody Targeting CD19 in Subjects with Relapsed or Refractory B-Cell Non-Hodgkin Lymphoma.</a:t>
            </a:r>
          </a:p>
          <a:p>
            <a:pPr marL="0">
              <a:spcBef>
                <a:spcPts val="0"/>
              </a:spcBef>
              <a:spcAft>
                <a:spcPts val="0"/>
              </a:spcAft>
            </a:pPr>
            <a:endParaRPr lang="en-US" sz="1800" dirty="0">
              <a:solidFill>
                <a:srgbClr val="002060"/>
              </a:solidFill>
              <a:ea typeface="PMingLiU" panose="02020500000000000000" pitchFamily="18" charset="-120"/>
            </a:endParaRPr>
          </a:p>
          <a:p>
            <a:pPr marL="0">
              <a:spcBef>
                <a:spcPts val="0"/>
              </a:spcBef>
              <a:spcAft>
                <a:spcPts val="0"/>
              </a:spcAft>
            </a:pPr>
            <a:r>
              <a:rPr lang="en-US" sz="1800" dirty="0">
                <a:solidFill>
                  <a:srgbClr val="002060"/>
                </a:solidFill>
                <a:ea typeface="PMingLiU" panose="02020500000000000000" pitchFamily="18" charset="-120"/>
              </a:rPr>
              <a:t>HCC# 22-180 </a:t>
            </a:r>
            <a:r>
              <a:rPr lang="en-US" sz="1800" dirty="0">
                <a:ea typeface="PMingLiU" panose="02020500000000000000" pitchFamily="18" charset="-120"/>
              </a:rPr>
              <a:t>: A Phase 2, Open-Label Trial to Evaluate Safety of </a:t>
            </a:r>
            <a:r>
              <a:rPr lang="en-US" sz="1800" dirty="0" err="1">
                <a:ea typeface="PMingLiU" panose="02020500000000000000" pitchFamily="18" charset="-120"/>
              </a:rPr>
              <a:t>Epcoritamab</a:t>
            </a:r>
            <a:r>
              <a:rPr lang="en-US" sz="1800" dirty="0">
                <a:ea typeface="PMingLiU" panose="02020500000000000000" pitchFamily="18" charset="-120"/>
              </a:rPr>
              <a:t> Monotherapy in Subjects with Relapsed or Refractory Diffuse Large B-Cell Lymphoma and Classic Follicular Lymphoma (Previously Grade 1-3a) when Administered in the Outpatient Setting.</a:t>
            </a:r>
          </a:p>
          <a:p>
            <a:pPr marL="0">
              <a:spcBef>
                <a:spcPts val="0"/>
              </a:spcBef>
              <a:spcAft>
                <a:spcPts val="0"/>
              </a:spcAft>
            </a:pPr>
            <a:endParaRPr lang="en-US" sz="1800" dirty="0">
              <a:ea typeface="PMingLiU" panose="02020500000000000000" pitchFamily="18" charset="-120"/>
            </a:endParaRPr>
          </a:p>
          <a:p>
            <a:pPr marL="0">
              <a:spcBef>
                <a:spcPts val="0"/>
              </a:spcBef>
              <a:spcAft>
                <a:spcPts val="0"/>
              </a:spcAft>
            </a:pPr>
            <a:r>
              <a:rPr lang="en-US" sz="1800" dirty="0">
                <a:ea typeface="PMingLiU" panose="02020500000000000000" pitchFamily="18" charset="-120"/>
              </a:rPr>
              <a:t>HCC# 22-056A: Phase 1/2, First in Human, Single-arm, Open-label Study to Evaluate the Safety and Efficacy of Triple-specific T-cell Engager 1A46 in Adult Patients with Advanced CD20 and/or CD19 Positive B-cell Hematologic Malignancies.</a:t>
            </a:r>
          </a:p>
        </p:txBody>
      </p:sp>
    </p:spTree>
    <p:extLst>
      <p:ext uri="{BB962C8B-B14F-4D97-AF65-F5344CB8AC3E}">
        <p14:creationId xmlns:p14="http://schemas.microsoft.com/office/powerpoint/2010/main" val="42166407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FA333-0B85-DCE3-0F21-0B3DF1953A26}"/>
              </a:ext>
            </a:extLst>
          </p:cNvPr>
          <p:cNvSpPr>
            <a:spLocks noGrp="1"/>
          </p:cNvSpPr>
          <p:nvPr>
            <p:ph type="title"/>
          </p:nvPr>
        </p:nvSpPr>
        <p:spPr>
          <a:xfrm>
            <a:off x="628650" y="143595"/>
            <a:ext cx="7886700" cy="739127"/>
          </a:xfrm>
        </p:spPr>
        <p:txBody>
          <a:bodyPr>
            <a:noAutofit/>
          </a:bodyPr>
          <a:lstStyle/>
          <a:p>
            <a:pPr algn="ctr"/>
            <a:r>
              <a:rPr lang="en-US" sz="2000" b="1" dirty="0">
                <a:solidFill>
                  <a:srgbClr val="003767"/>
                </a:solidFill>
              </a:rPr>
              <a:t>Upcoming Clinical Trials of Bispecific TCE for NHL</a:t>
            </a:r>
            <a:br>
              <a:rPr lang="en-US" sz="2000" b="1" dirty="0">
                <a:solidFill>
                  <a:srgbClr val="003767"/>
                </a:solidFill>
              </a:rPr>
            </a:br>
            <a:r>
              <a:rPr lang="en-US" sz="2000" b="1" dirty="0">
                <a:solidFill>
                  <a:srgbClr val="003767"/>
                </a:solidFill>
              </a:rPr>
              <a:t>at UPMC HCC, 2024</a:t>
            </a:r>
          </a:p>
        </p:txBody>
      </p:sp>
      <p:sp>
        <p:nvSpPr>
          <p:cNvPr id="3" name="Content Placeholder 2">
            <a:extLst>
              <a:ext uri="{FF2B5EF4-FFF2-40B4-BE49-F238E27FC236}">
                <a16:creationId xmlns:a16="http://schemas.microsoft.com/office/drawing/2014/main" id="{9DCB8392-7B7D-B976-DAC9-DF401E695292}"/>
              </a:ext>
            </a:extLst>
          </p:cNvPr>
          <p:cNvSpPr>
            <a:spLocks noGrp="1"/>
          </p:cNvSpPr>
          <p:nvPr>
            <p:ph idx="1"/>
          </p:nvPr>
        </p:nvSpPr>
        <p:spPr>
          <a:xfrm>
            <a:off x="628650" y="735942"/>
            <a:ext cx="7886700" cy="3676377"/>
          </a:xfrm>
        </p:spPr>
        <p:txBody>
          <a:bodyPr>
            <a:normAutofit fontScale="77500" lnSpcReduction="20000"/>
          </a:bodyPr>
          <a:lstStyle/>
          <a:p>
            <a:r>
              <a:rPr lang="en-US" dirty="0"/>
              <a:t>Diffuse Large B Cell Lymphoma</a:t>
            </a:r>
          </a:p>
          <a:p>
            <a:pPr lvl="1"/>
            <a:r>
              <a:rPr lang="en-US" dirty="0"/>
              <a:t>Frontline therapy</a:t>
            </a:r>
          </a:p>
          <a:p>
            <a:pPr lvl="2"/>
            <a:r>
              <a:rPr lang="en-US" b="1" dirty="0" err="1"/>
              <a:t>Odronextamab</a:t>
            </a:r>
            <a:r>
              <a:rPr lang="en-US" b="1" dirty="0"/>
              <a:t> + CHOP </a:t>
            </a:r>
            <a:r>
              <a:rPr lang="en-US" dirty="0"/>
              <a:t>vs R-CHOP</a:t>
            </a:r>
          </a:p>
          <a:p>
            <a:pPr lvl="2"/>
            <a:r>
              <a:rPr lang="en-US" b="1" dirty="0" err="1"/>
              <a:t>Epcoritamab</a:t>
            </a:r>
            <a:r>
              <a:rPr lang="en-US" b="1" dirty="0"/>
              <a:t> + R-CHOP </a:t>
            </a:r>
            <a:r>
              <a:rPr lang="en-US" dirty="0"/>
              <a:t>vs R-CHOP</a:t>
            </a:r>
          </a:p>
          <a:p>
            <a:pPr lvl="2"/>
            <a:r>
              <a:rPr lang="en-US" b="1" dirty="0" err="1"/>
              <a:t>Glofitamab</a:t>
            </a:r>
            <a:r>
              <a:rPr lang="en-US" b="1" dirty="0"/>
              <a:t> + </a:t>
            </a:r>
            <a:r>
              <a:rPr lang="en-US" b="1" dirty="0" err="1"/>
              <a:t>Polatuzumab</a:t>
            </a:r>
            <a:r>
              <a:rPr lang="en-US" b="1" dirty="0"/>
              <a:t> + R-CHP </a:t>
            </a:r>
            <a:r>
              <a:rPr lang="en-US" dirty="0"/>
              <a:t>vs </a:t>
            </a:r>
            <a:r>
              <a:rPr lang="en-US" dirty="0" err="1"/>
              <a:t>Polatuzumab</a:t>
            </a:r>
            <a:r>
              <a:rPr lang="en-US" dirty="0"/>
              <a:t> + R-CHP</a:t>
            </a:r>
          </a:p>
          <a:p>
            <a:pPr lvl="2"/>
            <a:r>
              <a:rPr lang="en-US" b="1" dirty="0"/>
              <a:t>AZ486 + R-CHOP </a:t>
            </a:r>
            <a:r>
              <a:rPr lang="en-US" dirty="0"/>
              <a:t>vs R-CHOP</a:t>
            </a:r>
          </a:p>
          <a:p>
            <a:pPr lvl="1"/>
            <a:r>
              <a:rPr lang="en-US" dirty="0"/>
              <a:t>Second Therapy</a:t>
            </a:r>
          </a:p>
          <a:p>
            <a:r>
              <a:rPr lang="en-US" dirty="0"/>
              <a:t>Follicular Lymphoma and Indolent Lymphoma</a:t>
            </a:r>
          </a:p>
          <a:p>
            <a:pPr lvl="1"/>
            <a:r>
              <a:rPr lang="en-US" dirty="0"/>
              <a:t>Frontline therapy</a:t>
            </a:r>
          </a:p>
          <a:p>
            <a:pPr lvl="2"/>
            <a:r>
              <a:rPr lang="en-US" dirty="0"/>
              <a:t>AZ486 + Rituxan</a:t>
            </a:r>
          </a:p>
          <a:p>
            <a:pPr lvl="2"/>
            <a:r>
              <a:rPr lang="en-US" dirty="0" err="1"/>
              <a:t>Odronextamab</a:t>
            </a:r>
            <a:endParaRPr lang="en-US" dirty="0"/>
          </a:p>
          <a:p>
            <a:pPr lvl="2"/>
            <a:r>
              <a:rPr lang="en-US" dirty="0" err="1"/>
              <a:t>Odronextamab</a:t>
            </a:r>
            <a:r>
              <a:rPr lang="en-US" dirty="0"/>
              <a:t> + R-Chemo</a:t>
            </a:r>
          </a:p>
          <a:p>
            <a:pPr lvl="1"/>
            <a:r>
              <a:rPr lang="en-US" dirty="0"/>
              <a:t>Second line therapy</a:t>
            </a:r>
          </a:p>
          <a:p>
            <a:pPr lvl="2"/>
            <a:r>
              <a:rPr lang="en-US" dirty="0"/>
              <a:t>AZ486</a:t>
            </a:r>
          </a:p>
          <a:p>
            <a:pPr lvl="2"/>
            <a:r>
              <a:rPr lang="en-US" dirty="0" err="1"/>
              <a:t>Odronextmab</a:t>
            </a:r>
            <a:r>
              <a:rPr lang="en-US" dirty="0"/>
              <a:t> + Lenalidomide</a:t>
            </a:r>
          </a:p>
          <a:p>
            <a:pPr lvl="2"/>
            <a:endParaRPr lang="en-US" dirty="0"/>
          </a:p>
        </p:txBody>
      </p:sp>
    </p:spTree>
    <p:extLst>
      <p:ext uri="{BB962C8B-B14F-4D97-AF65-F5344CB8AC3E}">
        <p14:creationId xmlns:p14="http://schemas.microsoft.com/office/powerpoint/2010/main" val="3809189080"/>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Main graphic">
            <a:extLst>
              <a:ext uri="{FF2B5EF4-FFF2-40B4-BE49-F238E27FC236}">
                <a16:creationId xmlns:a16="http://schemas.microsoft.com/office/drawing/2014/main" id="{17258B00-075F-3BB0-033A-1910E4F45E92}"/>
              </a:ext>
            </a:extLst>
          </p:cNvPr>
          <p:cNvPicPr/>
          <p:nvPr/>
        </p:nvPicPr>
        <p:blipFill>
          <a:blip r:embed="rId2"/>
          <a:stretch/>
        </p:blipFill>
        <p:spPr>
          <a:xfrm>
            <a:off x="1248441" y="164042"/>
            <a:ext cx="6295359" cy="3971540"/>
          </a:xfrm>
          <a:prstGeom prst="rect">
            <a:avLst/>
          </a:prstGeom>
          <a:ln>
            <a:noFill/>
          </a:ln>
        </p:spPr>
      </p:pic>
      <p:sp>
        <p:nvSpPr>
          <p:cNvPr id="4" name="TextBox 3">
            <a:extLst>
              <a:ext uri="{FF2B5EF4-FFF2-40B4-BE49-F238E27FC236}">
                <a16:creationId xmlns:a16="http://schemas.microsoft.com/office/drawing/2014/main" id="{8B3608CC-9677-355F-1D45-CC3C2FD22439}"/>
              </a:ext>
            </a:extLst>
          </p:cNvPr>
          <p:cNvSpPr txBox="1"/>
          <p:nvPr/>
        </p:nvSpPr>
        <p:spPr>
          <a:xfrm>
            <a:off x="6591521" y="4443939"/>
            <a:ext cx="2108269" cy="230832"/>
          </a:xfrm>
          <a:prstGeom prst="rect">
            <a:avLst/>
          </a:prstGeom>
          <a:noFill/>
        </p:spPr>
        <p:txBody>
          <a:bodyPr wrap="none" rtlCol="0">
            <a:spAutoFit/>
          </a:bodyPr>
          <a:lstStyle/>
          <a:p>
            <a:r>
              <a:rPr lang="en-US" sz="900" dirty="0"/>
              <a:t>Verma G. et al, Hem </a:t>
            </a:r>
            <a:r>
              <a:rPr lang="en-US" sz="900" dirty="0" err="1"/>
              <a:t>Maligancy</a:t>
            </a:r>
            <a:r>
              <a:rPr lang="en-US" sz="900" dirty="0"/>
              <a:t>, 2023</a:t>
            </a:r>
          </a:p>
        </p:txBody>
      </p:sp>
    </p:spTree>
    <p:extLst>
      <p:ext uri="{BB962C8B-B14F-4D97-AF65-F5344CB8AC3E}">
        <p14:creationId xmlns:p14="http://schemas.microsoft.com/office/powerpoint/2010/main" val="372527007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1C476B-F40A-EF79-37FC-DD4221773B12}"/>
              </a:ext>
            </a:extLst>
          </p:cNvPr>
          <p:cNvSpPr>
            <a:spLocks noGrp="1"/>
          </p:cNvSpPr>
          <p:nvPr>
            <p:ph type="title"/>
          </p:nvPr>
        </p:nvSpPr>
        <p:spPr>
          <a:xfrm>
            <a:off x="259941" y="2381"/>
            <a:ext cx="7886700" cy="566814"/>
          </a:xfrm>
        </p:spPr>
        <p:txBody>
          <a:bodyPr/>
          <a:lstStyle/>
          <a:p>
            <a:pPr algn="ctr"/>
            <a:r>
              <a:rPr lang="en-US" dirty="0"/>
              <a:t>Novel Agents for </a:t>
            </a:r>
            <a:r>
              <a:rPr lang="en-US" dirty="0" err="1"/>
              <a:t>rrDLBCL</a:t>
            </a:r>
            <a:endParaRPr lang="en-US" dirty="0"/>
          </a:p>
        </p:txBody>
      </p:sp>
      <p:pic>
        <p:nvPicPr>
          <p:cNvPr id="5" name="Main graphic">
            <a:extLst>
              <a:ext uri="{FF2B5EF4-FFF2-40B4-BE49-F238E27FC236}">
                <a16:creationId xmlns:a16="http://schemas.microsoft.com/office/drawing/2014/main" id="{BF99675C-6A53-9ED1-73A7-A934EA0D3605}"/>
              </a:ext>
            </a:extLst>
          </p:cNvPr>
          <p:cNvPicPr/>
          <p:nvPr/>
        </p:nvPicPr>
        <p:blipFill>
          <a:blip r:embed="rId2"/>
          <a:stretch/>
        </p:blipFill>
        <p:spPr>
          <a:xfrm>
            <a:off x="1615060" y="694436"/>
            <a:ext cx="5176461" cy="3545055"/>
          </a:xfrm>
          <a:prstGeom prst="rect">
            <a:avLst/>
          </a:prstGeom>
          <a:ln>
            <a:noFill/>
          </a:ln>
        </p:spPr>
      </p:pic>
      <p:sp>
        <p:nvSpPr>
          <p:cNvPr id="6" name="TextBox 5">
            <a:extLst>
              <a:ext uri="{FF2B5EF4-FFF2-40B4-BE49-F238E27FC236}">
                <a16:creationId xmlns:a16="http://schemas.microsoft.com/office/drawing/2014/main" id="{83982E03-44BC-D905-3508-36B23A3C1396}"/>
              </a:ext>
            </a:extLst>
          </p:cNvPr>
          <p:cNvSpPr txBox="1"/>
          <p:nvPr/>
        </p:nvSpPr>
        <p:spPr>
          <a:xfrm>
            <a:off x="6868612" y="4450866"/>
            <a:ext cx="2108269" cy="230832"/>
          </a:xfrm>
          <a:prstGeom prst="rect">
            <a:avLst/>
          </a:prstGeom>
          <a:noFill/>
        </p:spPr>
        <p:txBody>
          <a:bodyPr wrap="none" rtlCol="0">
            <a:spAutoFit/>
          </a:bodyPr>
          <a:lstStyle/>
          <a:p>
            <a:r>
              <a:rPr lang="en-US" sz="900" dirty="0"/>
              <a:t>Verma G. et al, Hem </a:t>
            </a:r>
            <a:r>
              <a:rPr lang="en-US" sz="900" dirty="0" err="1"/>
              <a:t>Maligancy</a:t>
            </a:r>
            <a:r>
              <a:rPr lang="en-US" sz="900" dirty="0"/>
              <a:t>, 2023</a:t>
            </a:r>
          </a:p>
        </p:txBody>
      </p:sp>
    </p:spTree>
    <p:extLst>
      <p:ext uri="{BB962C8B-B14F-4D97-AF65-F5344CB8AC3E}">
        <p14:creationId xmlns:p14="http://schemas.microsoft.com/office/powerpoint/2010/main" val="386506524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764D8A-519B-DD4A-C642-A79DF134912A}"/>
              </a:ext>
            </a:extLst>
          </p:cNvPr>
          <p:cNvSpPr/>
          <p:nvPr/>
        </p:nvSpPr>
        <p:spPr>
          <a:xfrm>
            <a:off x="0" y="2586831"/>
            <a:ext cx="9129925" cy="461665"/>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600" normalizeH="0" baseline="0" noProof="0" dirty="0">
                <a:ln>
                  <a:noFill/>
                </a:ln>
                <a:solidFill>
                  <a:srgbClr val="FFC82C"/>
                </a:solidFill>
                <a:effectLst/>
                <a:uLnTx/>
                <a:uFillTx/>
                <a:latin typeface="Corporate A Medium" panose="02000503080000020004" pitchFamily="2" charset="0"/>
                <a:ea typeface="ＭＳ Ｐゴシック" charset="0"/>
              </a:rPr>
              <a:t>Hematologic Malignancies</a:t>
            </a:r>
          </a:p>
        </p:txBody>
      </p:sp>
      <p:sp>
        <p:nvSpPr>
          <p:cNvPr id="3" name="Rectangle 2">
            <a:extLst>
              <a:ext uri="{FF2B5EF4-FFF2-40B4-BE49-F238E27FC236}">
                <a16:creationId xmlns:a16="http://schemas.microsoft.com/office/drawing/2014/main" id="{2CD37E42-E2E3-0CF1-91DF-51880A7249F7}"/>
              </a:ext>
            </a:extLst>
          </p:cNvPr>
          <p:cNvSpPr/>
          <p:nvPr/>
        </p:nvSpPr>
        <p:spPr>
          <a:xfrm>
            <a:off x="14075" y="3073896"/>
            <a:ext cx="9129925" cy="338554"/>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orporate S Demi" panose="02020500000000000000" pitchFamily="18" charset="0"/>
                <a:ea typeface="ＭＳ Ｐゴシック" charset="0"/>
              </a:rPr>
              <a:t>May 9</a:t>
            </a:r>
            <a:r>
              <a:rPr kumimoji="0" lang="en-US" sz="1600" b="0" i="0" u="none" strike="noStrike" kern="1200" cap="none" spc="0" normalizeH="0" baseline="30000" noProof="0" dirty="0">
                <a:ln>
                  <a:noFill/>
                </a:ln>
                <a:solidFill>
                  <a:prstClr val="white"/>
                </a:solidFill>
                <a:effectLst/>
                <a:uLnTx/>
                <a:uFillTx/>
                <a:latin typeface="Corporate S Demi" panose="02020500000000000000" pitchFamily="18" charset="0"/>
                <a:ea typeface="ＭＳ Ｐゴシック" charset="0"/>
              </a:rPr>
              <a:t>th</a:t>
            </a:r>
            <a:r>
              <a:rPr kumimoji="0" lang="en-US" sz="1600" b="0" i="0" u="none" strike="noStrike" kern="1200" cap="none" spc="0" normalizeH="0" baseline="0" noProof="0" dirty="0">
                <a:ln>
                  <a:noFill/>
                </a:ln>
                <a:solidFill>
                  <a:prstClr val="white"/>
                </a:solidFill>
                <a:effectLst/>
                <a:uLnTx/>
                <a:uFillTx/>
                <a:latin typeface="Corporate S Demi" panose="02020500000000000000" pitchFamily="18" charset="0"/>
                <a:ea typeface="ＭＳ Ｐゴシック" charset="0"/>
              </a:rPr>
              <a:t>, 2024</a:t>
            </a:r>
          </a:p>
        </p:txBody>
      </p:sp>
    </p:spTree>
    <p:extLst>
      <p:ext uri="{BB962C8B-B14F-4D97-AF65-F5344CB8AC3E}">
        <p14:creationId xmlns:p14="http://schemas.microsoft.com/office/powerpoint/2010/main" val="254474638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616789" y="1798064"/>
            <a:ext cx="8158431" cy="2204975"/>
          </a:xfrm>
        </p:spPr>
        <p:txBody>
          <a:bodyPr/>
          <a:lstStyle/>
          <a:p>
            <a:r>
              <a:rPr lang="en-US" b="1" dirty="0">
                <a:solidFill>
                  <a:srgbClr val="002E51"/>
                </a:solidFill>
              </a:rPr>
              <a:t>Kathleen </a:t>
            </a:r>
            <a:r>
              <a:rPr lang="en-US" b="1" dirty="0" err="1">
                <a:solidFill>
                  <a:srgbClr val="002E51"/>
                </a:solidFill>
              </a:rPr>
              <a:t>Dorritie</a:t>
            </a:r>
            <a:r>
              <a:rPr lang="en-US" b="1" dirty="0">
                <a:solidFill>
                  <a:srgbClr val="002E51"/>
                </a:solidFill>
              </a:rPr>
              <a:t>, MD</a:t>
            </a:r>
          </a:p>
          <a:p>
            <a:r>
              <a:rPr lang="en-US" dirty="0">
                <a:solidFill>
                  <a:srgbClr val="002E51"/>
                </a:solidFill>
              </a:rPr>
              <a:t>Assistant Professor, Division of Hematology/Oncology</a:t>
            </a:r>
          </a:p>
          <a:p>
            <a:r>
              <a:rPr lang="en-US" dirty="0">
                <a:solidFill>
                  <a:srgbClr val="002E51"/>
                </a:solidFill>
              </a:rPr>
              <a:t>UPMC Hillman Cancer Center/University of Pittsburgh</a:t>
            </a:r>
            <a:endParaRPr lang="en-US" dirty="0">
              <a:solidFill>
                <a:srgbClr val="000000"/>
              </a:solidFill>
            </a:endParaRPr>
          </a:p>
          <a:p>
            <a:r>
              <a:rPr lang="en-US" dirty="0">
                <a:solidFill>
                  <a:srgbClr val="000000"/>
                </a:solidFill>
              </a:rPr>
              <a:t>Pittsburgh, PA  </a:t>
            </a:r>
            <a:endParaRPr lang="en-US" dirty="0"/>
          </a:p>
          <a:p>
            <a:endParaRPr lang="en-US" dirty="0">
              <a:solidFill>
                <a:srgbClr val="002E51"/>
              </a:solidFill>
            </a:endParaRPr>
          </a:p>
        </p:txBody>
      </p:sp>
      <p:sp>
        <p:nvSpPr>
          <p:cNvPr id="4" name="Title 3"/>
          <p:cNvSpPr>
            <a:spLocks noGrp="1"/>
          </p:cNvSpPr>
          <p:nvPr>
            <p:ph type="title"/>
          </p:nvPr>
        </p:nvSpPr>
        <p:spPr>
          <a:xfrm>
            <a:off x="0" y="491147"/>
            <a:ext cx="9144000" cy="786936"/>
          </a:xfrm>
        </p:spPr>
        <p:txBody>
          <a:bodyPr lIns="91440" tIns="45720" rIns="91440" bIns="45720" anchor="t"/>
          <a:lstStyle/>
          <a:p>
            <a:r>
              <a:rPr lang="en-US" b="1" dirty="0">
                <a:solidFill>
                  <a:srgbClr val="002E51"/>
                </a:solidFill>
              </a:rPr>
              <a:t>Updates in Treatment Naïve CLL</a:t>
            </a:r>
            <a:endParaRPr lang="en-US" dirty="0"/>
          </a:p>
        </p:txBody>
      </p:sp>
    </p:spTree>
    <p:extLst>
      <p:ext uri="{BB962C8B-B14F-4D97-AF65-F5344CB8AC3E}">
        <p14:creationId xmlns:p14="http://schemas.microsoft.com/office/powerpoint/2010/main" val="3859983578"/>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280824" y="877245"/>
            <a:ext cx="8572500" cy="3394343"/>
          </a:xfrm>
        </p:spPr>
        <p:txBody>
          <a:bodyPr/>
          <a:lstStyle/>
          <a:p>
            <a:pPr algn="l"/>
            <a:r>
              <a:rPr lang="en-US" i="1" dirty="0">
                <a:solidFill>
                  <a:srgbClr val="002E51"/>
                </a:solidFill>
              </a:rPr>
              <a:t>Research Funding:</a:t>
            </a:r>
            <a:r>
              <a:rPr lang="en-US" dirty="0">
                <a:solidFill>
                  <a:srgbClr val="002E51"/>
                </a:solidFill>
              </a:rPr>
              <a:t> Janssen, BMS, Hoffman La-Roche, </a:t>
            </a:r>
            <a:r>
              <a:rPr lang="en-US" err="1">
                <a:solidFill>
                  <a:srgbClr val="002E51"/>
                </a:solidFill>
              </a:rPr>
              <a:t>KiTE</a:t>
            </a:r>
            <a:r>
              <a:rPr lang="en-US" dirty="0">
                <a:solidFill>
                  <a:srgbClr val="002E51"/>
                </a:solidFill>
              </a:rPr>
              <a:t>, Genmab</a:t>
            </a:r>
          </a:p>
          <a:p>
            <a:pPr algn="l"/>
            <a:endParaRPr lang="en-US" dirty="0">
              <a:solidFill>
                <a:srgbClr val="002E51"/>
              </a:solidFill>
            </a:endParaRPr>
          </a:p>
          <a:p>
            <a:pPr algn="l"/>
            <a:r>
              <a:rPr lang="en-US" i="1" dirty="0">
                <a:solidFill>
                  <a:srgbClr val="002E51"/>
                </a:solidFill>
              </a:rPr>
              <a:t>Advisory Board:</a:t>
            </a:r>
            <a:r>
              <a:rPr lang="en-US" dirty="0">
                <a:solidFill>
                  <a:srgbClr val="002E51"/>
                </a:solidFill>
              </a:rPr>
              <a:t> BMS</a:t>
            </a:r>
          </a:p>
          <a:p>
            <a:pPr algn="l"/>
            <a:endParaRPr lang="en-US" dirty="0">
              <a:solidFill>
                <a:srgbClr val="002E51"/>
              </a:solidFill>
            </a:endParaRPr>
          </a:p>
          <a:p>
            <a:pPr algn="l"/>
            <a:r>
              <a:rPr lang="en-US" i="1" dirty="0">
                <a:solidFill>
                  <a:srgbClr val="002E51"/>
                </a:solidFill>
              </a:rPr>
              <a:t>Honoraria for Speaking: </a:t>
            </a:r>
            <a:r>
              <a:rPr lang="en-US" dirty="0">
                <a:solidFill>
                  <a:srgbClr val="002E51"/>
                </a:solidFill>
              </a:rPr>
              <a:t>Janssen, BMS</a:t>
            </a:r>
          </a:p>
          <a:p>
            <a:pPr algn="l"/>
            <a:endParaRPr lang="en-US" dirty="0">
              <a:solidFill>
                <a:srgbClr val="002E51"/>
              </a:solidFill>
            </a:endParaRPr>
          </a:p>
          <a:p>
            <a:pPr algn="l"/>
            <a:endParaRPr lang="en-US" dirty="0">
              <a:solidFill>
                <a:srgbClr val="002E51"/>
              </a:solidFill>
            </a:endParaRPr>
          </a:p>
        </p:txBody>
      </p:sp>
      <p:sp>
        <p:nvSpPr>
          <p:cNvPr id="4" name="Title 3"/>
          <p:cNvSpPr>
            <a:spLocks noGrp="1"/>
          </p:cNvSpPr>
          <p:nvPr>
            <p:ph type="title"/>
          </p:nvPr>
        </p:nvSpPr>
        <p:spPr>
          <a:xfrm>
            <a:off x="0" y="127465"/>
            <a:ext cx="9144000" cy="807256"/>
          </a:xfrm>
        </p:spPr>
        <p:txBody>
          <a:bodyPr lIns="91440" tIns="45720" rIns="91440" bIns="45720" anchor="t"/>
          <a:lstStyle/>
          <a:p>
            <a:r>
              <a:rPr lang="en-US" b="1" dirty="0"/>
              <a:t>Disclosures</a:t>
            </a:r>
          </a:p>
        </p:txBody>
      </p:sp>
    </p:spTree>
    <p:extLst>
      <p:ext uri="{BB962C8B-B14F-4D97-AF65-F5344CB8AC3E}">
        <p14:creationId xmlns:p14="http://schemas.microsoft.com/office/powerpoint/2010/main" val="52628566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64614" y="939801"/>
            <a:ext cx="8323118" cy="3487948"/>
          </a:xfrm>
        </p:spPr>
        <p:txBody>
          <a:bodyPr/>
          <a:lstStyle/>
          <a:p>
            <a:pPr marL="342900" indent="-342900" algn="l">
              <a:buFont typeface="Arial"/>
              <a:buChar char="•"/>
            </a:pPr>
            <a:r>
              <a:rPr lang="en-US" dirty="0">
                <a:solidFill>
                  <a:srgbClr val="002E51"/>
                </a:solidFill>
              </a:rPr>
              <a:t>Phase 3 ELEVATE-TN: 6 year follow-up </a:t>
            </a:r>
          </a:p>
          <a:p>
            <a:pPr marL="342900" indent="-342900" algn="l">
              <a:buFont typeface="Arial"/>
              <a:buChar char="•"/>
            </a:pPr>
            <a:endParaRPr lang="en-US" dirty="0">
              <a:solidFill>
                <a:srgbClr val="002E51"/>
              </a:solidFill>
            </a:endParaRPr>
          </a:p>
          <a:p>
            <a:pPr marL="342900" indent="-342900" algn="l">
              <a:buFont typeface="Arial"/>
              <a:buChar char="•"/>
            </a:pPr>
            <a:r>
              <a:rPr lang="en-US" dirty="0">
                <a:solidFill>
                  <a:srgbClr val="002E51"/>
                </a:solidFill>
              </a:rPr>
              <a:t>Phase 2 CAPTIVATE-2: 5 year follow-up</a:t>
            </a:r>
          </a:p>
          <a:p>
            <a:pPr marL="342900" indent="-342900" algn="l">
              <a:buFont typeface="Arial"/>
              <a:buChar char="•"/>
            </a:pPr>
            <a:endParaRPr lang="en-US" dirty="0">
              <a:solidFill>
                <a:srgbClr val="002E51"/>
              </a:solidFill>
            </a:endParaRPr>
          </a:p>
          <a:p>
            <a:pPr marL="342900" indent="-342900" algn="l">
              <a:buFont typeface="Arial"/>
              <a:buChar char="•"/>
            </a:pPr>
            <a:r>
              <a:rPr lang="en-US" dirty="0">
                <a:solidFill>
                  <a:srgbClr val="002E51"/>
                </a:solidFill>
              </a:rPr>
              <a:t>Phase 3 NCRI-FLAIR</a:t>
            </a:r>
          </a:p>
          <a:p>
            <a:pPr marL="342900" indent="-342900" algn="l">
              <a:buFont typeface="Arial"/>
              <a:buChar char="•"/>
            </a:pPr>
            <a:endParaRPr lang="en-US" dirty="0">
              <a:solidFill>
                <a:srgbClr val="002E51"/>
              </a:solidFill>
            </a:endParaRPr>
          </a:p>
        </p:txBody>
      </p:sp>
      <p:sp>
        <p:nvSpPr>
          <p:cNvPr id="4" name="Title 3"/>
          <p:cNvSpPr>
            <a:spLocks noGrp="1"/>
          </p:cNvSpPr>
          <p:nvPr>
            <p:ph type="title"/>
          </p:nvPr>
        </p:nvSpPr>
        <p:spPr>
          <a:xfrm>
            <a:off x="0" y="127465"/>
            <a:ext cx="9144000" cy="807256"/>
          </a:xfrm>
        </p:spPr>
        <p:txBody>
          <a:bodyPr lIns="91440" tIns="45720" rIns="91440" bIns="45720" anchor="t"/>
          <a:lstStyle/>
          <a:p>
            <a:r>
              <a:rPr lang="en-US" b="1" dirty="0"/>
              <a:t>Outline</a:t>
            </a:r>
          </a:p>
        </p:txBody>
      </p:sp>
    </p:spTree>
    <p:extLst>
      <p:ext uri="{BB962C8B-B14F-4D97-AF65-F5344CB8AC3E}">
        <p14:creationId xmlns:p14="http://schemas.microsoft.com/office/powerpoint/2010/main" val="1604562289"/>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white text with black text&#10;&#10;Description automatically generated">
            <a:extLst>
              <a:ext uri="{FF2B5EF4-FFF2-40B4-BE49-F238E27FC236}">
                <a16:creationId xmlns:a16="http://schemas.microsoft.com/office/drawing/2014/main" id="{FF97C368-EB3E-7A04-5103-075A5B4BD722}"/>
              </a:ext>
            </a:extLst>
          </p:cNvPr>
          <p:cNvPicPr>
            <a:picLocks noChangeAspect="1"/>
          </p:cNvPicPr>
          <p:nvPr/>
        </p:nvPicPr>
        <p:blipFill>
          <a:blip r:embed="rId2"/>
          <a:stretch>
            <a:fillRect/>
          </a:stretch>
        </p:blipFill>
        <p:spPr>
          <a:xfrm>
            <a:off x="1090" y="0"/>
            <a:ext cx="7602174" cy="4280060"/>
          </a:xfrm>
          <a:prstGeom prst="rect">
            <a:avLst/>
          </a:prstGeom>
        </p:spPr>
      </p:pic>
    </p:spTree>
    <p:extLst>
      <p:ext uri="{BB962C8B-B14F-4D97-AF65-F5344CB8AC3E}">
        <p14:creationId xmlns:p14="http://schemas.microsoft.com/office/powerpoint/2010/main" val="21917923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6580C1-F618-EF83-76D9-4AF47591344F}"/>
              </a:ext>
            </a:extLst>
          </p:cNvPr>
          <p:cNvPicPr>
            <a:picLocks noChangeAspect="1"/>
          </p:cNvPicPr>
          <p:nvPr/>
        </p:nvPicPr>
        <p:blipFill rotWithShape="1">
          <a:blip r:embed="rId2"/>
          <a:srcRect l="14085" t="10846" r="8380" b="9029"/>
          <a:stretch/>
        </p:blipFill>
        <p:spPr>
          <a:xfrm>
            <a:off x="109469" y="167426"/>
            <a:ext cx="7089821" cy="4121239"/>
          </a:xfrm>
          <a:prstGeom prst="rect">
            <a:avLst/>
          </a:prstGeom>
        </p:spPr>
      </p:pic>
      <p:sp>
        <p:nvSpPr>
          <p:cNvPr id="5" name="Rectangle 4">
            <a:extLst>
              <a:ext uri="{FF2B5EF4-FFF2-40B4-BE49-F238E27FC236}">
                <a16:creationId xmlns:a16="http://schemas.microsoft.com/office/drawing/2014/main" id="{726D0A0E-3A1D-8656-ED32-2EB181FC3006}"/>
              </a:ext>
            </a:extLst>
          </p:cNvPr>
          <p:cNvSpPr/>
          <p:nvPr/>
        </p:nvSpPr>
        <p:spPr bwMode="auto">
          <a:xfrm>
            <a:off x="6980349" y="3902299"/>
            <a:ext cx="270457" cy="38636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831354879"/>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011461-8B74-41D9-1282-35A906713AF4}"/>
              </a:ext>
            </a:extLst>
          </p:cNvPr>
          <p:cNvPicPr>
            <a:picLocks noChangeAspect="1"/>
          </p:cNvPicPr>
          <p:nvPr/>
        </p:nvPicPr>
        <p:blipFill>
          <a:blip r:embed="rId3"/>
          <a:stretch>
            <a:fillRect/>
          </a:stretch>
        </p:blipFill>
        <p:spPr>
          <a:xfrm>
            <a:off x="6180" y="0"/>
            <a:ext cx="7742955" cy="4366404"/>
          </a:xfrm>
          <a:prstGeom prst="rect">
            <a:avLst/>
          </a:prstGeom>
        </p:spPr>
      </p:pic>
    </p:spTree>
    <p:extLst>
      <p:ext uri="{BB962C8B-B14F-4D97-AF65-F5344CB8AC3E}">
        <p14:creationId xmlns:p14="http://schemas.microsoft.com/office/powerpoint/2010/main" val="379278730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table with numbers and text&#10;&#10;Description automatically generated">
            <a:extLst>
              <a:ext uri="{FF2B5EF4-FFF2-40B4-BE49-F238E27FC236}">
                <a16:creationId xmlns:a16="http://schemas.microsoft.com/office/drawing/2014/main" id="{B2FCEAC9-FAC5-4B90-9DEA-0E8C48322A45}"/>
              </a:ext>
            </a:extLst>
          </p:cNvPr>
          <p:cNvPicPr>
            <a:picLocks noChangeAspect="1"/>
          </p:cNvPicPr>
          <p:nvPr/>
        </p:nvPicPr>
        <p:blipFill>
          <a:blip r:embed="rId2"/>
          <a:stretch>
            <a:fillRect/>
          </a:stretch>
        </p:blipFill>
        <p:spPr>
          <a:xfrm>
            <a:off x="0" y="-406"/>
            <a:ext cx="7970975" cy="4475146"/>
          </a:xfrm>
          <a:prstGeom prst="rect">
            <a:avLst/>
          </a:prstGeom>
        </p:spPr>
      </p:pic>
    </p:spTree>
    <p:extLst>
      <p:ext uri="{BB962C8B-B14F-4D97-AF65-F5344CB8AC3E}">
        <p14:creationId xmlns:p14="http://schemas.microsoft.com/office/powerpoint/2010/main" val="184626045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table&#10;&#10;Description automatically generated">
            <a:extLst>
              <a:ext uri="{FF2B5EF4-FFF2-40B4-BE49-F238E27FC236}">
                <a16:creationId xmlns:a16="http://schemas.microsoft.com/office/drawing/2014/main" id="{4F5ABB44-7F3F-45FD-B5CA-78AC85238A08}"/>
              </a:ext>
            </a:extLst>
          </p:cNvPr>
          <p:cNvPicPr>
            <a:picLocks noChangeAspect="1"/>
          </p:cNvPicPr>
          <p:nvPr/>
        </p:nvPicPr>
        <p:blipFill>
          <a:blip r:embed="rId2"/>
          <a:stretch>
            <a:fillRect/>
          </a:stretch>
        </p:blipFill>
        <p:spPr>
          <a:xfrm>
            <a:off x="0" y="7168"/>
            <a:ext cx="7798447" cy="4373653"/>
          </a:xfrm>
          <a:prstGeom prst="rect">
            <a:avLst/>
          </a:prstGeom>
        </p:spPr>
      </p:pic>
    </p:spTree>
    <p:extLst>
      <p:ext uri="{BB962C8B-B14F-4D97-AF65-F5344CB8AC3E}">
        <p14:creationId xmlns:p14="http://schemas.microsoft.com/office/powerpoint/2010/main" val="307507484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graph&#10;&#10;Description automatically generated">
            <a:extLst>
              <a:ext uri="{FF2B5EF4-FFF2-40B4-BE49-F238E27FC236}">
                <a16:creationId xmlns:a16="http://schemas.microsoft.com/office/drawing/2014/main" id="{15314891-165C-AE79-9FB7-7F25C52641CB}"/>
              </a:ext>
            </a:extLst>
          </p:cNvPr>
          <p:cNvPicPr>
            <a:picLocks noChangeAspect="1"/>
          </p:cNvPicPr>
          <p:nvPr/>
        </p:nvPicPr>
        <p:blipFill>
          <a:blip r:embed="rId2"/>
          <a:stretch>
            <a:fillRect/>
          </a:stretch>
        </p:blipFill>
        <p:spPr>
          <a:xfrm>
            <a:off x="0" y="204"/>
            <a:ext cx="7873928" cy="4430754"/>
          </a:xfrm>
          <a:prstGeom prst="rect">
            <a:avLst/>
          </a:prstGeom>
        </p:spPr>
      </p:pic>
    </p:spTree>
    <p:extLst>
      <p:ext uri="{BB962C8B-B14F-4D97-AF65-F5344CB8AC3E}">
        <p14:creationId xmlns:p14="http://schemas.microsoft.com/office/powerpoint/2010/main" val="164917282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C3F6563-9D50-304C-9C88-AE1A631F8CCC}"/>
              </a:ext>
            </a:extLst>
          </p:cNvPr>
          <p:cNvPicPr>
            <a:picLocks noChangeAspect="1"/>
          </p:cNvPicPr>
          <p:nvPr/>
        </p:nvPicPr>
        <p:blipFill>
          <a:blip r:embed="rId2"/>
          <a:stretch>
            <a:fillRect/>
          </a:stretch>
        </p:blipFill>
        <p:spPr>
          <a:xfrm>
            <a:off x="5898" y="0"/>
            <a:ext cx="7732735" cy="4366404"/>
          </a:xfrm>
          <a:prstGeom prst="rect">
            <a:avLst/>
          </a:prstGeom>
        </p:spPr>
      </p:pic>
    </p:spTree>
    <p:extLst>
      <p:ext uri="{BB962C8B-B14F-4D97-AF65-F5344CB8AC3E}">
        <p14:creationId xmlns:p14="http://schemas.microsoft.com/office/powerpoint/2010/main" val="3071517894"/>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323B20-4052-7576-E24D-143C36BBB418}"/>
              </a:ext>
            </a:extLst>
          </p:cNvPr>
          <p:cNvPicPr>
            <a:picLocks noChangeAspect="1"/>
          </p:cNvPicPr>
          <p:nvPr/>
        </p:nvPicPr>
        <p:blipFill>
          <a:blip r:embed="rId2"/>
          <a:stretch>
            <a:fillRect/>
          </a:stretch>
        </p:blipFill>
        <p:spPr>
          <a:xfrm>
            <a:off x="4359" y="0"/>
            <a:ext cx="7757381" cy="4377197"/>
          </a:xfrm>
          <a:prstGeom prst="rect">
            <a:avLst/>
          </a:prstGeom>
        </p:spPr>
      </p:pic>
    </p:spTree>
    <p:extLst>
      <p:ext uri="{BB962C8B-B14F-4D97-AF65-F5344CB8AC3E}">
        <p14:creationId xmlns:p14="http://schemas.microsoft.com/office/powerpoint/2010/main" val="269827673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graph of a patient&amp;#39;s disease&#10;&#10;Description automatically generated">
            <a:extLst>
              <a:ext uri="{FF2B5EF4-FFF2-40B4-BE49-F238E27FC236}">
                <a16:creationId xmlns:a16="http://schemas.microsoft.com/office/drawing/2014/main" id="{1C8432BF-B61D-9A38-E32E-F7BED9D140D5}"/>
              </a:ext>
            </a:extLst>
          </p:cNvPr>
          <p:cNvPicPr>
            <a:picLocks noChangeAspect="1"/>
          </p:cNvPicPr>
          <p:nvPr/>
        </p:nvPicPr>
        <p:blipFill>
          <a:blip r:embed="rId2"/>
          <a:stretch>
            <a:fillRect/>
          </a:stretch>
        </p:blipFill>
        <p:spPr>
          <a:xfrm>
            <a:off x="5644" y="0"/>
            <a:ext cx="7894988" cy="4474334"/>
          </a:xfrm>
          <a:prstGeom prst="rect">
            <a:avLst/>
          </a:prstGeom>
        </p:spPr>
      </p:pic>
    </p:spTree>
    <p:extLst>
      <p:ext uri="{BB962C8B-B14F-4D97-AF65-F5344CB8AC3E}">
        <p14:creationId xmlns:p14="http://schemas.microsoft.com/office/powerpoint/2010/main" val="64919974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0581B9A-A1ED-130B-1A1C-E06BF9F7169C}"/>
              </a:ext>
            </a:extLst>
          </p:cNvPr>
          <p:cNvPicPr>
            <a:picLocks noChangeAspect="1"/>
          </p:cNvPicPr>
          <p:nvPr/>
        </p:nvPicPr>
        <p:blipFill>
          <a:blip r:embed="rId2"/>
          <a:stretch>
            <a:fillRect/>
          </a:stretch>
        </p:blipFill>
        <p:spPr>
          <a:xfrm>
            <a:off x="0" y="-4062"/>
            <a:ext cx="7690617" cy="4331357"/>
          </a:xfrm>
          <a:prstGeom prst="rect">
            <a:avLst/>
          </a:prstGeom>
        </p:spPr>
      </p:pic>
    </p:spTree>
    <p:extLst>
      <p:ext uri="{BB962C8B-B14F-4D97-AF65-F5344CB8AC3E}">
        <p14:creationId xmlns:p14="http://schemas.microsoft.com/office/powerpoint/2010/main" val="398696294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graph of cancer patients with numbers and letters&#10;&#10;Description automatically generated">
            <a:extLst>
              <a:ext uri="{FF2B5EF4-FFF2-40B4-BE49-F238E27FC236}">
                <a16:creationId xmlns:a16="http://schemas.microsoft.com/office/drawing/2014/main" id="{2424DD73-AB43-7DBF-B1B7-2F3D5D6EB6C2}"/>
              </a:ext>
            </a:extLst>
          </p:cNvPr>
          <p:cNvPicPr>
            <a:picLocks noChangeAspect="1"/>
          </p:cNvPicPr>
          <p:nvPr/>
        </p:nvPicPr>
        <p:blipFill>
          <a:blip r:embed="rId2"/>
          <a:stretch>
            <a:fillRect/>
          </a:stretch>
        </p:blipFill>
        <p:spPr>
          <a:xfrm>
            <a:off x="13848" y="0"/>
            <a:ext cx="7781533" cy="4409576"/>
          </a:xfrm>
          <a:prstGeom prst="rect">
            <a:avLst/>
          </a:prstGeom>
        </p:spPr>
      </p:pic>
    </p:spTree>
    <p:extLst>
      <p:ext uri="{BB962C8B-B14F-4D97-AF65-F5344CB8AC3E}">
        <p14:creationId xmlns:p14="http://schemas.microsoft.com/office/powerpoint/2010/main" val="188239637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graph&#10;&#10;Description automatically generated">
            <a:extLst>
              <a:ext uri="{FF2B5EF4-FFF2-40B4-BE49-F238E27FC236}">
                <a16:creationId xmlns:a16="http://schemas.microsoft.com/office/drawing/2014/main" id="{ECF2E695-2064-575C-B5A4-F6027D1D7046}"/>
              </a:ext>
            </a:extLst>
          </p:cNvPr>
          <p:cNvPicPr>
            <a:picLocks noChangeAspect="1"/>
          </p:cNvPicPr>
          <p:nvPr/>
        </p:nvPicPr>
        <p:blipFill>
          <a:blip r:embed="rId2"/>
          <a:stretch>
            <a:fillRect/>
          </a:stretch>
        </p:blipFill>
        <p:spPr>
          <a:xfrm>
            <a:off x="0" y="1633"/>
            <a:ext cx="7830796" cy="4406310"/>
          </a:xfrm>
          <a:prstGeom prst="rect">
            <a:avLst/>
          </a:prstGeom>
        </p:spPr>
      </p:pic>
    </p:spTree>
    <p:extLst>
      <p:ext uri="{BB962C8B-B14F-4D97-AF65-F5344CB8AC3E}">
        <p14:creationId xmlns:p14="http://schemas.microsoft.com/office/powerpoint/2010/main" val="17136730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C919E82-B409-F067-1EAF-F96839C59E13}"/>
              </a:ext>
            </a:extLst>
          </p:cNvPr>
          <p:cNvPicPr>
            <a:picLocks noChangeAspect="1"/>
          </p:cNvPicPr>
          <p:nvPr/>
        </p:nvPicPr>
        <p:blipFill rotWithShape="1">
          <a:blip r:embed="rId3"/>
          <a:srcRect l="1901" t="12724" r="17747" b="7526"/>
          <a:stretch/>
        </p:blipFill>
        <p:spPr>
          <a:xfrm>
            <a:off x="232554" y="149237"/>
            <a:ext cx="7347398" cy="4101921"/>
          </a:xfrm>
          <a:prstGeom prst="rect">
            <a:avLst/>
          </a:prstGeom>
        </p:spPr>
      </p:pic>
      <p:sp>
        <p:nvSpPr>
          <p:cNvPr id="6" name="Rectangle 5">
            <a:extLst>
              <a:ext uri="{FF2B5EF4-FFF2-40B4-BE49-F238E27FC236}">
                <a16:creationId xmlns:a16="http://schemas.microsoft.com/office/drawing/2014/main" id="{E77C69ED-B69A-7DDF-2446-4B0344BBCA14}"/>
              </a:ext>
            </a:extLst>
          </p:cNvPr>
          <p:cNvSpPr/>
          <p:nvPr/>
        </p:nvSpPr>
        <p:spPr bwMode="auto">
          <a:xfrm>
            <a:off x="7142747" y="224590"/>
            <a:ext cx="312821" cy="33688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7" name="Rectangle 6">
            <a:extLst>
              <a:ext uri="{FF2B5EF4-FFF2-40B4-BE49-F238E27FC236}">
                <a16:creationId xmlns:a16="http://schemas.microsoft.com/office/drawing/2014/main" id="{75D8FCC6-97DA-561C-CCF0-6AC1AFBDCDD0}"/>
              </a:ext>
            </a:extLst>
          </p:cNvPr>
          <p:cNvSpPr/>
          <p:nvPr/>
        </p:nvSpPr>
        <p:spPr bwMode="auto">
          <a:xfrm>
            <a:off x="7186862" y="3858126"/>
            <a:ext cx="312821" cy="33688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758171597"/>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graph of a patient&amp;#39;s arm&#10;&#10;Description automatically generated">
            <a:extLst>
              <a:ext uri="{FF2B5EF4-FFF2-40B4-BE49-F238E27FC236}">
                <a16:creationId xmlns:a16="http://schemas.microsoft.com/office/drawing/2014/main" id="{466ED3AB-C4BE-81AD-1D7E-021644EC2F6E}"/>
              </a:ext>
            </a:extLst>
          </p:cNvPr>
          <p:cNvPicPr>
            <a:picLocks noChangeAspect="1"/>
          </p:cNvPicPr>
          <p:nvPr/>
        </p:nvPicPr>
        <p:blipFill>
          <a:blip r:embed="rId2"/>
          <a:stretch>
            <a:fillRect/>
          </a:stretch>
        </p:blipFill>
        <p:spPr>
          <a:xfrm>
            <a:off x="0" y="1684"/>
            <a:ext cx="7927843" cy="4449379"/>
          </a:xfrm>
          <a:prstGeom prst="rect">
            <a:avLst/>
          </a:prstGeom>
        </p:spPr>
      </p:pic>
    </p:spTree>
    <p:extLst>
      <p:ext uri="{BB962C8B-B14F-4D97-AF65-F5344CB8AC3E}">
        <p14:creationId xmlns:p14="http://schemas.microsoft.com/office/powerpoint/2010/main" val="347747822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31EB662-44F9-EE2C-E674-0B9720B80501}"/>
              </a:ext>
            </a:extLst>
          </p:cNvPr>
          <p:cNvPicPr>
            <a:picLocks noChangeAspect="1"/>
          </p:cNvPicPr>
          <p:nvPr/>
        </p:nvPicPr>
        <p:blipFill>
          <a:blip r:embed="rId2"/>
          <a:stretch>
            <a:fillRect/>
          </a:stretch>
        </p:blipFill>
        <p:spPr>
          <a:xfrm>
            <a:off x="1897" y="0"/>
            <a:ext cx="7827002" cy="4409576"/>
          </a:xfrm>
          <a:prstGeom prst="rect">
            <a:avLst/>
          </a:prstGeom>
        </p:spPr>
      </p:pic>
    </p:spTree>
    <p:extLst>
      <p:ext uri="{BB962C8B-B14F-4D97-AF65-F5344CB8AC3E}">
        <p14:creationId xmlns:p14="http://schemas.microsoft.com/office/powerpoint/2010/main" val="336963793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E315ED7-C1EE-BBB2-4D57-6F63BBFAE6AB}"/>
              </a:ext>
            </a:extLst>
          </p:cNvPr>
          <p:cNvPicPr>
            <a:picLocks noChangeAspect="1"/>
          </p:cNvPicPr>
          <p:nvPr/>
        </p:nvPicPr>
        <p:blipFill>
          <a:blip r:embed="rId2"/>
          <a:stretch>
            <a:fillRect/>
          </a:stretch>
        </p:blipFill>
        <p:spPr>
          <a:xfrm>
            <a:off x="0" y="2659"/>
            <a:ext cx="7744532" cy="4350293"/>
          </a:xfrm>
          <a:prstGeom prst="rect">
            <a:avLst/>
          </a:prstGeom>
        </p:spPr>
      </p:pic>
    </p:spTree>
    <p:extLst>
      <p:ext uri="{BB962C8B-B14F-4D97-AF65-F5344CB8AC3E}">
        <p14:creationId xmlns:p14="http://schemas.microsoft.com/office/powerpoint/2010/main" val="2641157775"/>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7B86058-49E4-4D7A-D542-650E9770A2ED}"/>
              </a:ext>
            </a:extLst>
          </p:cNvPr>
          <p:cNvPicPr>
            <a:picLocks noChangeAspect="1"/>
          </p:cNvPicPr>
          <p:nvPr/>
        </p:nvPicPr>
        <p:blipFill>
          <a:blip r:embed="rId2"/>
          <a:stretch>
            <a:fillRect/>
          </a:stretch>
        </p:blipFill>
        <p:spPr>
          <a:xfrm>
            <a:off x="0" y="-3424"/>
            <a:ext cx="7787664" cy="4384045"/>
          </a:xfrm>
          <a:prstGeom prst="rect">
            <a:avLst/>
          </a:prstGeom>
        </p:spPr>
      </p:pic>
    </p:spTree>
    <p:extLst>
      <p:ext uri="{BB962C8B-B14F-4D97-AF65-F5344CB8AC3E}">
        <p14:creationId xmlns:p14="http://schemas.microsoft.com/office/powerpoint/2010/main" val="117596434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table with numbers and text&#10;&#10;Description automatically generated">
            <a:extLst>
              <a:ext uri="{FF2B5EF4-FFF2-40B4-BE49-F238E27FC236}">
                <a16:creationId xmlns:a16="http://schemas.microsoft.com/office/drawing/2014/main" id="{2021D12C-1882-EC02-2393-C89500516008}"/>
              </a:ext>
            </a:extLst>
          </p:cNvPr>
          <p:cNvPicPr>
            <a:picLocks noChangeAspect="1"/>
          </p:cNvPicPr>
          <p:nvPr/>
        </p:nvPicPr>
        <p:blipFill>
          <a:blip r:embed="rId2"/>
          <a:stretch>
            <a:fillRect/>
          </a:stretch>
        </p:blipFill>
        <p:spPr>
          <a:xfrm>
            <a:off x="2646" y="0"/>
            <a:ext cx="7771589" cy="4387990"/>
          </a:xfrm>
          <a:prstGeom prst="rect">
            <a:avLst/>
          </a:prstGeom>
        </p:spPr>
      </p:pic>
    </p:spTree>
    <p:extLst>
      <p:ext uri="{BB962C8B-B14F-4D97-AF65-F5344CB8AC3E}">
        <p14:creationId xmlns:p14="http://schemas.microsoft.com/office/powerpoint/2010/main" val="1760321553"/>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graph&#10;&#10;Description automatically generated">
            <a:extLst>
              <a:ext uri="{FF2B5EF4-FFF2-40B4-BE49-F238E27FC236}">
                <a16:creationId xmlns:a16="http://schemas.microsoft.com/office/drawing/2014/main" id="{84764CFA-ED20-ECF4-3024-9A3984CB6D8C}"/>
              </a:ext>
            </a:extLst>
          </p:cNvPr>
          <p:cNvPicPr>
            <a:picLocks noChangeAspect="1"/>
          </p:cNvPicPr>
          <p:nvPr/>
        </p:nvPicPr>
        <p:blipFill>
          <a:blip r:embed="rId2"/>
          <a:stretch>
            <a:fillRect/>
          </a:stretch>
        </p:blipFill>
        <p:spPr>
          <a:xfrm>
            <a:off x="5142" y="0"/>
            <a:ext cx="7885210" cy="4452748"/>
          </a:xfrm>
          <a:prstGeom prst="rect">
            <a:avLst/>
          </a:prstGeom>
        </p:spPr>
      </p:pic>
    </p:spTree>
    <p:extLst>
      <p:ext uri="{BB962C8B-B14F-4D97-AF65-F5344CB8AC3E}">
        <p14:creationId xmlns:p14="http://schemas.microsoft.com/office/powerpoint/2010/main" val="51819895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table with numbers and a blue background&#10;&#10;Description automatically generated">
            <a:extLst>
              <a:ext uri="{FF2B5EF4-FFF2-40B4-BE49-F238E27FC236}">
                <a16:creationId xmlns:a16="http://schemas.microsoft.com/office/drawing/2014/main" id="{3A7E8933-6902-1ABD-AC52-FDFE8B29086B}"/>
              </a:ext>
            </a:extLst>
          </p:cNvPr>
          <p:cNvPicPr>
            <a:picLocks noChangeAspect="1"/>
          </p:cNvPicPr>
          <p:nvPr/>
        </p:nvPicPr>
        <p:blipFill>
          <a:blip r:embed="rId2"/>
          <a:stretch>
            <a:fillRect/>
          </a:stretch>
        </p:blipFill>
        <p:spPr>
          <a:xfrm>
            <a:off x="0" y="-3424"/>
            <a:ext cx="7917060" cy="4448803"/>
          </a:xfrm>
          <a:prstGeom prst="rect">
            <a:avLst/>
          </a:prstGeom>
        </p:spPr>
      </p:pic>
    </p:spTree>
    <p:extLst>
      <p:ext uri="{BB962C8B-B14F-4D97-AF65-F5344CB8AC3E}">
        <p14:creationId xmlns:p14="http://schemas.microsoft.com/office/powerpoint/2010/main" val="126263075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0D92D31-B37B-49C9-8370-B99DF568FC85}"/>
              </a:ext>
            </a:extLst>
          </p:cNvPr>
          <p:cNvPicPr>
            <a:picLocks noChangeAspect="1"/>
          </p:cNvPicPr>
          <p:nvPr/>
        </p:nvPicPr>
        <p:blipFill>
          <a:blip r:embed="rId2"/>
          <a:stretch>
            <a:fillRect/>
          </a:stretch>
        </p:blipFill>
        <p:spPr>
          <a:xfrm>
            <a:off x="0" y="2659"/>
            <a:ext cx="7895495" cy="4436637"/>
          </a:xfrm>
          <a:prstGeom prst="rect">
            <a:avLst/>
          </a:prstGeom>
        </p:spPr>
      </p:pic>
    </p:spTree>
    <p:extLst>
      <p:ext uri="{BB962C8B-B14F-4D97-AF65-F5344CB8AC3E}">
        <p14:creationId xmlns:p14="http://schemas.microsoft.com/office/powerpoint/2010/main" val="194152120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8FDE40C-104B-7238-0C5B-00A7A546D253}"/>
              </a:ext>
            </a:extLst>
          </p:cNvPr>
          <p:cNvSpPr>
            <a:spLocks noGrp="1"/>
          </p:cNvSpPr>
          <p:nvPr>
            <p:ph idx="1"/>
          </p:nvPr>
        </p:nvSpPr>
        <p:spPr/>
        <p:txBody>
          <a:bodyPr/>
          <a:lstStyle/>
          <a:p>
            <a:r>
              <a:rPr lang="en-US" sz="2000" dirty="0">
                <a:ea typeface="+mn-lt"/>
                <a:cs typeface="+mn-lt"/>
              </a:rPr>
              <a:t>At ~6 years of follow up, there was a favorable efficacy and safety profile of A+O and A vs </a:t>
            </a:r>
            <a:r>
              <a:rPr lang="en-US" sz="2000" dirty="0" err="1">
                <a:ea typeface="+mn-lt"/>
                <a:cs typeface="+mn-lt"/>
              </a:rPr>
              <a:t>O+Clb</a:t>
            </a:r>
            <a:r>
              <a:rPr lang="en-US" sz="2000" dirty="0">
                <a:ea typeface="+mn-lt"/>
                <a:cs typeface="+mn-lt"/>
              </a:rPr>
              <a:t> in patients with TN CLL </a:t>
            </a:r>
            <a:endParaRPr lang="en-US" dirty="0"/>
          </a:p>
          <a:p>
            <a:pPr marL="0" indent="0">
              <a:buNone/>
            </a:pPr>
            <a:endParaRPr lang="en-US" sz="2000" dirty="0">
              <a:ea typeface="+mn-lt"/>
              <a:cs typeface="+mn-lt"/>
            </a:endParaRPr>
          </a:p>
          <a:p>
            <a:r>
              <a:rPr lang="en-US" sz="2000" dirty="0">
                <a:ea typeface="+mn-lt"/>
                <a:cs typeface="+mn-lt"/>
              </a:rPr>
              <a:t>Safety of A+O and A remained consistent with previously reported findings, with low incidences of grade ≥3 AEs typically associated with BTKis</a:t>
            </a:r>
            <a:endParaRPr lang="en-US" sz="2000" dirty="0"/>
          </a:p>
          <a:p>
            <a:endParaRPr lang="en-US" sz="2000" dirty="0"/>
          </a:p>
          <a:p>
            <a:r>
              <a:rPr lang="en-US" sz="2000" dirty="0">
                <a:ea typeface="+mn-lt"/>
                <a:cs typeface="+mn-lt"/>
              </a:rPr>
              <a:t>These data demonstrate the flexibility to administer acalabrutinib alone or in combination therapy for patients with TN CLL</a:t>
            </a:r>
            <a:endParaRPr lang="en-US" sz="2000" dirty="0"/>
          </a:p>
        </p:txBody>
      </p:sp>
      <p:sp>
        <p:nvSpPr>
          <p:cNvPr id="3" name="TextBox 2">
            <a:extLst>
              <a:ext uri="{FF2B5EF4-FFF2-40B4-BE49-F238E27FC236}">
                <a16:creationId xmlns:a16="http://schemas.microsoft.com/office/drawing/2014/main" id="{10BC4801-0BCF-2E32-BA58-DE1080426DD1}"/>
              </a:ext>
            </a:extLst>
          </p:cNvPr>
          <p:cNvSpPr txBox="1"/>
          <p:nvPr/>
        </p:nvSpPr>
        <p:spPr>
          <a:xfrm>
            <a:off x="3198606" y="80665"/>
            <a:ext cx="2743199"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rial"/>
                <a:ea typeface="ＭＳ Ｐゴシック"/>
              </a:rPr>
              <a:t>Conclusions</a:t>
            </a:r>
            <a:endParaRPr kumimoji="0" lang="en-US" sz="2800" b="0" i="0" u="none" strike="noStrike" kern="1200" cap="none" spc="0" normalizeH="0" baseline="0" noProof="0" dirty="0">
              <a:ln>
                <a:noFill/>
              </a:ln>
              <a:solidFill>
                <a:srgbClr val="000000"/>
              </a:solidFill>
              <a:effectLst/>
              <a:uLnTx/>
              <a:uFillTx/>
              <a:latin typeface="Arial" charset="0"/>
              <a:ea typeface="ＭＳ Ｐゴシック" charset="0"/>
            </a:endParaRPr>
          </a:p>
        </p:txBody>
      </p:sp>
    </p:spTree>
    <p:extLst>
      <p:ext uri="{BB962C8B-B14F-4D97-AF65-F5344CB8AC3E}">
        <p14:creationId xmlns:p14="http://schemas.microsoft.com/office/powerpoint/2010/main" val="3318311872"/>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blue and white text on a white background&#10;&#10;Description automatically generated">
            <a:extLst>
              <a:ext uri="{FF2B5EF4-FFF2-40B4-BE49-F238E27FC236}">
                <a16:creationId xmlns:a16="http://schemas.microsoft.com/office/drawing/2014/main" id="{90A68E8F-D3EE-E975-7FAB-F28C423400EE}"/>
              </a:ext>
            </a:extLst>
          </p:cNvPr>
          <p:cNvPicPr>
            <a:picLocks noChangeAspect="1"/>
          </p:cNvPicPr>
          <p:nvPr/>
        </p:nvPicPr>
        <p:blipFill>
          <a:blip r:embed="rId2"/>
          <a:stretch>
            <a:fillRect/>
          </a:stretch>
        </p:blipFill>
        <p:spPr>
          <a:xfrm>
            <a:off x="5057" y="0"/>
            <a:ext cx="7809899" cy="4409576"/>
          </a:xfrm>
          <a:prstGeom prst="rect">
            <a:avLst/>
          </a:prstGeom>
        </p:spPr>
      </p:pic>
    </p:spTree>
    <p:extLst>
      <p:ext uri="{BB962C8B-B14F-4D97-AF65-F5344CB8AC3E}">
        <p14:creationId xmlns:p14="http://schemas.microsoft.com/office/powerpoint/2010/main" val="13974090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66DD285-628F-40AB-7FEF-AFC3A4177B17}"/>
              </a:ext>
            </a:extLst>
          </p:cNvPr>
          <p:cNvPicPr>
            <a:picLocks noChangeAspect="1"/>
          </p:cNvPicPr>
          <p:nvPr/>
        </p:nvPicPr>
        <p:blipFill rotWithShape="1">
          <a:blip r:embed="rId2"/>
          <a:srcRect l="2469" t="17106" r="18169" b="6650"/>
          <a:stretch/>
        </p:blipFill>
        <p:spPr>
          <a:xfrm>
            <a:off x="168442" y="228311"/>
            <a:ext cx="7256793" cy="3921617"/>
          </a:xfrm>
          <a:prstGeom prst="rect">
            <a:avLst/>
          </a:prstGeom>
        </p:spPr>
      </p:pic>
      <p:sp>
        <p:nvSpPr>
          <p:cNvPr id="4" name="Rectangle 3">
            <a:extLst>
              <a:ext uri="{FF2B5EF4-FFF2-40B4-BE49-F238E27FC236}">
                <a16:creationId xmlns:a16="http://schemas.microsoft.com/office/drawing/2014/main" id="{80F90338-51FC-36B1-EB3A-9E1792CBDA6C}"/>
              </a:ext>
            </a:extLst>
          </p:cNvPr>
          <p:cNvSpPr/>
          <p:nvPr/>
        </p:nvSpPr>
        <p:spPr bwMode="auto">
          <a:xfrm>
            <a:off x="6986337" y="296779"/>
            <a:ext cx="312821" cy="33688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5" name="Rectangle 4">
            <a:extLst>
              <a:ext uri="{FF2B5EF4-FFF2-40B4-BE49-F238E27FC236}">
                <a16:creationId xmlns:a16="http://schemas.microsoft.com/office/drawing/2014/main" id="{FB92BBA8-CB7E-9784-D5B7-0C2354DD14C3}"/>
              </a:ext>
            </a:extLst>
          </p:cNvPr>
          <p:cNvSpPr/>
          <p:nvPr/>
        </p:nvSpPr>
        <p:spPr bwMode="auto">
          <a:xfrm>
            <a:off x="7105522" y="3881512"/>
            <a:ext cx="312821" cy="33688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212661156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diagram of a cell&#10;&#10;Description automatically generated">
            <a:extLst>
              <a:ext uri="{FF2B5EF4-FFF2-40B4-BE49-F238E27FC236}">
                <a16:creationId xmlns:a16="http://schemas.microsoft.com/office/drawing/2014/main" id="{72C93C47-B8BF-79C2-04FD-992E10373CCA}"/>
              </a:ext>
            </a:extLst>
          </p:cNvPr>
          <p:cNvPicPr>
            <a:picLocks noChangeAspect="1"/>
          </p:cNvPicPr>
          <p:nvPr/>
        </p:nvPicPr>
        <p:blipFill>
          <a:blip r:embed="rId2"/>
          <a:stretch>
            <a:fillRect/>
          </a:stretch>
        </p:blipFill>
        <p:spPr>
          <a:xfrm>
            <a:off x="0" y="-1510"/>
            <a:ext cx="7949409" cy="4434182"/>
          </a:xfrm>
          <a:prstGeom prst="rect">
            <a:avLst/>
          </a:prstGeom>
        </p:spPr>
      </p:pic>
    </p:spTree>
    <p:extLst>
      <p:ext uri="{BB962C8B-B14F-4D97-AF65-F5344CB8AC3E}">
        <p14:creationId xmlns:p14="http://schemas.microsoft.com/office/powerpoint/2010/main" val="851316566"/>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diagram of a medical procedure&#10;&#10;Description automatically generated">
            <a:extLst>
              <a:ext uri="{FF2B5EF4-FFF2-40B4-BE49-F238E27FC236}">
                <a16:creationId xmlns:a16="http://schemas.microsoft.com/office/drawing/2014/main" id="{3B285D07-EB8F-AEC1-EDF8-1F925FB8CF0D}"/>
              </a:ext>
            </a:extLst>
          </p:cNvPr>
          <p:cNvPicPr>
            <a:picLocks noChangeAspect="1"/>
          </p:cNvPicPr>
          <p:nvPr/>
        </p:nvPicPr>
        <p:blipFill>
          <a:blip r:embed="rId2"/>
          <a:stretch>
            <a:fillRect/>
          </a:stretch>
        </p:blipFill>
        <p:spPr>
          <a:xfrm>
            <a:off x="3546" y="0"/>
            <a:ext cx="7888401" cy="4452748"/>
          </a:xfrm>
          <a:prstGeom prst="rect">
            <a:avLst/>
          </a:prstGeom>
        </p:spPr>
      </p:pic>
    </p:spTree>
    <p:extLst>
      <p:ext uri="{BB962C8B-B14F-4D97-AF65-F5344CB8AC3E}">
        <p14:creationId xmlns:p14="http://schemas.microsoft.com/office/powerpoint/2010/main" val="985173371"/>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medical report&#10;&#10;Description automatically generated">
            <a:extLst>
              <a:ext uri="{FF2B5EF4-FFF2-40B4-BE49-F238E27FC236}">
                <a16:creationId xmlns:a16="http://schemas.microsoft.com/office/drawing/2014/main" id="{191A6A7E-A46F-23C4-B7D3-A5CAC8A923EF}"/>
              </a:ext>
            </a:extLst>
          </p:cNvPr>
          <p:cNvPicPr>
            <a:picLocks noChangeAspect="1"/>
          </p:cNvPicPr>
          <p:nvPr/>
        </p:nvPicPr>
        <p:blipFill>
          <a:blip r:embed="rId2"/>
          <a:stretch>
            <a:fillRect/>
          </a:stretch>
        </p:blipFill>
        <p:spPr>
          <a:xfrm>
            <a:off x="0" y="2388"/>
            <a:ext cx="7938626" cy="4437178"/>
          </a:xfrm>
          <a:prstGeom prst="rect">
            <a:avLst/>
          </a:prstGeom>
        </p:spPr>
      </p:pic>
    </p:spTree>
    <p:extLst>
      <p:ext uri="{BB962C8B-B14F-4D97-AF65-F5344CB8AC3E}">
        <p14:creationId xmlns:p14="http://schemas.microsoft.com/office/powerpoint/2010/main" val="2226236554"/>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278489D-A2C8-3DEB-40D2-1542FC3E8DFB}"/>
              </a:ext>
            </a:extLst>
          </p:cNvPr>
          <p:cNvPicPr>
            <a:picLocks noChangeAspect="1"/>
          </p:cNvPicPr>
          <p:nvPr/>
        </p:nvPicPr>
        <p:blipFill>
          <a:blip r:embed="rId2"/>
          <a:stretch>
            <a:fillRect/>
          </a:stretch>
        </p:blipFill>
        <p:spPr>
          <a:xfrm>
            <a:off x="0" y="-3822"/>
            <a:ext cx="7960192" cy="4363256"/>
          </a:xfrm>
          <a:prstGeom prst="rect">
            <a:avLst/>
          </a:prstGeom>
        </p:spPr>
      </p:pic>
    </p:spTree>
    <p:extLst>
      <p:ext uri="{BB962C8B-B14F-4D97-AF65-F5344CB8AC3E}">
        <p14:creationId xmlns:p14="http://schemas.microsoft.com/office/powerpoint/2010/main" val="3884103291"/>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medical information&#10;&#10;Description automatically generated">
            <a:extLst>
              <a:ext uri="{FF2B5EF4-FFF2-40B4-BE49-F238E27FC236}">
                <a16:creationId xmlns:a16="http://schemas.microsoft.com/office/drawing/2014/main" id="{DDD41BA3-ADE7-65AB-916A-F8D91D67BF76}"/>
              </a:ext>
            </a:extLst>
          </p:cNvPr>
          <p:cNvPicPr>
            <a:picLocks noChangeAspect="1"/>
          </p:cNvPicPr>
          <p:nvPr/>
        </p:nvPicPr>
        <p:blipFill>
          <a:blip r:embed="rId2"/>
          <a:stretch>
            <a:fillRect/>
          </a:stretch>
        </p:blipFill>
        <p:spPr>
          <a:xfrm>
            <a:off x="0" y="4140"/>
            <a:ext cx="7981758" cy="4455260"/>
          </a:xfrm>
          <a:prstGeom prst="rect">
            <a:avLst/>
          </a:prstGeom>
        </p:spPr>
      </p:pic>
    </p:spTree>
    <p:extLst>
      <p:ext uri="{BB962C8B-B14F-4D97-AF65-F5344CB8AC3E}">
        <p14:creationId xmlns:p14="http://schemas.microsoft.com/office/powerpoint/2010/main" val="1013429161"/>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medical report&#10;&#10;Description automatically generated">
            <a:extLst>
              <a:ext uri="{FF2B5EF4-FFF2-40B4-BE49-F238E27FC236}">
                <a16:creationId xmlns:a16="http://schemas.microsoft.com/office/drawing/2014/main" id="{CDBA0F97-E9FA-8185-E89D-C72F39729EF2}"/>
              </a:ext>
            </a:extLst>
          </p:cNvPr>
          <p:cNvPicPr>
            <a:picLocks noChangeAspect="1"/>
          </p:cNvPicPr>
          <p:nvPr/>
        </p:nvPicPr>
        <p:blipFill>
          <a:blip r:embed="rId2"/>
          <a:stretch>
            <a:fillRect/>
          </a:stretch>
        </p:blipFill>
        <p:spPr>
          <a:xfrm>
            <a:off x="0" y="4582"/>
            <a:ext cx="7992541" cy="4475964"/>
          </a:xfrm>
          <a:prstGeom prst="rect">
            <a:avLst/>
          </a:prstGeom>
        </p:spPr>
      </p:pic>
    </p:spTree>
    <p:extLst>
      <p:ext uri="{BB962C8B-B14F-4D97-AF65-F5344CB8AC3E}">
        <p14:creationId xmlns:p14="http://schemas.microsoft.com/office/powerpoint/2010/main" val="521182126"/>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medical report&#10;&#10;Description automatically generated">
            <a:extLst>
              <a:ext uri="{FF2B5EF4-FFF2-40B4-BE49-F238E27FC236}">
                <a16:creationId xmlns:a16="http://schemas.microsoft.com/office/drawing/2014/main" id="{E8F4946A-C6F5-41C0-FBA0-6A716F960433}"/>
              </a:ext>
            </a:extLst>
          </p:cNvPr>
          <p:cNvPicPr>
            <a:picLocks noChangeAspect="1"/>
          </p:cNvPicPr>
          <p:nvPr/>
        </p:nvPicPr>
        <p:blipFill>
          <a:blip r:embed="rId2"/>
          <a:stretch>
            <a:fillRect/>
          </a:stretch>
        </p:blipFill>
        <p:spPr>
          <a:xfrm>
            <a:off x="3546" y="0"/>
            <a:ext cx="7856052" cy="4431162"/>
          </a:xfrm>
          <a:prstGeom prst="rect">
            <a:avLst/>
          </a:prstGeom>
        </p:spPr>
      </p:pic>
    </p:spTree>
    <p:extLst>
      <p:ext uri="{BB962C8B-B14F-4D97-AF65-F5344CB8AC3E}">
        <p14:creationId xmlns:p14="http://schemas.microsoft.com/office/powerpoint/2010/main" val="2285651390"/>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 shot of a graph&#10;&#10;Description automatically generated">
            <a:extLst>
              <a:ext uri="{FF2B5EF4-FFF2-40B4-BE49-F238E27FC236}">
                <a16:creationId xmlns:a16="http://schemas.microsoft.com/office/drawing/2014/main" id="{934A9B67-8D63-3100-C976-B65EC153B2D4}"/>
              </a:ext>
            </a:extLst>
          </p:cNvPr>
          <p:cNvPicPr>
            <a:picLocks noChangeAspect="1"/>
          </p:cNvPicPr>
          <p:nvPr/>
        </p:nvPicPr>
        <p:blipFill>
          <a:blip r:embed="rId2"/>
          <a:stretch>
            <a:fillRect/>
          </a:stretch>
        </p:blipFill>
        <p:spPr>
          <a:xfrm>
            <a:off x="0" y="4780"/>
            <a:ext cx="7884711" cy="4432395"/>
          </a:xfrm>
          <a:prstGeom prst="rect">
            <a:avLst/>
          </a:prstGeom>
        </p:spPr>
      </p:pic>
    </p:spTree>
    <p:extLst>
      <p:ext uri="{BB962C8B-B14F-4D97-AF65-F5344CB8AC3E}">
        <p14:creationId xmlns:p14="http://schemas.microsoft.com/office/powerpoint/2010/main" val="165819427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medical survey&#10;&#10;Description automatically generated">
            <a:extLst>
              <a:ext uri="{FF2B5EF4-FFF2-40B4-BE49-F238E27FC236}">
                <a16:creationId xmlns:a16="http://schemas.microsoft.com/office/drawing/2014/main" id="{9064CD1E-A16B-07FC-7B5D-F166DF270B58}"/>
              </a:ext>
            </a:extLst>
          </p:cNvPr>
          <p:cNvPicPr>
            <a:picLocks noChangeAspect="1"/>
          </p:cNvPicPr>
          <p:nvPr/>
        </p:nvPicPr>
        <p:blipFill>
          <a:blip r:embed="rId2"/>
          <a:stretch>
            <a:fillRect/>
          </a:stretch>
        </p:blipFill>
        <p:spPr>
          <a:xfrm>
            <a:off x="0" y="96907"/>
            <a:ext cx="7981758" cy="4323693"/>
          </a:xfrm>
          <a:prstGeom prst="rect">
            <a:avLst/>
          </a:prstGeom>
        </p:spPr>
      </p:pic>
    </p:spTree>
    <p:extLst>
      <p:ext uri="{BB962C8B-B14F-4D97-AF65-F5344CB8AC3E}">
        <p14:creationId xmlns:p14="http://schemas.microsoft.com/office/powerpoint/2010/main" val="3868598675"/>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medical report&#10;&#10;Description automatically generated">
            <a:extLst>
              <a:ext uri="{FF2B5EF4-FFF2-40B4-BE49-F238E27FC236}">
                <a16:creationId xmlns:a16="http://schemas.microsoft.com/office/drawing/2014/main" id="{9FA6D6DF-A147-5C0E-261F-7E775CCFB47D}"/>
              </a:ext>
            </a:extLst>
          </p:cNvPr>
          <p:cNvPicPr>
            <a:picLocks noChangeAspect="1"/>
          </p:cNvPicPr>
          <p:nvPr/>
        </p:nvPicPr>
        <p:blipFill>
          <a:blip r:embed="rId2"/>
          <a:stretch>
            <a:fillRect/>
          </a:stretch>
        </p:blipFill>
        <p:spPr>
          <a:xfrm>
            <a:off x="0" y="128152"/>
            <a:ext cx="9135541" cy="4067687"/>
          </a:xfrm>
          <a:prstGeom prst="rect">
            <a:avLst/>
          </a:prstGeom>
        </p:spPr>
      </p:pic>
    </p:spTree>
    <p:extLst>
      <p:ext uri="{BB962C8B-B14F-4D97-AF65-F5344CB8AC3E}">
        <p14:creationId xmlns:p14="http://schemas.microsoft.com/office/powerpoint/2010/main" val="4923227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84839AE-B63F-E13B-BD12-3FF3E0B5D628}"/>
              </a:ext>
            </a:extLst>
          </p:cNvPr>
          <p:cNvPicPr>
            <a:picLocks noChangeAspect="1"/>
          </p:cNvPicPr>
          <p:nvPr/>
        </p:nvPicPr>
        <p:blipFill rotWithShape="1">
          <a:blip r:embed="rId2"/>
          <a:srcRect l="13592" t="12598" r="10423" b="8904"/>
          <a:stretch/>
        </p:blipFill>
        <p:spPr>
          <a:xfrm>
            <a:off x="103030" y="133312"/>
            <a:ext cx="7051184" cy="4097398"/>
          </a:xfrm>
          <a:prstGeom prst="rect">
            <a:avLst/>
          </a:prstGeom>
        </p:spPr>
      </p:pic>
    </p:spTree>
    <p:extLst>
      <p:ext uri="{BB962C8B-B14F-4D97-AF65-F5344CB8AC3E}">
        <p14:creationId xmlns:p14="http://schemas.microsoft.com/office/powerpoint/2010/main" val="3226291250"/>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diagram&#10;&#10;Description automatically generated">
            <a:extLst>
              <a:ext uri="{FF2B5EF4-FFF2-40B4-BE49-F238E27FC236}">
                <a16:creationId xmlns:a16="http://schemas.microsoft.com/office/drawing/2014/main" id="{FBFFD8EF-5197-B123-4F15-F38254FBAEBA}"/>
              </a:ext>
            </a:extLst>
          </p:cNvPr>
          <p:cNvPicPr>
            <a:picLocks noChangeAspect="1"/>
          </p:cNvPicPr>
          <p:nvPr/>
        </p:nvPicPr>
        <p:blipFill>
          <a:blip r:embed="rId3"/>
          <a:stretch>
            <a:fillRect/>
          </a:stretch>
        </p:blipFill>
        <p:spPr>
          <a:xfrm>
            <a:off x="0" y="2397"/>
            <a:ext cx="7927843" cy="3735617"/>
          </a:xfrm>
          <a:prstGeom prst="rect">
            <a:avLst/>
          </a:prstGeom>
        </p:spPr>
      </p:pic>
      <p:sp>
        <p:nvSpPr>
          <p:cNvPr id="6" name="TextBox 5">
            <a:extLst>
              <a:ext uri="{FF2B5EF4-FFF2-40B4-BE49-F238E27FC236}">
                <a16:creationId xmlns:a16="http://schemas.microsoft.com/office/drawing/2014/main" id="{11E4135D-1B8C-30E4-C3D9-A0BD311DE74D}"/>
              </a:ext>
            </a:extLst>
          </p:cNvPr>
          <p:cNvSpPr txBox="1"/>
          <p:nvPr/>
        </p:nvSpPr>
        <p:spPr>
          <a:xfrm>
            <a:off x="5183229" y="3602830"/>
            <a:ext cx="2743200" cy="261610"/>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charset="0"/>
                <a:ea typeface="ＭＳ Ｐゴシック" charset="0"/>
              </a:rPr>
              <a:t>Hillmen P, et al. ASH 2023. Abstract 631</a:t>
            </a:r>
          </a:p>
        </p:txBody>
      </p:sp>
    </p:spTree>
    <p:extLst>
      <p:ext uri="{BB962C8B-B14F-4D97-AF65-F5344CB8AC3E}">
        <p14:creationId xmlns:p14="http://schemas.microsoft.com/office/powerpoint/2010/main" val="590615077"/>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68DBA7A-BBBF-BD9B-9ABD-D42A68AC28B6}"/>
              </a:ext>
            </a:extLst>
          </p:cNvPr>
          <p:cNvPicPr>
            <a:picLocks noChangeAspect="1"/>
          </p:cNvPicPr>
          <p:nvPr/>
        </p:nvPicPr>
        <p:blipFill>
          <a:blip r:embed="rId2"/>
          <a:stretch>
            <a:fillRect/>
          </a:stretch>
        </p:blipFill>
        <p:spPr>
          <a:xfrm>
            <a:off x="0" y="214342"/>
            <a:ext cx="7992541" cy="3657562"/>
          </a:xfrm>
          <a:prstGeom prst="rect">
            <a:avLst/>
          </a:prstGeom>
        </p:spPr>
      </p:pic>
      <p:pic>
        <p:nvPicPr>
          <p:cNvPr id="4" name="Picture 3" descr="A close up of text&#10;&#10;Description automatically generated">
            <a:extLst>
              <a:ext uri="{FF2B5EF4-FFF2-40B4-BE49-F238E27FC236}">
                <a16:creationId xmlns:a16="http://schemas.microsoft.com/office/drawing/2014/main" id="{48E889B5-6E01-D249-4A04-18E0992E2AD1}"/>
              </a:ext>
            </a:extLst>
          </p:cNvPr>
          <p:cNvPicPr>
            <a:picLocks noChangeAspect="1"/>
          </p:cNvPicPr>
          <p:nvPr/>
        </p:nvPicPr>
        <p:blipFill>
          <a:blip r:embed="rId3"/>
          <a:stretch>
            <a:fillRect/>
          </a:stretch>
        </p:blipFill>
        <p:spPr>
          <a:xfrm>
            <a:off x="-898" y="3873349"/>
            <a:ext cx="3405619" cy="480703"/>
          </a:xfrm>
          <a:prstGeom prst="rect">
            <a:avLst/>
          </a:prstGeom>
        </p:spPr>
      </p:pic>
    </p:spTree>
    <p:extLst>
      <p:ext uri="{BB962C8B-B14F-4D97-AF65-F5344CB8AC3E}">
        <p14:creationId xmlns:p14="http://schemas.microsoft.com/office/powerpoint/2010/main" val="1874402042"/>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medical report&#10;&#10;Description automatically generated">
            <a:extLst>
              <a:ext uri="{FF2B5EF4-FFF2-40B4-BE49-F238E27FC236}">
                <a16:creationId xmlns:a16="http://schemas.microsoft.com/office/drawing/2014/main" id="{60659EF3-0239-344E-E218-14458522ED93}"/>
              </a:ext>
            </a:extLst>
          </p:cNvPr>
          <p:cNvPicPr>
            <a:picLocks noChangeAspect="1"/>
          </p:cNvPicPr>
          <p:nvPr/>
        </p:nvPicPr>
        <p:blipFill>
          <a:blip r:embed="rId3"/>
          <a:stretch>
            <a:fillRect/>
          </a:stretch>
        </p:blipFill>
        <p:spPr>
          <a:xfrm>
            <a:off x="204977" y="685662"/>
            <a:ext cx="6840328" cy="3417413"/>
          </a:xfrm>
          <a:prstGeom prst="rect">
            <a:avLst/>
          </a:prstGeom>
        </p:spPr>
      </p:pic>
      <p:pic>
        <p:nvPicPr>
          <p:cNvPr id="4" name="Picture 3" descr="A close up of a sign&#10;&#10;Description automatically generated">
            <a:extLst>
              <a:ext uri="{FF2B5EF4-FFF2-40B4-BE49-F238E27FC236}">
                <a16:creationId xmlns:a16="http://schemas.microsoft.com/office/drawing/2014/main" id="{7BEEC819-A016-5677-7643-A0772D67629F}"/>
              </a:ext>
            </a:extLst>
          </p:cNvPr>
          <p:cNvPicPr>
            <a:picLocks noChangeAspect="1"/>
          </p:cNvPicPr>
          <p:nvPr/>
        </p:nvPicPr>
        <p:blipFill>
          <a:blip r:embed="rId4"/>
          <a:stretch>
            <a:fillRect/>
          </a:stretch>
        </p:blipFill>
        <p:spPr>
          <a:xfrm>
            <a:off x="0" y="-27253"/>
            <a:ext cx="9135541" cy="712269"/>
          </a:xfrm>
          <a:prstGeom prst="rect">
            <a:avLst/>
          </a:prstGeom>
        </p:spPr>
      </p:pic>
      <p:sp>
        <p:nvSpPr>
          <p:cNvPr id="5" name="TextBox 4">
            <a:extLst>
              <a:ext uri="{FF2B5EF4-FFF2-40B4-BE49-F238E27FC236}">
                <a16:creationId xmlns:a16="http://schemas.microsoft.com/office/drawing/2014/main" id="{1B294F71-D114-A04F-6D23-0E8E24598D43}"/>
              </a:ext>
            </a:extLst>
          </p:cNvPr>
          <p:cNvSpPr txBox="1"/>
          <p:nvPr/>
        </p:nvSpPr>
        <p:spPr>
          <a:xfrm>
            <a:off x="2961" y="4101595"/>
            <a:ext cx="2743200"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charset="0"/>
                <a:ea typeface="ＭＳ Ｐゴシック" charset="0"/>
              </a:rPr>
              <a:t>Hillmen P, et al. ASH 2023. Abstract 631</a:t>
            </a:r>
          </a:p>
        </p:txBody>
      </p:sp>
    </p:spTree>
    <p:extLst>
      <p:ext uri="{BB962C8B-B14F-4D97-AF65-F5344CB8AC3E}">
        <p14:creationId xmlns:p14="http://schemas.microsoft.com/office/powerpoint/2010/main" val="213786283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aph of a number of events&#10;&#10;Description automatically generated">
            <a:extLst>
              <a:ext uri="{FF2B5EF4-FFF2-40B4-BE49-F238E27FC236}">
                <a16:creationId xmlns:a16="http://schemas.microsoft.com/office/drawing/2014/main" id="{2889E381-D8BC-BC67-B0F6-6565F67C90BA}"/>
              </a:ext>
            </a:extLst>
          </p:cNvPr>
          <p:cNvPicPr>
            <a:picLocks noChangeAspect="1"/>
          </p:cNvPicPr>
          <p:nvPr/>
        </p:nvPicPr>
        <p:blipFill>
          <a:blip r:embed="rId2"/>
          <a:stretch>
            <a:fillRect/>
          </a:stretch>
        </p:blipFill>
        <p:spPr>
          <a:xfrm>
            <a:off x="1338535" y="75481"/>
            <a:ext cx="5670651" cy="4074993"/>
          </a:xfrm>
          <a:prstGeom prst="rect">
            <a:avLst/>
          </a:prstGeom>
        </p:spPr>
      </p:pic>
      <p:sp>
        <p:nvSpPr>
          <p:cNvPr id="5" name="TextBox 4">
            <a:extLst>
              <a:ext uri="{FF2B5EF4-FFF2-40B4-BE49-F238E27FC236}">
                <a16:creationId xmlns:a16="http://schemas.microsoft.com/office/drawing/2014/main" id="{2109CBB3-F8D5-CF66-66AD-CA0FBEBEDE6C}"/>
              </a:ext>
            </a:extLst>
          </p:cNvPr>
          <p:cNvSpPr txBox="1"/>
          <p:nvPr/>
        </p:nvSpPr>
        <p:spPr>
          <a:xfrm>
            <a:off x="1036" y="4148370"/>
            <a:ext cx="4252821"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ＭＳ Ｐゴシック"/>
                <a:cs typeface="Arial"/>
              </a:rPr>
              <a:t>Hillmen P, et al. ASH 2023. Abstract 631</a:t>
            </a:r>
            <a:endParaRPr kumimoji="0" lang="en-US" sz="1100" b="0" i="0" u="none" strike="noStrike" kern="1200" cap="none" spc="0" normalizeH="0" baseline="0" noProof="0" dirty="0">
              <a:ln>
                <a:noFill/>
              </a:ln>
              <a:solidFill>
                <a:srgbClr val="000000"/>
              </a:solidFill>
              <a:effectLst/>
              <a:uLnTx/>
              <a:uFillTx/>
              <a:latin typeface="Arial" charset="0"/>
              <a:ea typeface="ＭＳ Ｐゴシック" charset="0"/>
            </a:endParaRPr>
          </a:p>
        </p:txBody>
      </p:sp>
    </p:spTree>
    <p:extLst>
      <p:ext uri="{BB962C8B-B14F-4D97-AF65-F5344CB8AC3E}">
        <p14:creationId xmlns:p14="http://schemas.microsoft.com/office/powerpoint/2010/main" val="3279130244"/>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aph with numbers and symbols&#10;&#10;Description automatically generated">
            <a:extLst>
              <a:ext uri="{FF2B5EF4-FFF2-40B4-BE49-F238E27FC236}">
                <a16:creationId xmlns:a16="http://schemas.microsoft.com/office/drawing/2014/main" id="{F04F1F6C-A213-38A8-7958-D253D165A8F5}"/>
              </a:ext>
            </a:extLst>
          </p:cNvPr>
          <p:cNvPicPr>
            <a:picLocks noChangeAspect="1"/>
          </p:cNvPicPr>
          <p:nvPr/>
        </p:nvPicPr>
        <p:blipFill>
          <a:blip r:embed="rId3"/>
          <a:stretch>
            <a:fillRect/>
          </a:stretch>
        </p:blipFill>
        <p:spPr>
          <a:xfrm>
            <a:off x="589562" y="135082"/>
            <a:ext cx="5811905" cy="4290853"/>
          </a:xfrm>
          <a:prstGeom prst="rect">
            <a:avLst/>
          </a:prstGeom>
        </p:spPr>
      </p:pic>
      <p:sp>
        <p:nvSpPr>
          <p:cNvPr id="4" name="TextBox 3">
            <a:extLst>
              <a:ext uri="{FF2B5EF4-FFF2-40B4-BE49-F238E27FC236}">
                <a16:creationId xmlns:a16="http://schemas.microsoft.com/office/drawing/2014/main" id="{CDADB5DA-D599-1C12-7AE2-83576B38F0A1}"/>
              </a:ext>
            </a:extLst>
          </p:cNvPr>
          <p:cNvSpPr txBox="1"/>
          <p:nvPr/>
        </p:nvSpPr>
        <p:spPr>
          <a:xfrm>
            <a:off x="6397840" y="4153549"/>
            <a:ext cx="2743200"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charset="0"/>
                <a:ea typeface="ＭＳ Ｐゴシック" charset="0"/>
              </a:rPr>
              <a:t>Hillmen P, et al. ASH 2023. Abstract 631</a:t>
            </a:r>
          </a:p>
        </p:txBody>
      </p:sp>
      <p:sp>
        <p:nvSpPr>
          <p:cNvPr id="5" name="TextBox 4">
            <a:extLst>
              <a:ext uri="{FF2B5EF4-FFF2-40B4-BE49-F238E27FC236}">
                <a16:creationId xmlns:a16="http://schemas.microsoft.com/office/drawing/2014/main" id="{ED0BF0A8-41ED-631D-A1AD-8BFC08746FDD}"/>
              </a:ext>
            </a:extLst>
          </p:cNvPr>
          <p:cNvSpPr txBox="1"/>
          <p:nvPr/>
        </p:nvSpPr>
        <p:spPr>
          <a:xfrm>
            <a:off x="6572250" y="658466"/>
            <a:ext cx="2472358" cy="289310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ＭＳ Ｐゴシック"/>
              </a:rPr>
              <a:t>*MRD negativity deepened over time in I+V</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ＭＳ Ｐゴシック"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Arial"/>
                <a:ea typeface="ＭＳ Ｐゴシック"/>
              </a:rPr>
              <a:t>Odds of MRD- I+V vs FCR at any time:</a:t>
            </a:r>
            <a:endParaRPr kumimoji="0" lang="en-US" sz="1400" b="1" i="0" u="sng" strike="noStrike" kern="1200" cap="none" spc="0" normalizeH="0" baseline="0" noProof="0" dirty="0">
              <a:ln>
                <a:noFill/>
              </a:ln>
              <a:solidFill>
                <a:srgbClr val="000000"/>
              </a:solidFill>
              <a:effectLst/>
              <a:uLnTx/>
              <a:uFillTx/>
              <a:latin typeface="Arial" charset="0"/>
              <a:ea typeface="ＭＳ Ｐゴシック"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Calibri"/>
                <a:cs typeface="Calibri"/>
              </a:rPr>
              <a:t>2.03 (95% CI: [1.43, 2.89]; P&lt;0.001) in BM and 3.91 (95% CI: [2.55, 6.00]; P&lt;0.001) in PB</a:t>
            </a:r>
            <a:endParaRPr kumimoji="0" lang="en-US" sz="2400" b="0" i="0" u="none" strike="noStrike" kern="1200" cap="none" spc="0" normalizeH="0" baseline="0" noProof="0" dirty="0">
              <a:ln>
                <a:noFill/>
              </a:ln>
              <a:solidFill>
                <a:srgbClr val="000000"/>
              </a:solidFill>
              <a:effectLst/>
              <a:uLnTx/>
              <a:uFillTx/>
              <a:latin typeface="Arial" charset="0"/>
              <a:ea typeface="ＭＳ Ｐゴシック"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a:ea typeface="Calibri"/>
              <a:cs typeface="Calibri"/>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Calibri"/>
                <a:cs typeface="Calibri"/>
              </a:rPr>
              <a:t>90.6% of pts achieved PB MRD- at up to 5 </a:t>
            </a:r>
            <a:r>
              <a:rPr kumimoji="0" lang="en-US" sz="1200" b="0" i="0" u="none" strike="noStrike" kern="1200" cap="none" spc="0" normalizeH="0" baseline="0" noProof="0" dirty="0" err="1">
                <a:ln>
                  <a:noFill/>
                </a:ln>
                <a:solidFill>
                  <a:srgbClr val="000000"/>
                </a:solidFill>
                <a:effectLst/>
                <a:uLnTx/>
                <a:uFillTx/>
                <a:latin typeface="Calibri"/>
                <a:ea typeface="Calibri"/>
                <a:cs typeface="Calibri"/>
              </a:rPr>
              <a:t>yrs</a:t>
            </a:r>
            <a:r>
              <a:rPr kumimoji="0" lang="en-US" sz="1200" b="0" i="0" u="none" strike="noStrike" kern="1200" cap="none" spc="0" normalizeH="0" baseline="0" noProof="0" dirty="0">
                <a:ln>
                  <a:noFill/>
                </a:ln>
                <a:solidFill>
                  <a:srgbClr val="000000"/>
                </a:solidFill>
                <a:effectLst/>
                <a:uLnTx/>
                <a:uFillTx/>
                <a:latin typeface="Calibri"/>
                <a:ea typeface="Calibri"/>
                <a:cs typeface="Calibri"/>
              </a:rPr>
              <a:t> I+V, 88% were BM MRD- 6 months after first PB MRD-</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1" i="0" u="sng" strike="noStrike" kern="1200" cap="none" spc="0" normalizeH="0" baseline="0" noProof="0" dirty="0">
              <a:ln>
                <a:noFill/>
              </a:ln>
              <a:solidFill>
                <a:srgbClr val="000000"/>
              </a:solidFill>
              <a:effectLst/>
              <a:uLnTx/>
              <a:uFillTx/>
              <a:latin typeface="Arial" charset="0"/>
              <a:ea typeface="ＭＳ Ｐゴシック"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ＭＳ Ｐゴシック" charset="0"/>
            </a:endParaRPr>
          </a:p>
        </p:txBody>
      </p:sp>
    </p:spTree>
    <p:extLst>
      <p:ext uri="{BB962C8B-B14F-4D97-AF65-F5344CB8AC3E}">
        <p14:creationId xmlns:p14="http://schemas.microsoft.com/office/powerpoint/2010/main" val="3913347117"/>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graph&#10;&#10;Description automatically generated">
            <a:extLst>
              <a:ext uri="{FF2B5EF4-FFF2-40B4-BE49-F238E27FC236}">
                <a16:creationId xmlns:a16="http://schemas.microsoft.com/office/drawing/2014/main" id="{2384796F-6E6C-DF52-1BD9-7B81E51C2540}"/>
              </a:ext>
            </a:extLst>
          </p:cNvPr>
          <p:cNvPicPr>
            <a:picLocks noChangeAspect="1"/>
          </p:cNvPicPr>
          <p:nvPr/>
        </p:nvPicPr>
        <p:blipFill>
          <a:blip r:embed="rId2"/>
          <a:stretch>
            <a:fillRect/>
          </a:stretch>
        </p:blipFill>
        <p:spPr>
          <a:xfrm>
            <a:off x="150823" y="142320"/>
            <a:ext cx="7701400" cy="3661495"/>
          </a:xfrm>
          <a:prstGeom prst="rect">
            <a:avLst/>
          </a:prstGeom>
        </p:spPr>
      </p:pic>
      <p:sp>
        <p:nvSpPr>
          <p:cNvPr id="5" name="TextBox 4">
            <a:extLst>
              <a:ext uri="{FF2B5EF4-FFF2-40B4-BE49-F238E27FC236}">
                <a16:creationId xmlns:a16="http://schemas.microsoft.com/office/drawing/2014/main" id="{4944F1B6-EAE4-5E92-DE44-F0E2DD995549}"/>
              </a:ext>
            </a:extLst>
          </p:cNvPr>
          <p:cNvSpPr txBox="1"/>
          <p:nvPr/>
        </p:nvSpPr>
        <p:spPr>
          <a:xfrm>
            <a:off x="5992970" y="3540485"/>
            <a:ext cx="2743200" cy="261610"/>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charset="0"/>
                <a:ea typeface="ＭＳ Ｐゴシック" charset="0"/>
              </a:rPr>
              <a:t>Hillmen P, et al. ASH 2023. Abstract 631</a:t>
            </a:r>
          </a:p>
        </p:txBody>
      </p:sp>
    </p:spTree>
    <p:extLst>
      <p:ext uri="{BB962C8B-B14F-4D97-AF65-F5344CB8AC3E}">
        <p14:creationId xmlns:p14="http://schemas.microsoft.com/office/powerpoint/2010/main" val="2705550771"/>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10D00FE-7FA1-2F6B-B807-BB3E8BCDC985}"/>
              </a:ext>
            </a:extLst>
          </p:cNvPr>
          <p:cNvSpPr>
            <a:spLocks noGrp="1"/>
          </p:cNvSpPr>
          <p:nvPr>
            <p:ph idx="1"/>
          </p:nvPr>
        </p:nvSpPr>
        <p:spPr>
          <a:xfrm>
            <a:off x="353598" y="938068"/>
            <a:ext cx="8136081" cy="3459293"/>
          </a:xfrm>
        </p:spPr>
        <p:txBody>
          <a:bodyPr/>
          <a:lstStyle/>
          <a:p>
            <a:r>
              <a:rPr lang="en-US" sz="2000" dirty="0"/>
              <a:t>I+V significantly improved CR/</a:t>
            </a:r>
            <a:r>
              <a:rPr lang="en-US" sz="2000" dirty="0" err="1"/>
              <a:t>CRi</a:t>
            </a:r>
            <a:r>
              <a:rPr lang="en-US" sz="2000" dirty="0"/>
              <a:t>, ORR, PFS, and OS when compared to FCR in TN CLL </a:t>
            </a:r>
          </a:p>
          <a:p>
            <a:pPr marL="0" indent="0">
              <a:buNone/>
            </a:pPr>
            <a:r>
              <a:rPr lang="en-US" sz="2000" dirty="0"/>
              <a:t> --&gt; PFS 97.2% in I+V at 3 years</a:t>
            </a:r>
          </a:p>
          <a:p>
            <a:endParaRPr lang="en-US" sz="2000" dirty="0"/>
          </a:p>
          <a:p>
            <a:r>
              <a:rPr lang="en-US" sz="2000" dirty="0"/>
              <a:t>Higher rates of MRD negativity were seen with I+V and MRD negativity rates deepened over time</a:t>
            </a:r>
          </a:p>
          <a:p>
            <a:endParaRPr lang="en-US" sz="2000" dirty="0"/>
          </a:p>
          <a:p>
            <a:r>
              <a:rPr lang="en-US" sz="2000" dirty="0"/>
              <a:t>I+V was well tolerated with no unexpected AEs</a:t>
            </a:r>
          </a:p>
        </p:txBody>
      </p:sp>
      <p:sp>
        <p:nvSpPr>
          <p:cNvPr id="5" name="TextBox 4">
            <a:extLst>
              <a:ext uri="{FF2B5EF4-FFF2-40B4-BE49-F238E27FC236}">
                <a16:creationId xmlns:a16="http://schemas.microsoft.com/office/drawing/2014/main" id="{F1F7EAEC-716C-6010-A179-CF5F3AF0C2C0}"/>
              </a:ext>
            </a:extLst>
          </p:cNvPr>
          <p:cNvSpPr txBox="1"/>
          <p:nvPr/>
        </p:nvSpPr>
        <p:spPr>
          <a:xfrm>
            <a:off x="384463" y="51954"/>
            <a:ext cx="7980218"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a:ea typeface="ＭＳ Ｐゴシック"/>
              </a:rPr>
              <a:t>Conclusions – NCRI FLAIR Study</a:t>
            </a:r>
            <a:endParaRPr kumimoji="0" lang="en-US" sz="3200" b="1" i="0" u="none" strike="noStrike" kern="1200" cap="none" spc="0" normalizeH="0" baseline="0" noProof="0" dirty="0">
              <a:ln>
                <a:noFill/>
              </a:ln>
              <a:solidFill>
                <a:srgbClr val="000000"/>
              </a:solidFill>
              <a:effectLst/>
              <a:uLnTx/>
              <a:uFillTx/>
              <a:latin typeface="Arial" charset="0"/>
              <a:ea typeface="ＭＳ Ｐゴシック" charset="0"/>
            </a:endParaRPr>
          </a:p>
        </p:txBody>
      </p:sp>
    </p:spTree>
    <p:extLst>
      <p:ext uri="{BB962C8B-B14F-4D97-AF65-F5344CB8AC3E}">
        <p14:creationId xmlns:p14="http://schemas.microsoft.com/office/powerpoint/2010/main" val="4056211137"/>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10D00FE-7FA1-2F6B-B807-BB3E8BCDC985}"/>
              </a:ext>
            </a:extLst>
          </p:cNvPr>
          <p:cNvSpPr>
            <a:spLocks noGrp="1"/>
          </p:cNvSpPr>
          <p:nvPr>
            <p:ph idx="1"/>
          </p:nvPr>
        </p:nvSpPr>
        <p:spPr>
          <a:xfrm>
            <a:off x="218592" y="878998"/>
            <a:ext cx="7419109" cy="3209681"/>
          </a:xfrm>
        </p:spPr>
        <p:txBody>
          <a:bodyPr/>
          <a:lstStyle/>
          <a:p>
            <a:pPr marL="0" indent="0">
              <a:buNone/>
            </a:pPr>
            <a:r>
              <a:rPr lang="en-US" dirty="0"/>
              <a:t>Should we be using V+O upfront or BTKi? </a:t>
            </a:r>
          </a:p>
          <a:p>
            <a:pPr marL="0" indent="0">
              <a:buNone/>
            </a:pPr>
            <a:endParaRPr lang="en-US" dirty="0"/>
          </a:p>
          <a:p>
            <a:pPr marL="0" indent="0">
              <a:buNone/>
            </a:pPr>
            <a:r>
              <a:rPr lang="en-US" dirty="0"/>
              <a:t>Which BTKi is the best choice upfront?</a:t>
            </a:r>
          </a:p>
          <a:p>
            <a:pPr marL="0" indent="0">
              <a:buNone/>
            </a:pPr>
            <a:endParaRPr lang="en-US" dirty="0"/>
          </a:p>
          <a:p>
            <a:pPr marL="0" indent="0">
              <a:buNone/>
            </a:pPr>
            <a:r>
              <a:rPr lang="en-US" dirty="0"/>
              <a:t>When should we consider I+V?</a:t>
            </a:r>
          </a:p>
          <a:p>
            <a:pPr marL="0" indent="0">
              <a:buNone/>
            </a:pPr>
            <a:endParaRPr lang="en-US" dirty="0"/>
          </a:p>
          <a:p>
            <a:pPr marL="0" indent="0">
              <a:buNone/>
            </a:pPr>
            <a:r>
              <a:rPr lang="en-US" dirty="0"/>
              <a:t>How should we incorporate MRD testing into clinical practice?</a:t>
            </a:r>
          </a:p>
        </p:txBody>
      </p:sp>
      <p:sp>
        <p:nvSpPr>
          <p:cNvPr id="3" name="TextBox 2">
            <a:extLst>
              <a:ext uri="{FF2B5EF4-FFF2-40B4-BE49-F238E27FC236}">
                <a16:creationId xmlns:a16="http://schemas.microsoft.com/office/drawing/2014/main" id="{D1EFDE30-BCA6-BD89-4D5B-A571078F2C76}"/>
              </a:ext>
            </a:extLst>
          </p:cNvPr>
          <p:cNvSpPr txBox="1"/>
          <p:nvPr/>
        </p:nvSpPr>
        <p:spPr>
          <a:xfrm>
            <a:off x="1811017" y="150111"/>
            <a:ext cx="5525217"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a:ea typeface="ＭＳ Ｐゴシック"/>
              </a:rPr>
              <a:t>Remaining Questions</a:t>
            </a:r>
            <a:endParaRPr kumimoji="0" lang="en-US" sz="3200" b="1" i="0" u="none" strike="noStrike" kern="1200" cap="none" spc="0" normalizeH="0" baseline="0" noProof="0" dirty="0">
              <a:ln>
                <a:noFill/>
              </a:ln>
              <a:solidFill>
                <a:srgbClr val="000000"/>
              </a:solidFill>
              <a:effectLst/>
              <a:uLnTx/>
              <a:uFillTx/>
              <a:latin typeface="Arial" charset="0"/>
              <a:ea typeface="ＭＳ Ｐゴシック" charset="0"/>
            </a:endParaRPr>
          </a:p>
        </p:txBody>
      </p:sp>
    </p:spTree>
    <p:extLst>
      <p:ext uri="{BB962C8B-B14F-4D97-AF65-F5344CB8AC3E}">
        <p14:creationId xmlns:p14="http://schemas.microsoft.com/office/powerpoint/2010/main" val="3182211827"/>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2BD125E-3C6C-5A49-485A-E20601430BB3}"/>
              </a:ext>
            </a:extLst>
          </p:cNvPr>
          <p:cNvSpPr>
            <a:spLocks noGrp="1"/>
          </p:cNvSpPr>
          <p:nvPr>
            <p:ph idx="1"/>
          </p:nvPr>
        </p:nvSpPr>
        <p:spPr>
          <a:xfrm>
            <a:off x="502489" y="153029"/>
            <a:ext cx="7955711" cy="4669091"/>
          </a:xfrm>
        </p:spPr>
        <p:txBody>
          <a:bodyPr/>
          <a:lstStyle/>
          <a:p>
            <a:pPr marL="0" indent="0">
              <a:buNone/>
            </a:pPr>
            <a:endParaRPr lang="en-US" sz="1400" b="1" dirty="0"/>
          </a:p>
          <a:p>
            <a:pPr marL="0" indent="0">
              <a:buNone/>
            </a:pPr>
            <a:r>
              <a:rPr lang="en-US" sz="1400" b="1" dirty="0"/>
              <a:t>Other TN CLL Abstracts:</a:t>
            </a:r>
          </a:p>
          <a:p>
            <a:pPr marL="0" indent="0">
              <a:buNone/>
            </a:pPr>
            <a:r>
              <a:rPr lang="en-US" sz="1200" dirty="0"/>
              <a:t>Phase II Study of I+V in older, high risk patients (Jain, et al.)</a:t>
            </a:r>
          </a:p>
          <a:p>
            <a:pPr marL="0" indent="0">
              <a:buNone/>
            </a:pPr>
            <a:endParaRPr lang="en-US" sz="1200" dirty="0"/>
          </a:p>
          <a:p>
            <a:pPr marL="0" indent="0">
              <a:buNone/>
            </a:pPr>
            <a:r>
              <a:rPr lang="en-US" sz="1200" dirty="0"/>
              <a:t>Phase I/II </a:t>
            </a:r>
            <a:r>
              <a:rPr lang="en-US" sz="1200" dirty="0" err="1"/>
              <a:t>Sonrotoclax</a:t>
            </a:r>
            <a:r>
              <a:rPr lang="en-US" sz="1200" dirty="0"/>
              <a:t> (BGB-11417), a 2nd generation Bcl2i + Zanubrutinib (Tam, et al.)</a:t>
            </a:r>
            <a:endParaRPr lang="en-US" dirty="0"/>
          </a:p>
          <a:p>
            <a:pPr marL="0" indent="0">
              <a:buNone/>
            </a:pPr>
            <a:endParaRPr lang="en-US" sz="1400" b="1" dirty="0"/>
          </a:p>
          <a:p>
            <a:pPr marL="0" indent="0">
              <a:buNone/>
            </a:pPr>
            <a:r>
              <a:rPr lang="en-US" sz="1400" b="1" dirty="0"/>
              <a:t>Relapsed/Refractory Updates:</a:t>
            </a:r>
            <a:endParaRPr lang="en-US" dirty="0"/>
          </a:p>
          <a:p>
            <a:pPr>
              <a:buNone/>
            </a:pPr>
            <a:r>
              <a:rPr lang="en-US" sz="1200" dirty="0">
                <a:ea typeface="+mn-lt"/>
                <a:cs typeface="+mn-lt"/>
              </a:rPr>
              <a:t>Extended Follow-Up of ALPINE Phase 3 Study of Zanubrutinib vs Ibrutinib for Patients With R/R CLL/SLL  (Brown JR, et al. ASH 2023. Abstract 202)</a:t>
            </a:r>
            <a:endParaRPr lang="en-US" sz="1200" dirty="0"/>
          </a:p>
          <a:p>
            <a:pPr>
              <a:buNone/>
            </a:pPr>
            <a:endParaRPr lang="en-US" sz="1200" dirty="0">
              <a:ea typeface="+mn-lt"/>
              <a:cs typeface="+mn-lt"/>
            </a:endParaRPr>
          </a:p>
          <a:p>
            <a:pPr>
              <a:buNone/>
            </a:pPr>
            <a:r>
              <a:rPr lang="en-US" sz="1200" dirty="0">
                <a:ea typeface="+mn-lt"/>
                <a:cs typeface="+mn-lt"/>
              </a:rPr>
              <a:t>Extended Follow-Up and Subgroup Analysis by BCL2i Experience From the BRUIN Phase 1/2 Study of </a:t>
            </a:r>
            <a:r>
              <a:rPr lang="en-US" sz="1200" err="1">
                <a:ea typeface="+mn-lt"/>
                <a:cs typeface="+mn-lt"/>
              </a:rPr>
              <a:t>Pirtobrutinib</a:t>
            </a:r>
            <a:r>
              <a:rPr lang="en-US" sz="1200" dirty="0">
                <a:ea typeface="+mn-lt"/>
                <a:cs typeface="+mn-lt"/>
              </a:rPr>
              <a:t> in Patients With R/R CLL/SLL (</a:t>
            </a:r>
            <a:r>
              <a:rPr lang="en-US" sz="1200" err="1">
                <a:ea typeface="+mn-lt"/>
                <a:cs typeface="+mn-lt"/>
              </a:rPr>
              <a:t>Woyach</a:t>
            </a:r>
            <a:r>
              <a:rPr lang="en-US" sz="1200" dirty="0">
                <a:ea typeface="+mn-lt"/>
                <a:cs typeface="+mn-lt"/>
              </a:rPr>
              <a:t> JA, et al. ASH 2023. Abstract 325)</a:t>
            </a:r>
            <a:endParaRPr lang="en-US" sz="1200"/>
          </a:p>
          <a:p>
            <a:pPr>
              <a:buNone/>
            </a:pPr>
            <a:endParaRPr lang="en-US" sz="1200" dirty="0">
              <a:ea typeface="+mn-lt"/>
              <a:cs typeface="+mn-lt"/>
            </a:endParaRPr>
          </a:p>
          <a:p>
            <a:pPr>
              <a:buNone/>
            </a:pPr>
            <a:r>
              <a:rPr lang="en-US" sz="1200" dirty="0">
                <a:ea typeface="+mn-lt"/>
                <a:cs typeface="+mn-lt"/>
              </a:rPr>
              <a:t>BRUIN Phase 1b Study of Fixed-Duration </a:t>
            </a:r>
            <a:r>
              <a:rPr lang="en-US" sz="1200" err="1">
                <a:ea typeface="+mn-lt"/>
                <a:cs typeface="+mn-lt"/>
              </a:rPr>
              <a:t>Pirtobrutinib</a:t>
            </a:r>
            <a:r>
              <a:rPr lang="en-US" sz="1200" dirty="0">
                <a:ea typeface="+mn-lt"/>
                <a:cs typeface="+mn-lt"/>
              </a:rPr>
              <a:t> + Ven ± R in Patients With R/R CLL </a:t>
            </a:r>
            <a:endParaRPr lang="en-US" sz="1200"/>
          </a:p>
          <a:p>
            <a:pPr>
              <a:buNone/>
            </a:pPr>
            <a:r>
              <a:rPr lang="en-US" sz="1200" dirty="0">
                <a:ea typeface="+mn-lt"/>
                <a:cs typeface="+mn-lt"/>
              </a:rPr>
              <a:t>(Roeker LE, et al. ASH 2023. Abstract 3269)</a:t>
            </a:r>
            <a:endParaRPr lang="en-US" sz="1200" dirty="0"/>
          </a:p>
          <a:p>
            <a:pPr>
              <a:buNone/>
            </a:pPr>
            <a:endParaRPr lang="en-US" sz="1200" dirty="0">
              <a:cs typeface="Arial"/>
            </a:endParaRPr>
          </a:p>
          <a:p>
            <a:pPr>
              <a:buNone/>
            </a:pPr>
            <a:r>
              <a:rPr lang="en-US" sz="1200" dirty="0">
                <a:cs typeface="Arial"/>
              </a:rPr>
              <a:t>Several abstracts looking at BTK degraders in R/R B cell malignancies (623, 626, 641)</a:t>
            </a:r>
          </a:p>
          <a:p>
            <a:pPr>
              <a:buNone/>
            </a:pPr>
            <a:endParaRPr lang="en-US" sz="1200" dirty="0">
              <a:cs typeface="Arial"/>
            </a:endParaRPr>
          </a:p>
          <a:p>
            <a:pPr>
              <a:buNone/>
            </a:pPr>
            <a:endParaRPr lang="en-US" sz="1200" dirty="0">
              <a:cs typeface="Arial"/>
            </a:endParaRPr>
          </a:p>
          <a:p>
            <a:pPr marL="0" indent="0">
              <a:buNone/>
            </a:pPr>
            <a:endParaRPr lang="en-US" sz="1400" dirty="0"/>
          </a:p>
        </p:txBody>
      </p:sp>
    </p:spTree>
    <p:extLst>
      <p:ext uri="{BB962C8B-B14F-4D97-AF65-F5344CB8AC3E}">
        <p14:creationId xmlns:p14="http://schemas.microsoft.com/office/powerpoint/2010/main" val="16284671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6D0A0E-3A1D-8656-ED32-2EB181FC3006}"/>
              </a:ext>
            </a:extLst>
          </p:cNvPr>
          <p:cNvSpPr/>
          <p:nvPr/>
        </p:nvSpPr>
        <p:spPr bwMode="auto">
          <a:xfrm>
            <a:off x="6980349" y="3902299"/>
            <a:ext cx="270457" cy="38636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6" name="Rectangle 5">
            <a:extLst>
              <a:ext uri="{FF2B5EF4-FFF2-40B4-BE49-F238E27FC236}">
                <a16:creationId xmlns:a16="http://schemas.microsoft.com/office/drawing/2014/main" id="{1D3869B3-BAF1-B2C1-BC79-C6EE4FE2A4AE}"/>
              </a:ext>
            </a:extLst>
          </p:cNvPr>
          <p:cNvSpPr/>
          <p:nvPr/>
        </p:nvSpPr>
        <p:spPr bwMode="auto">
          <a:xfrm>
            <a:off x="7115577" y="3902299"/>
            <a:ext cx="270457" cy="33485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7" name="Rectangle 6">
            <a:extLst>
              <a:ext uri="{FF2B5EF4-FFF2-40B4-BE49-F238E27FC236}">
                <a16:creationId xmlns:a16="http://schemas.microsoft.com/office/drawing/2014/main" id="{387187E8-517D-2125-2258-AA6EB995EF04}"/>
              </a:ext>
            </a:extLst>
          </p:cNvPr>
          <p:cNvSpPr/>
          <p:nvPr/>
        </p:nvSpPr>
        <p:spPr bwMode="auto">
          <a:xfrm>
            <a:off x="7199291" y="3902299"/>
            <a:ext cx="270457" cy="33485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pic>
        <p:nvPicPr>
          <p:cNvPr id="4" name="Picture 3">
            <a:extLst>
              <a:ext uri="{FF2B5EF4-FFF2-40B4-BE49-F238E27FC236}">
                <a16:creationId xmlns:a16="http://schemas.microsoft.com/office/drawing/2014/main" id="{580BF665-8A28-B54F-24CC-03C00E943D99}"/>
              </a:ext>
            </a:extLst>
          </p:cNvPr>
          <p:cNvPicPr>
            <a:picLocks noChangeAspect="1"/>
          </p:cNvPicPr>
          <p:nvPr/>
        </p:nvPicPr>
        <p:blipFill>
          <a:blip r:embed="rId2"/>
          <a:stretch>
            <a:fillRect/>
          </a:stretch>
        </p:blipFill>
        <p:spPr>
          <a:xfrm>
            <a:off x="0" y="184660"/>
            <a:ext cx="7469748" cy="877306"/>
          </a:xfrm>
          <a:prstGeom prst="rect">
            <a:avLst/>
          </a:prstGeom>
        </p:spPr>
      </p:pic>
      <p:pic>
        <p:nvPicPr>
          <p:cNvPr id="11" name="Picture 10">
            <a:extLst>
              <a:ext uri="{FF2B5EF4-FFF2-40B4-BE49-F238E27FC236}">
                <a16:creationId xmlns:a16="http://schemas.microsoft.com/office/drawing/2014/main" id="{E7A521F3-1383-45B9-43C1-9667F3639843}"/>
              </a:ext>
            </a:extLst>
          </p:cNvPr>
          <p:cNvPicPr>
            <a:picLocks noChangeAspect="1"/>
          </p:cNvPicPr>
          <p:nvPr/>
        </p:nvPicPr>
        <p:blipFill>
          <a:blip r:embed="rId3"/>
          <a:stretch>
            <a:fillRect/>
          </a:stretch>
        </p:blipFill>
        <p:spPr>
          <a:xfrm>
            <a:off x="51382" y="1222990"/>
            <a:ext cx="4230844" cy="2872492"/>
          </a:xfrm>
          <a:prstGeom prst="rect">
            <a:avLst/>
          </a:prstGeom>
        </p:spPr>
      </p:pic>
      <p:pic>
        <p:nvPicPr>
          <p:cNvPr id="14" name="Picture 13">
            <a:extLst>
              <a:ext uri="{FF2B5EF4-FFF2-40B4-BE49-F238E27FC236}">
                <a16:creationId xmlns:a16="http://schemas.microsoft.com/office/drawing/2014/main" id="{96AAFCED-4225-2769-91DD-92CC28DB9E46}"/>
              </a:ext>
            </a:extLst>
          </p:cNvPr>
          <p:cNvPicPr>
            <a:picLocks noChangeAspect="1"/>
          </p:cNvPicPr>
          <p:nvPr/>
        </p:nvPicPr>
        <p:blipFill>
          <a:blip r:embed="rId4"/>
          <a:stretch>
            <a:fillRect/>
          </a:stretch>
        </p:blipFill>
        <p:spPr>
          <a:xfrm>
            <a:off x="4282225" y="1474444"/>
            <a:ext cx="3187523" cy="2176362"/>
          </a:xfrm>
          <a:prstGeom prst="rect">
            <a:avLst/>
          </a:prstGeom>
        </p:spPr>
      </p:pic>
    </p:spTree>
    <p:extLst>
      <p:ext uri="{BB962C8B-B14F-4D97-AF65-F5344CB8AC3E}">
        <p14:creationId xmlns:p14="http://schemas.microsoft.com/office/powerpoint/2010/main" val="34511564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6D0A0E-3A1D-8656-ED32-2EB181FC3006}"/>
              </a:ext>
            </a:extLst>
          </p:cNvPr>
          <p:cNvSpPr/>
          <p:nvPr/>
        </p:nvSpPr>
        <p:spPr bwMode="auto">
          <a:xfrm>
            <a:off x="6980349" y="3902299"/>
            <a:ext cx="270457" cy="38636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pic>
        <p:nvPicPr>
          <p:cNvPr id="3" name="Picture 2">
            <a:extLst>
              <a:ext uri="{FF2B5EF4-FFF2-40B4-BE49-F238E27FC236}">
                <a16:creationId xmlns:a16="http://schemas.microsoft.com/office/drawing/2014/main" id="{866A90D8-5E96-A685-C050-E41693F63E0C}"/>
              </a:ext>
            </a:extLst>
          </p:cNvPr>
          <p:cNvPicPr>
            <a:picLocks noChangeAspect="1"/>
          </p:cNvPicPr>
          <p:nvPr/>
        </p:nvPicPr>
        <p:blipFill rotWithShape="1">
          <a:blip r:embed="rId2"/>
          <a:srcRect l="16128" t="9970" r="3379" b="10406"/>
          <a:stretch/>
        </p:blipFill>
        <p:spPr>
          <a:xfrm>
            <a:off x="51515" y="141668"/>
            <a:ext cx="7360277" cy="4095482"/>
          </a:xfrm>
          <a:prstGeom prst="rect">
            <a:avLst/>
          </a:prstGeom>
        </p:spPr>
      </p:pic>
      <p:sp>
        <p:nvSpPr>
          <p:cNvPr id="6" name="Rectangle 5">
            <a:extLst>
              <a:ext uri="{FF2B5EF4-FFF2-40B4-BE49-F238E27FC236}">
                <a16:creationId xmlns:a16="http://schemas.microsoft.com/office/drawing/2014/main" id="{1D3869B3-BAF1-B2C1-BC79-C6EE4FE2A4AE}"/>
              </a:ext>
            </a:extLst>
          </p:cNvPr>
          <p:cNvSpPr/>
          <p:nvPr/>
        </p:nvSpPr>
        <p:spPr bwMode="auto">
          <a:xfrm>
            <a:off x="7115577" y="3902299"/>
            <a:ext cx="270457" cy="33485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25782083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0" y="1798064"/>
            <a:ext cx="9144000" cy="2204975"/>
          </a:xfrm>
        </p:spPr>
        <p:txBody>
          <a:bodyPr/>
          <a:lstStyle/>
          <a:p>
            <a:pPr>
              <a:spcBef>
                <a:spcPts val="20"/>
              </a:spcBef>
            </a:pPr>
            <a:r>
              <a:rPr lang="en-US" b="1" kern="1200" dirty="0">
                <a:solidFill>
                  <a:srgbClr val="002060"/>
                </a:solidFill>
                <a:cs typeface="Arial"/>
              </a:rPr>
              <a:t>Steven Frommeyer</a:t>
            </a:r>
          </a:p>
          <a:p>
            <a:pPr>
              <a:spcBef>
                <a:spcPts val="20"/>
              </a:spcBef>
            </a:pPr>
            <a:r>
              <a:rPr lang="en-US" kern="1200" dirty="0">
                <a:solidFill>
                  <a:srgbClr val="002060"/>
                </a:solidFill>
                <a:cs typeface="Arial"/>
              </a:rPr>
              <a:t>Executive Director, Global Ambassador Strategies, Oncology</a:t>
            </a:r>
          </a:p>
          <a:p>
            <a:pPr>
              <a:spcBef>
                <a:spcPts val="20"/>
              </a:spcBef>
            </a:pPr>
            <a:r>
              <a:rPr lang="en-US" kern="1200" dirty="0">
                <a:solidFill>
                  <a:srgbClr val="002060"/>
                </a:solidFill>
                <a:latin typeface="Arial" panose="020B0604020202020204" pitchFamily="34" charset="0"/>
                <a:cs typeface="Arial" panose="020B0604020202020204" pitchFamily="34" charset="0"/>
              </a:rPr>
              <a:t>MJH Life Sciences™</a:t>
            </a:r>
          </a:p>
        </p:txBody>
      </p:sp>
      <p:sp>
        <p:nvSpPr>
          <p:cNvPr id="4" name="Title 3"/>
          <p:cNvSpPr>
            <a:spLocks noGrp="1"/>
          </p:cNvSpPr>
          <p:nvPr>
            <p:ph type="title"/>
          </p:nvPr>
        </p:nvSpPr>
        <p:spPr>
          <a:xfrm>
            <a:off x="0" y="127465"/>
            <a:ext cx="9144000" cy="786936"/>
          </a:xfrm>
        </p:spPr>
        <p:txBody>
          <a:bodyPr/>
          <a:lstStyle/>
          <a:p>
            <a:r>
              <a:rPr lang="en-US" b="1" dirty="0">
                <a:solidFill>
                  <a:srgbClr val="002E51"/>
                </a:solidFill>
              </a:rPr>
              <a:t>Welcome</a:t>
            </a:r>
          </a:p>
        </p:txBody>
      </p:sp>
    </p:spTree>
    <p:extLst>
      <p:ext uri="{BB962C8B-B14F-4D97-AF65-F5344CB8AC3E}">
        <p14:creationId xmlns:p14="http://schemas.microsoft.com/office/powerpoint/2010/main" val="12500686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6D0A0E-3A1D-8656-ED32-2EB181FC3006}"/>
              </a:ext>
            </a:extLst>
          </p:cNvPr>
          <p:cNvSpPr/>
          <p:nvPr/>
        </p:nvSpPr>
        <p:spPr bwMode="auto">
          <a:xfrm>
            <a:off x="6980349" y="3902299"/>
            <a:ext cx="270457" cy="38636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6" name="Rectangle 5">
            <a:extLst>
              <a:ext uri="{FF2B5EF4-FFF2-40B4-BE49-F238E27FC236}">
                <a16:creationId xmlns:a16="http://schemas.microsoft.com/office/drawing/2014/main" id="{1D3869B3-BAF1-B2C1-BC79-C6EE4FE2A4AE}"/>
              </a:ext>
            </a:extLst>
          </p:cNvPr>
          <p:cNvSpPr/>
          <p:nvPr/>
        </p:nvSpPr>
        <p:spPr bwMode="auto">
          <a:xfrm>
            <a:off x="7115577" y="3902299"/>
            <a:ext cx="270457" cy="33485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7" name="Rectangle 6">
            <a:extLst>
              <a:ext uri="{FF2B5EF4-FFF2-40B4-BE49-F238E27FC236}">
                <a16:creationId xmlns:a16="http://schemas.microsoft.com/office/drawing/2014/main" id="{387187E8-517D-2125-2258-AA6EB995EF04}"/>
              </a:ext>
            </a:extLst>
          </p:cNvPr>
          <p:cNvSpPr/>
          <p:nvPr/>
        </p:nvSpPr>
        <p:spPr bwMode="auto">
          <a:xfrm>
            <a:off x="7199291" y="3902299"/>
            <a:ext cx="270457" cy="33485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pic>
        <p:nvPicPr>
          <p:cNvPr id="3" name="Picture 2">
            <a:extLst>
              <a:ext uri="{FF2B5EF4-FFF2-40B4-BE49-F238E27FC236}">
                <a16:creationId xmlns:a16="http://schemas.microsoft.com/office/drawing/2014/main" id="{37FFBBFB-0352-5850-29DB-C3CA18957DCF}"/>
              </a:ext>
            </a:extLst>
          </p:cNvPr>
          <p:cNvPicPr>
            <a:picLocks noChangeAspect="1"/>
          </p:cNvPicPr>
          <p:nvPr/>
        </p:nvPicPr>
        <p:blipFill>
          <a:blip r:embed="rId2"/>
          <a:stretch>
            <a:fillRect/>
          </a:stretch>
        </p:blipFill>
        <p:spPr>
          <a:xfrm>
            <a:off x="0" y="137202"/>
            <a:ext cx="7469748" cy="972222"/>
          </a:xfrm>
          <a:prstGeom prst="rect">
            <a:avLst/>
          </a:prstGeom>
        </p:spPr>
      </p:pic>
      <p:pic>
        <p:nvPicPr>
          <p:cNvPr id="10" name="Picture 9">
            <a:extLst>
              <a:ext uri="{FF2B5EF4-FFF2-40B4-BE49-F238E27FC236}">
                <a16:creationId xmlns:a16="http://schemas.microsoft.com/office/drawing/2014/main" id="{305C678F-51B7-3D67-2FC9-A52C275ABB4B}"/>
              </a:ext>
            </a:extLst>
          </p:cNvPr>
          <p:cNvPicPr>
            <a:picLocks noChangeAspect="1"/>
          </p:cNvPicPr>
          <p:nvPr/>
        </p:nvPicPr>
        <p:blipFill>
          <a:blip r:embed="rId3"/>
          <a:stretch>
            <a:fillRect/>
          </a:stretch>
        </p:blipFill>
        <p:spPr>
          <a:xfrm>
            <a:off x="311886" y="1143066"/>
            <a:ext cx="3325183" cy="3145599"/>
          </a:xfrm>
          <a:prstGeom prst="rect">
            <a:avLst/>
          </a:prstGeom>
        </p:spPr>
      </p:pic>
      <p:pic>
        <p:nvPicPr>
          <p:cNvPr id="12" name="Picture 11">
            <a:extLst>
              <a:ext uri="{FF2B5EF4-FFF2-40B4-BE49-F238E27FC236}">
                <a16:creationId xmlns:a16="http://schemas.microsoft.com/office/drawing/2014/main" id="{A3D84D86-493C-6C5A-922C-76E876A13344}"/>
              </a:ext>
            </a:extLst>
          </p:cNvPr>
          <p:cNvPicPr>
            <a:picLocks noChangeAspect="1"/>
          </p:cNvPicPr>
          <p:nvPr/>
        </p:nvPicPr>
        <p:blipFill>
          <a:blip r:embed="rId4"/>
          <a:stretch>
            <a:fillRect/>
          </a:stretch>
        </p:blipFill>
        <p:spPr>
          <a:xfrm>
            <a:off x="3704369" y="1143066"/>
            <a:ext cx="3453065" cy="3145600"/>
          </a:xfrm>
          <a:prstGeom prst="rect">
            <a:avLst/>
          </a:prstGeom>
        </p:spPr>
      </p:pic>
    </p:spTree>
    <p:extLst>
      <p:ext uri="{BB962C8B-B14F-4D97-AF65-F5344CB8AC3E}">
        <p14:creationId xmlns:p14="http://schemas.microsoft.com/office/powerpoint/2010/main" val="28232377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6D0A0E-3A1D-8656-ED32-2EB181FC3006}"/>
              </a:ext>
            </a:extLst>
          </p:cNvPr>
          <p:cNvSpPr/>
          <p:nvPr/>
        </p:nvSpPr>
        <p:spPr bwMode="auto">
          <a:xfrm>
            <a:off x="6980349" y="3902299"/>
            <a:ext cx="270457" cy="38636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6" name="Rectangle 5">
            <a:extLst>
              <a:ext uri="{FF2B5EF4-FFF2-40B4-BE49-F238E27FC236}">
                <a16:creationId xmlns:a16="http://schemas.microsoft.com/office/drawing/2014/main" id="{1D3869B3-BAF1-B2C1-BC79-C6EE4FE2A4AE}"/>
              </a:ext>
            </a:extLst>
          </p:cNvPr>
          <p:cNvSpPr/>
          <p:nvPr/>
        </p:nvSpPr>
        <p:spPr bwMode="auto">
          <a:xfrm>
            <a:off x="7115577" y="3902299"/>
            <a:ext cx="270457" cy="33485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7" name="Rectangle 6">
            <a:extLst>
              <a:ext uri="{FF2B5EF4-FFF2-40B4-BE49-F238E27FC236}">
                <a16:creationId xmlns:a16="http://schemas.microsoft.com/office/drawing/2014/main" id="{387187E8-517D-2125-2258-AA6EB995EF04}"/>
              </a:ext>
            </a:extLst>
          </p:cNvPr>
          <p:cNvSpPr/>
          <p:nvPr/>
        </p:nvSpPr>
        <p:spPr bwMode="auto">
          <a:xfrm>
            <a:off x="7199291" y="3902299"/>
            <a:ext cx="270457" cy="33485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pic>
        <p:nvPicPr>
          <p:cNvPr id="4" name="Picture 3">
            <a:extLst>
              <a:ext uri="{FF2B5EF4-FFF2-40B4-BE49-F238E27FC236}">
                <a16:creationId xmlns:a16="http://schemas.microsoft.com/office/drawing/2014/main" id="{C00D2C10-26CA-A322-3910-0303BC8EE8B6}"/>
              </a:ext>
            </a:extLst>
          </p:cNvPr>
          <p:cNvPicPr>
            <a:picLocks noChangeAspect="1"/>
          </p:cNvPicPr>
          <p:nvPr/>
        </p:nvPicPr>
        <p:blipFill>
          <a:blip r:embed="rId2"/>
          <a:stretch>
            <a:fillRect/>
          </a:stretch>
        </p:blipFill>
        <p:spPr>
          <a:xfrm>
            <a:off x="90152" y="260465"/>
            <a:ext cx="7469748" cy="840944"/>
          </a:xfrm>
          <a:prstGeom prst="rect">
            <a:avLst/>
          </a:prstGeom>
        </p:spPr>
      </p:pic>
      <p:pic>
        <p:nvPicPr>
          <p:cNvPr id="9" name="Picture 8">
            <a:extLst>
              <a:ext uri="{FF2B5EF4-FFF2-40B4-BE49-F238E27FC236}">
                <a16:creationId xmlns:a16="http://schemas.microsoft.com/office/drawing/2014/main" id="{7E6C7076-77E6-9A7C-2F7E-B8CFDD54D203}"/>
              </a:ext>
            </a:extLst>
          </p:cNvPr>
          <p:cNvPicPr>
            <a:picLocks noChangeAspect="1"/>
          </p:cNvPicPr>
          <p:nvPr/>
        </p:nvPicPr>
        <p:blipFill>
          <a:blip r:embed="rId3"/>
          <a:stretch>
            <a:fillRect/>
          </a:stretch>
        </p:blipFill>
        <p:spPr>
          <a:xfrm>
            <a:off x="1081825" y="1239981"/>
            <a:ext cx="5306096" cy="2942472"/>
          </a:xfrm>
          <a:prstGeom prst="rect">
            <a:avLst/>
          </a:prstGeom>
        </p:spPr>
      </p:pic>
      <p:sp>
        <p:nvSpPr>
          <p:cNvPr id="11" name="Rectangle 10">
            <a:extLst>
              <a:ext uri="{FF2B5EF4-FFF2-40B4-BE49-F238E27FC236}">
                <a16:creationId xmlns:a16="http://schemas.microsoft.com/office/drawing/2014/main" id="{3108433F-FFE7-2A7D-C2C8-2C7FDD89AB5A}"/>
              </a:ext>
            </a:extLst>
          </p:cNvPr>
          <p:cNvSpPr/>
          <p:nvPr/>
        </p:nvSpPr>
        <p:spPr bwMode="auto">
          <a:xfrm>
            <a:off x="3825026" y="4095482"/>
            <a:ext cx="2376151" cy="19318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4443237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lstStyle/>
          <a:p>
            <a:endParaRPr lang="en-US" dirty="0">
              <a:solidFill>
                <a:srgbClr val="002E51"/>
              </a:solidFill>
            </a:endParaRPr>
          </a:p>
        </p:txBody>
      </p:sp>
      <p:pic>
        <p:nvPicPr>
          <p:cNvPr id="6" name="Picture 5">
            <a:extLst>
              <a:ext uri="{FF2B5EF4-FFF2-40B4-BE49-F238E27FC236}">
                <a16:creationId xmlns:a16="http://schemas.microsoft.com/office/drawing/2014/main" id="{4AC0BEA5-8080-511B-7F1E-A8C227B916E7}"/>
              </a:ext>
            </a:extLst>
          </p:cNvPr>
          <p:cNvPicPr>
            <a:picLocks noChangeAspect="1"/>
          </p:cNvPicPr>
          <p:nvPr/>
        </p:nvPicPr>
        <p:blipFill rotWithShape="1">
          <a:blip r:embed="rId2"/>
          <a:srcRect l="1945" t="10447" r="18264" b="10293"/>
          <a:stretch/>
        </p:blipFill>
        <p:spPr>
          <a:xfrm>
            <a:off x="124327" y="239294"/>
            <a:ext cx="7296150" cy="4076701"/>
          </a:xfrm>
          <a:prstGeom prst="rect">
            <a:avLst/>
          </a:prstGeom>
        </p:spPr>
      </p:pic>
      <p:sp>
        <p:nvSpPr>
          <p:cNvPr id="7" name="Rectangle 6">
            <a:extLst>
              <a:ext uri="{FF2B5EF4-FFF2-40B4-BE49-F238E27FC236}">
                <a16:creationId xmlns:a16="http://schemas.microsoft.com/office/drawing/2014/main" id="{3B855C2A-6768-0BED-5A97-D63116DA4DB4}"/>
              </a:ext>
            </a:extLst>
          </p:cNvPr>
          <p:cNvSpPr/>
          <p:nvPr/>
        </p:nvSpPr>
        <p:spPr bwMode="auto">
          <a:xfrm>
            <a:off x="6986337" y="296779"/>
            <a:ext cx="312821" cy="33688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8" name="Rectangle 7">
            <a:extLst>
              <a:ext uri="{FF2B5EF4-FFF2-40B4-BE49-F238E27FC236}">
                <a16:creationId xmlns:a16="http://schemas.microsoft.com/office/drawing/2014/main" id="{3A6DEAD3-9AB6-CA6E-7FF2-065DB2717027}"/>
              </a:ext>
            </a:extLst>
          </p:cNvPr>
          <p:cNvSpPr/>
          <p:nvPr/>
        </p:nvSpPr>
        <p:spPr bwMode="auto">
          <a:xfrm>
            <a:off x="7123196" y="3979111"/>
            <a:ext cx="312821" cy="33688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10376786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6F9780B-F9CE-DE56-1F29-022E3630805E}"/>
              </a:ext>
            </a:extLst>
          </p:cNvPr>
          <p:cNvPicPr>
            <a:picLocks noChangeAspect="1"/>
          </p:cNvPicPr>
          <p:nvPr/>
        </p:nvPicPr>
        <p:blipFill rotWithShape="1">
          <a:blip r:embed="rId2"/>
          <a:srcRect l="2387" t="14351" r="17958" b="7401"/>
          <a:stretch/>
        </p:blipFill>
        <p:spPr>
          <a:xfrm>
            <a:off x="160420" y="185727"/>
            <a:ext cx="7283681" cy="4024648"/>
          </a:xfrm>
          <a:prstGeom prst="rect">
            <a:avLst/>
          </a:prstGeom>
        </p:spPr>
      </p:pic>
      <p:sp>
        <p:nvSpPr>
          <p:cNvPr id="4" name="Rectangle 3">
            <a:extLst>
              <a:ext uri="{FF2B5EF4-FFF2-40B4-BE49-F238E27FC236}">
                <a16:creationId xmlns:a16="http://schemas.microsoft.com/office/drawing/2014/main" id="{605C746E-0BD2-C57E-66B3-3EF0EDA2045A}"/>
              </a:ext>
            </a:extLst>
          </p:cNvPr>
          <p:cNvSpPr/>
          <p:nvPr/>
        </p:nvSpPr>
        <p:spPr bwMode="auto">
          <a:xfrm>
            <a:off x="6986337" y="296779"/>
            <a:ext cx="312821" cy="33688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5" name="Rectangle 4">
            <a:extLst>
              <a:ext uri="{FF2B5EF4-FFF2-40B4-BE49-F238E27FC236}">
                <a16:creationId xmlns:a16="http://schemas.microsoft.com/office/drawing/2014/main" id="{2204FFD5-47E0-9DA0-D035-B8A93BBF4843}"/>
              </a:ext>
            </a:extLst>
          </p:cNvPr>
          <p:cNvSpPr/>
          <p:nvPr/>
        </p:nvSpPr>
        <p:spPr bwMode="auto">
          <a:xfrm>
            <a:off x="7050505" y="3873491"/>
            <a:ext cx="312821" cy="33688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25702818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57669F2-8A26-50D8-AC74-54E3605A98CF}"/>
              </a:ext>
            </a:extLst>
          </p:cNvPr>
          <p:cNvPicPr>
            <a:picLocks noChangeAspect="1"/>
          </p:cNvPicPr>
          <p:nvPr/>
        </p:nvPicPr>
        <p:blipFill rotWithShape="1">
          <a:blip r:embed="rId2"/>
          <a:srcRect l="2308" t="11097" r="18029" b="10782"/>
          <a:stretch/>
        </p:blipFill>
        <p:spPr>
          <a:xfrm>
            <a:off x="240631" y="257577"/>
            <a:ext cx="7284359" cy="4018209"/>
          </a:xfrm>
          <a:prstGeom prst="rect">
            <a:avLst/>
          </a:prstGeom>
        </p:spPr>
      </p:pic>
      <p:sp>
        <p:nvSpPr>
          <p:cNvPr id="4" name="Rectangle 3">
            <a:extLst>
              <a:ext uri="{FF2B5EF4-FFF2-40B4-BE49-F238E27FC236}">
                <a16:creationId xmlns:a16="http://schemas.microsoft.com/office/drawing/2014/main" id="{C4C834C5-A8D9-0794-E4B8-1D021DAE1661}"/>
              </a:ext>
            </a:extLst>
          </p:cNvPr>
          <p:cNvSpPr/>
          <p:nvPr/>
        </p:nvSpPr>
        <p:spPr bwMode="auto">
          <a:xfrm>
            <a:off x="7142747" y="257577"/>
            <a:ext cx="312821" cy="33688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5" name="Rectangle 4">
            <a:extLst>
              <a:ext uri="{FF2B5EF4-FFF2-40B4-BE49-F238E27FC236}">
                <a16:creationId xmlns:a16="http://schemas.microsoft.com/office/drawing/2014/main" id="{573DE560-152C-DAAE-E110-A5983E976247}"/>
              </a:ext>
            </a:extLst>
          </p:cNvPr>
          <p:cNvSpPr/>
          <p:nvPr/>
        </p:nvSpPr>
        <p:spPr bwMode="auto">
          <a:xfrm>
            <a:off x="7122694" y="3858127"/>
            <a:ext cx="312821" cy="33688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39348198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3BF9F99-647E-6A1D-F976-EA1CF12C2A78}"/>
              </a:ext>
            </a:extLst>
          </p:cNvPr>
          <p:cNvPicPr>
            <a:picLocks noChangeAspect="1"/>
          </p:cNvPicPr>
          <p:nvPr/>
        </p:nvPicPr>
        <p:blipFill rotWithShape="1">
          <a:blip r:embed="rId2"/>
          <a:srcRect l="2350" t="15024" r="17651" b="6979"/>
          <a:stretch/>
        </p:blipFill>
        <p:spPr>
          <a:xfrm>
            <a:off x="152401" y="183806"/>
            <a:ext cx="7315200" cy="4011770"/>
          </a:xfrm>
          <a:prstGeom prst="rect">
            <a:avLst/>
          </a:prstGeom>
        </p:spPr>
      </p:pic>
      <p:sp>
        <p:nvSpPr>
          <p:cNvPr id="4" name="Rectangle 3">
            <a:extLst>
              <a:ext uri="{FF2B5EF4-FFF2-40B4-BE49-F238E27FC236}">
                <a16:creationId xmlns:a16="http://schemas.microsoft.com/office/drawing/2014/main" id="{EF0C73A8-130A-A63D-2929-28A623EAE58F}"/>
              </a:ext>
            </a:extLst>
          </p:cNvPr>
          <p:cNvSpPr/>
          <p:nvPr/>
        </p:nvSpPr>
        <p:spPr bwMode="auto">
          <a:xfrm>
            <a:off x="6962274" y="183806"/>
            <a:ext cx="352926" cy="49798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5" name="Rectangle 4">
            <a:extLst>
              <a:ext uri="{FF2B5EF4-FFF2-40B4-BE49-F238E27FC236}">
                <a16:creationId xmlns:a16="http://schemas.microsoft.com/office/drawing/2014/main" id="{F1D4776F-C2D3-290B-2D1E-886E85D5A76B}"/>
              </a:ext>
            </a:extLst>
          </p:cNvPr>
          <p:cNvSpPr/>
          <p:nvPr/>
        </p:nvSpPr>
        <p:spPr bwMode="auto">
          <a:xfrm>
            <a:off x="7090611" y="3922295"/>
            <a:ext cx="224589" cy="20854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6179690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D3E27E-5DE2-908C-0D38-39841E5C289A}"/>
              </a:ext>
            </a:extLst>
          </p:cNvPr>
          <p:cNvPicPr>
            <a:picLocks noChangeAspect="1"/>
          </p:cNvPicPr>
          <p:nvPr/>
        </p:nvPicPr>
        <p:blipFill rotWithShape="1">
          <a:blip r:embed="rId2"/>
          <a:srcRect l="2587" t="11222" r="17183" b="10657"/>
          <a:stretch/>
        </p:blipFill>
        <p:spPr>
          <a:xfrm>
            <a:off x="393032" y="226170"/>
            <a:ext cx="7336213" cy="4018209"/>
          </a:xfrm>
          <a:prstGeom prst="rect">
            <a:avLst/>
          </a:prstGeom>
        </p:spPr>
      </p:pic>
      <p:sp>
        <p:nvSpPr>
          <p:cNvPr id="4" name="Rectangle 3">
            <a:extLst>
              <a:ext uri="{FF2B5EF4-FFF2-40B4-BE49-F238E27FC236}">
                <a16:creationId xmlns:a16="http://schemas.microsoft.com/office/drawing/2014/main" id="{D3A87804-4DEF-6F0F-61CC-870094D57AA0}"/>
              </a:ext>
            </a:extLst>
          </p:cNvPr>
          <p:cNvSpPr/>
          <p:nvPr/>
        </p:nvSpPr>
        <p:spPr bwMode="auto">
          <a:xfrm>
            <a:off x="7186863" y="226170"/>
            <a:ext cx="385011" cy="42353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5" name="Rectangle 4">
            <a:extLst>
              <a:ext uri="{FF2B5EF4-FFF2-40B4-BE49-F238E27FC236}">
                <a16:creationId xmlns:a16="http://schemas.microsoft.com/office/drawing/2014/main" id="{2FC18B1D-0881-6CB9-B07D-8796372F5EA6}"/>
              </a:ext>
            </a:extLst>
          </p:cNvPr>
          <p:cNvSpPr/>
          <p:nvPr/>
        </p:nvSpPr>
        <p:spPr bwMode="auto">
          <a:xfrm>
            <a:off x="7315200" y="3820844"/>
            <a:ext cx="385011" cy="42353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820959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CEB30B-495E-F109-F33B-E4C49752D162}"/>
              </a:ext>
            </a:extLst>
          </p:cNvPr>
          <p:cNvPicPr>
            <a:picLocks noChangeAspect="1"/>
          </p:cNvPicPr>
          <p:nvPr/>
        </p:nvPicPr>
        <p:blipFill rotWithShape="1">
          <a:blip r:embed="rId2"/>
          <a:srcRect l="1901" t="13976" r="17677" b="7276"/>
          <a:stretch/>
        </p:blipFill>
        <p:spPr>
          <a:xfrm>
            <a:off x="344114" y="250008"/>
            <a:ext cx="7353837" cy="4050406"/>
          </a:xfrm>
          <a:prstGeom prst="rect">
            <a:avLst/>
          </a:prstGeom>
        </p:spPr>
      </p:pic>
      <p:sp>
        <p:nvSpPr>
          <p:cNvPr id="4" name="Rectangle 3">
            <a:extLst>
              <a:ext uri="{FF2B5EF4-FFF2-40B4-BE49-F238E27FC236}">
                <a16:creationId xmlns:a16="http://schemas.microsoft.com/office/drawing/2014/main" id="{20FAEC44-C5B4-F26D-199C-F1E2E5FC85BF}"/>
              </a:ext>
            </a:extLst>
          </p:cNvPr>
          <p:cNvSpPr/>
          <p:nvPr/>
        </p:nvSpPr>
        <p:spPr bwMode="auto">
          <a:xfrm>
            <a:off x="7234989" y="250008"/>
            <a:ext cx="304800" cy="46386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5" name="Rectangle 4">
            <a:extLst>
              <a:ext uri="{FF2B5EF4-FFF2-40B4-BE49-F238E27FC236}">
                <a16:creationId xmlns:a16="http://schemas.microsoft.com/office/drawing/2014/main" id="{0C6853A8-B023-A25B-EE0C-1D6AF2CB40E8}"/>
              </a:ext>
            </a:extLst>
          </p:cNvPr>
          <p:cNvSpPr/>
          <p:nvPr/>
        </p:nvSpPr>
        <p:spPr bwMode="auto">
          <a:xfrm>
            <a:off x="7170821" y="250008"/>
            <a:ext cx="433137" cy="46386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6" name="Rectangle 5">
            <a:extLst>
              <a:ext uri="{FF2B5EF4-FFF2-40B4-BE49-F238E27FC236}">
                <a16:creationId xmlns:a16="http://schemas.microsoft.com/office/drawing/2014/main" id="{C517652C-0AD7-30A7-1758-7976F8CB6484}"/>
              </a:ext>
            </a:extLst>
          </p:cNvPr>
          <p:cNvSpPr/>
          <p:nvPr/>
        </p:nvSpPr>
        <p:spPr bwMode="auto">
          <a:xfrm>
            <a:off x="7218947" y="3755208"/>
            <a:ext cx="433137" cy="46386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39539660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466A8A9-8D07-2D63-675A-FAB2D0BE585B}"/>
              </a:ext>
            </a:extLst>
          </p:cNvPr>
          <p:cNvPicPr>
            <a:picLocks noChangeAspect="1"/>
          </p:cNvPicPr>
          <p:nvPr/>
        </p:nvPicPr>
        <p:blipFill rotWithShape="1">
          <a:blip r:embed="rId2"/>
          <a:srcRect l="2502" t="12473" r="17605" b="10281"/>
          <a:stretch/>
        </p:blipFill>
        <p:spPr>
          <a:xfrm>
            <a:off x="136358" y="133985"/>
            <a:ext cx="7305372" cy="3973133"/>
          </a:xfrm>
          <a:prstGeom prst="rect">
            <a:avLst/>
          </a:prstGeom>
        </p:spPr>
      </p:pic>
      <p:sp>
        <p:nvSpPr>
          <p:cNvPr id="4" name="Rectangle 3">
            <a:extLst>
              <a:ext uri="{FF2B5EF4-FFF2-40B4-BE49-F238E27FC236}">
                <a16:creationId xmlns:a16="http://schemas.microsoft.com/office/drawing/2014/main" id="{88A928C9-2BC7-4CC2-E97A-4F2D8678CE6B}"/>
              </a:ext>
            </a:extLst>
          </p:cNvPr>
          <p:cNvSpPr/>
          <p:nvPr/>
        </p:nvSpPr>
        <p:spPr bwMode="auto">
          <a:xfrm>
            <a:off x="6986337" y="216568"/>
            <a:ext cx="312821" cy="33688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5" name="Rectangle 4">
            <a:extLst>
              <a:ext uri="{FF2B5EF4-FFF2-40B4-BE49-F238E27FC236}">
                <a16:creationId xmlns:a16="http://schemas.microsoft.com/office/drawing/2014/main" id="{81DE0A66-3D2F-F6E1-16C0-DC3D315FCF7B}"/>
              </a:ext>
            </a:extLst>
          </p:cNvPr>
          <p:cNvSpPr/>
          <p:nvPr/>
        </p:nvSpPr>
        <p:spPr bwMode="auto">
          <a:xfrm>
            <a:off x="6986337" y="3852817"/>
            <a:ext cx="312821" cy="33688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28530917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80CBA3-B068-3A69-559A-34AC794C0918}"/>
              </a:ext>
            </a:extLst>
          </p:cNvPr>
          <p:cNvPicPr>
            <a:picLocks noChangeAspect="1"/>
          </p:cNvPicPr>
          <p:nvPr/>
        </p:nvPicPr>
        <p:blipFill rotWithShape="1">
          <a:blip r:embed="rId2"/>
          <a:srcRect l="2526" t="18174" r="16760" b="4898"/>
          <a:stretch/>
        </p:blipFill>
        <p:spPr>
          <a:xfrm>
            <a:off x="336883" y="240631"/>
            <a:ext cx="7380499" cy="3956752"/>
          </a:xfrm>
          <a:prstGeom prst="rect">
            <a:avLst/>
          </a:prstGeom>
        </p:spPr>
      </p:pic>
      <p:sp>
        <p:nvSpPr>
          <p:cNvPr id="4" name="Rectangle 3">
            <a:extLst>
              <a:ext uri="{FF2B5EF4-FFF2-40B4-BE49-F238E27FC236}">
                <a16:creationId xmlns:a16="http://schemas.microsoft.com/office/drawing/2014/main" id="{A0E76360-D46D-8C9C-847E-12B5816BA565}"/>
              </a:ext>
            </a:extLst>
          </p:cNvPr>
          <p:cNvSpPr/>
          <p:nvPr/>
        </p:nvSpPr>
        <p:spPr bwMode="auto">
          <a:xfrm>
            <a:off x="7170821" y="240631"/>
            <a:ext cx="320842" cy="49730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5" name="Rectangle 4">
            <a:extLst>
              <a:ext uri="{FF2B5EF4-FFF2-40B4-BE49-F238E27FC236}">
                <a16:creationId xmlns:a16="http://schemas.microsoft.com/office/drawing/2014/main" id="{B2676981-8279-FD55-38BB-AB1278EEBC33}"/>
              </a:ext>
            </a:extLst>
          </p:cNvPr>
          <p:cNvSpPr/>
          <p:nvPr/>
        </p:nvSpPr>
        <p:spPr bwMode="auto">
          <a:xfrm>
            <a:off x="7170821" y="3700077"/>
            <a:ext cx="320842" cy="49730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42002538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27465"/>
            <a:ext cx="9144000" cy="807256"/>
          </a:xfrm>
        </p:spPr>
        <p:txBody>
          <a:bodyPr/>
          <a:lstStyle/>
          <a:p>
            <a:r>
              <a:rPr lang="en-US" b="1" dirty="0">
                <a:solidFill>
                  <a:srgbClr val="003767"/>
                </a:solidFill>
              </a:rPr>
              <a:t>Thank You to Our Supporters:</a:t>
            </a:r>
            <a:endParaRPr lang="en-US" b="1" dirty="0"/>
          </a:p>
        </p:txBody>
      </p:sp>
      <p:pic>
        <p:nvPicPr>
          <p:cNvPr id="5" name="Picture 4" descr="A black and grey logo&#10;&#10;Description automatically generated">
            <a:extLst>
              <a:ext uri="{FF2B5EF4-FFF2-40B4-BE49-F238E27FC236}">
                <a16:creationId xmlns:a16="http://schemas.microsoft.com/office/drawing/2014/main" id="{4F120467-7C20-D24B-7568-E4A6D7828E8D}"/>
              </a:ext>
            </a:extLst>
          </p:cNvPr>
          <p:cNvPicPr>
            <a:picLocks noChangeAspect="1"/>
          </p:cNvPicPr>
          <p:nvPr/>
        </p:nvPicPr>
        <p:blipFill>
          <a:blip r:embed="rId2"/>
          <a:stretch>
            <a:fillRect/>
          </a:stretch>
        </p:blipFill>
        <p:spPr>
          <a:xfrm>
            <a:off x="987878" y="755108"/>
            <a:ext cx="7290707" cy="1019560"/>
          </a:xfrm>
          <a:prstGeom prst="rect">
            <a:avLst/>
          </a:prstGeom>
        </p:spPr>
      </p:pic>
      <p:pic>
        <p:nvPicPr>
          <p:cNvPr id="8" name="Picture 7" descr="A logo of a company&#10;&#10;Description automatically generated">
            <a:extLst>
              <a:ext uri="{FF2B5EF4-FFF2-40B4-BE49-F238E27FC236}">
                <a16:creationId xmlns:a16="http://schemas.microsoft.com/office/drawing/2014/main" id="{D4E79016-F06D-05E1-FD87-B96F1C08FA48}"/>
              </a:ext>
            </a:extLst>
          </p:cNvPr>
          <p:cNvPicPr>
            <a:picLocks noChangeAspect="1"/>
          </p:cNvPicPr>
          <p:nvPr/>
        </p:nvPicPr>
        <p:blipFill rotWithShape="1">
          <a:blip r:embed="rId3"/>
          <a:srcRect l="21357" t="15145" r="20144" b="19994"/>
          <a:stretch/>
        </p:blipFill>
        <p:spPr>
          <a:xfrm>
            <a:off x="2796267" y="1831819"/>
            <a:ext cx="3673928" cy="2274338"/>
          </a:xfrm>
          <a:prstGeom prst="rect">
            <a:avLst/>
          </a:prstGeom>
        </p:spPr>
      </p:pic>
    </p:spTree>
    <p:extLst>
      <p:ext uri="{BB962C8B-B14F-4D97-AF65-F5344CB8AC3E}">
        <p14:creationId xmlns:p14="http://schemas.microsoft.com/office/powerpoint/2010/main" val="42814715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0E0F54B-F40F-4849-931D-F6D4C38F2479}"/>
              </a:ext>
            </a:extLst>
          </p:cNvPr>
          <p:cNvPicPr>
            <a:picLocks noChangeAspect="1"/>
          </p:cNvPicPr>
          <p:nvPr/>
        </p:nvPicPr>
        <p:blipFill rotWithShape="1">
          <a:blip r:embed="rId2"/>
          <a:srcRect l="2264" t="11321" r="17676" b="12034"/>
          <a:stretch/>
        </p:blipFill>
        <p:spPr>
          <a:xfrm>
            <a:off x="657726" y="316832"/>
            <a:ext cx="7320736" cy="3942290"/>
          </a:xfrm>
          <a:prstGeom prst="rect">
            <a:avLst/>
          </a:prstGeom>
        </p:spPr>
      </p:pic>
      <p:sp>
        <p:nvSpPr>
          <p:cNvPr id="4" name="TextBox 3">
            <a:extLst>
              <a:ext uri="{FF2B5EF4-FFF2-40B4-BE49-F238E27FC236}">
                <a16:creationId xmlns:a16="http://schemas.microsoft.com/office/drawing/2014/main" id="{225FE148-FBAC-E73D-02E9-FCAD835CCA50}"/>
              </a:ext>
            </a:extLst>
          </p:cNvPr>
          <p:cNvSpPr txBox="1"/>
          <p:nvPr/>
        </p:nvSpPr>
        <p:spPr>
          <a:xfrm>
            <a:off x="7507705" y="248653"/>
            <a:ext cx="328863" cy="572309"/>
          </a:xfrm>
          <a:prstGeom prst="rect">
            <a:avLst/>
          </a:prstGeom>
          <a:solidFill>
            <a:schemeClr val="bg1"/>
          </a:solidFill>
        </p:spPr>
        <p:txBody>
          <a:bodyPr wrap="square" rtlCol="0">
            <a:spAutoFit/>
          </a:bodyPr>
          <a:lstStyle/>
          <a:p>
            <a:endParaRPr lang="en-US" dirty="0"/>
          </a:p>
        </p:txBody>
      </p:sp>
      <p:sp>
        <p:nvSpPr>
          <p:cNvPr id="5" name="TextBox 4">
            <a:extLst>
              <a:ext uri="{FF2B5EF4-FFF2-40B4-BE49-F238E27FC236}">
                <a16:creationId xmlns:a16="http://schemas.microsoft.com/office/drawing/2014/main" id="{1A623F12-DE68-1814-26E8-A301B07196D5}"/>
              </a:ext>
            </a:extLst>
          </p:cNvPr>
          <p:cNvSpPr txBox="1"/>
          <p:nvPr/>
        </p:nvSpPr>
        <p:spPr>
          <a:xfrm>
            <a:off x="7531768" y="3754992"/>
            <a:ext cx="328863" cy="572309"/>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8097834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A50822-9AD9-E20C-5946-0A544F975CE9}"/>
              </a:ext>
            </a:extLst>
          </p:cNvPr>
          <p:cNvPicPr>
            <a:picLocks noChangeAspect="1"/>
          </p:cNvPicPr>
          <p:nvPr/>
        </p:nvPicPr>
        <p:blipFill rotWithShape="1">
          <a:blip r:embed="rId2"/>
          <a:srcRect l="2569" t="21112" r="18352" b="6896"/>
          <a:stretch/>
        </p:blipFill>
        <p:spPr>
          <a:xfrm>
            <a:off x="224589" y="227415"/>
            <a:ext cx="7230979" cy="3702902"/>
          </a:xfrm>
          <a:prstGeom prst="rect">
            <a:avLst/>
          </a:prstGeom>
        </p:spPr>
      </p:pic>
      <p:sp>
        <p:nvSpPr>
          <p:cNvPr id="4" name="Rectangle 3">
            <a:extLst>
              <a:ext uri="{FF2B5EF4-FFF2-40B4-BE49-F238E27FC236}">
                <a16:creationId xmlns:a16="http://schemas.microsoft.com/office/drawing/2014/main" id="{7A22132C-F2EC-B33C-7D13-CC304E0C3BF5}"/>
              </a:ext>
            </a:extLst>
          </p:cNvPr>
          <p:cNvSpPr/>
          <p:nvPr/>
        </p:nvSpPr>
        <p:spPr bwMode="auto">
          <a:xfrm>
            <a:off x="7050506" y="296779"/>
            <a:ext cx="312821" cy="33688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5" name="Rectangle 4">
            <a:extLst>
              <a:ext uri="{FF2B5EF4-FFF2-40B4-BE49-F238E27FC236}">
                <a16:creationId xmlns:a16="http://schemas.microsoft.com/office/drawing/2014/main" id="{E364CA27-ECE8-E8FC-7410-0BAF32BDBC25}"/>
              </a:ext>
            </a:extLst>
          </p:cNvPr>
          <p:cNvSpPr/>
          <p:nvPr/>
        </p:nvSpPr>
        <p:spPr bwMode="auto">
          <a:xfrm>
            <a:off x="7142747" y="3991999"/>
            <a:ext cx="312821" cy="33688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4327806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22132C-F2EC-B33C-7D13-CC304E0C3BF5}"/>
              </a:ext>
            </a:extLst>
          </p:cNvPr>
          <p:cNvSpPr/>
          <p:nvPr/>
        </p:nvSpPr>
        <p:spPr bwMode="auto">
          <a:xfrm>
            <a:off x="7050506" y="296779"/>
            <a:ext cx="312821" cy="33688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5" name="Rectangle 4">
            <a:extLst>
              <a:ext uri="{FF2B5EF4-FFF2-40B4-BE49-F238E27FC236}">
                <a16:creationId xmlns:a16="http://schemas.microsoft.com/office/drawing/2014/main" id="{E364CA27-ECE8-E8FC-7410-0BAF32BDBC25}"/>
              </a:ext>
            </a:extLst>
          </p:cNvPr>
          <p:cNvSpPr/>
          <p:nvPr/>
        </p:nvSpPr>
        <p:spPr bwMode="auto">
          <a:xfrm>
            <a:off x="7142747" y="3991999"/>
            <a:ext cx="312821" cy="33688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pic>
        <p:nvPicPr>
          <p:cNvPr id="8" name="Picture 7">
            <a:extLst>
              <a:ext uri="{FF2B5EF4-FFF2-40B4-BE49-F238E27FC236}">
                <a16:creationId xmlns:a16="http://schemas.microsoft.com/office/drawing/2014/main" id="{AB72E02A-0792-E7F0-0956-35AA8988D0E0}"/>
              </a:ext>
            </a:extLst>
          </p:cNvPr>
          <p:cNvPicPr>
            <a:picLocks noChangeAspect="1"/>
          </p:cNvPicPr>
          <p:nvPr/>
        </p:nvPicPr>
        <p:blipFill rotWithShape="1">
          <a:blip r:embed="rId2"/>
          <a:srcRect t="17280" b="50000"/>
          <a:stretch/>
        </p:blipFill>
        <p:spPr>
          <a:xfrm>
            <a:off x="-55660" y="71471"/>
            <a:ext cx="7829006" cy="1320634"/>
          </a:xfrm>
          <a:prstGeom prst="rect">
            <a:avLst/>
          </a:prstGeom>
        </p:spPr>
      </p:pic>
      <p:pic>
        <p:nvPicPr>
          <p:cNvPr id="10" name="Picture 9">
            <a:extLst>
              <a:ext uri="{FF2B5EF4-FFF2-40B4-BE49-F238E27FC236}">
                <a16:creationId xmlns:a16="http://schemas.microsoft.com/office/drawing/2014/main" id="{AF9CD187-B090-1952-90B0-789BFD344E50}"/>
              </a:ext>
            </a:extLst>
          </p:cNvPr>
          <p:cNvPicPr>
            <a:picLocks noChangeAspect="1"/>
          </p:cNvPicPr>
          <p:nvPr/>
        </p:nvPicPr>
        <p:blipFill>
          <a:blip r:embed="rId3"/>
          <a:stretch>
            <a:fillRect/>
          </a:stretch>
        </p:blipFill>
        <p:spPr>
          <a:xfrm>
            <a:off x="278296" y="1392105"/>
            <a:ext cx="7331101" cy="2936778"/>
          </a:xfrm>
          <a:prstGeom prst="rect">
            <a:avLst/>
          </a:prstGeom>
        </p:spPr>
      </p:pic>
    </p:spTree>
    <p:extLst>
      <p:ext uri="{BB962C8B-B14F-4D97-AF65-F5344CB8AC3E}">
        <p14:creationId xmlns:p14="http://schemas.microsoft.com/office/powerpoint/2010/main" val="19076298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25FE148-FBAC-E73D-02E9-FCAD835CCA50}"/>
              </a:ext>
            </a:extLst>
          </p:cNvPr>
          <p:cNvSpPr txBox="1"/>
          <p:nvPr/>
        </p:nvSpPr>
        <p:spPr>
          <a:xfrm>
            <a:off x="7507705" y="248653"/>
            <a:ext cx="328863" cy="572309"/>
          </a:xfrm>
          <a:prstGeom prst="rect">
            <a:avLst/>
          </a:prstGeom>
          <a:solidFill>
            <a:schemeClr val="bg1"/>
          </a:solidFill>
        </p:spPr>
        <p:txBody>
          <a:bodyPr wrap="square" rtlCol="0">
            <a:spAutoFit/>
          </a:bodyPr>
          <a:lstStyle/>
          <a:p>
            <a:endParaRPr lang="en-US" dirty="0"/>
          </a:p>
        </p:txBody>
      </p:sp>
      <p:sp>
        <p:nvSpPr>
          <p:cNvPr id="5" name="TextBox 4">
            <a:extLst>
              <a:ext uri="{FF2B5EF4-FFF2-40B4-BE49-F238E27FC236}">
                <a16:creationId xmlns:a16="http://schemas.microsoft.com/office/drawing/2014/main" id="{1A623F12-DE68-1814-26E8-A301B07196D5}"/>
              </a:ext>
            </a:extLst>
          </p:cNvPr>
          <p:cNvSpPr txBox="1"/>
          <p:nvPr/>
        </p:nvSpPr>
        <p:spPr>
          <a:xfrm>
            <a:off x="7531768" y="3754992"/>
            <a:ext cx="328863" cy="572309"/>
          </a:xfrm>
          <a:prstGeom prst="rect">
            <a:avLst/>
          </a:prstGeom>
          <a:solidFill>
            <a:schemeClr val="bg1"/>
          </a:solidFill>
        </p:spPr>
        <p:txBody>
          <a:bodyPr wrap="square" rtlCol="0">
            <a:spAutoFit/>
          </a:bodyPr>
          <a:lstStyle/>
          <a:p>
            <a:endParaRPr lang="en-US" dirty="0"/>
          </a:p>
        </p:txBody>
      </p:sp>
      <p:pic>
        <p:nvPicPr>
          <p:cNvPr id="6" name="Picture 5">
            <a:extLst>
              <a:ext uri="{FF2B5EF4-FFF2-40B4-BE49-F238E27FC236}">
                <a16:creationId xmlns:a16="http://schemas.microsoft.com/office/drawing/2014/main" id="{EE8A826F-9373-FBE6-39DA-ED26CC65794E}"/>
              </a:ext>
            </a:extLst>
          </p:cNvPr>
          <p:cNvPicPr>
            <a:picLocks noChangeAspect="1"/>
          </p:cNvPicPr>
          <p:nvPr/>
        </p:nvPicPr>
        <p:blipFill>
          <a:blip r:embed="rId2"/>
          <a:stretch>
            <a:fillRect/>
          </a:stretch>
        </p:blipFill>
        <p:spPr>
          <a:xfrm>
            <a:off x="0" y="105187"/>
            <a:ext cx="7920507" cy="859239"/>
          </a:xfrm>
          <a:prstGeom prst="rect">
            <a:avLst/>
          </a:prstGeom>
        </p:spPr>
      </p:pic>
      <p:pic>
        <p:nvPicPr>
          <p:cNvPr id="8" name="Picture 7">
            <a:extLst>
              <a:ext uri="{FF2B5EF4-FFF2-40B4-BE49-F238E27FC236}">
                <a16:creationId xmlns:a16="http://schemas.microsoft.com/office/drawing/2014/main" id="{5DDF8E68-EE08-4246-69C0-14DD34B6F609}"/>
              </a:ext>
            </a:extLst>
          </p:cNvPr>
          <p:cNvPicPr>
            <a:picLocks noChangeAspect="1"/>
          </p:cNvPicPr>
          <p:nvPr/>
        </p:nvPicPr>
        <p:blipFill>
          <a:blip r:embed="rId3"/>
          <a:stretch>
            <a:fillRect/>
          </a:stretch>
        </p:blipFill>
        <p:spPr>
          <a:xfrm>
            <a:off x="122235" y="963561"/>
            <a:ext cx="4456090" cy="2531172"/>
          </a:xfrm>
          <a:prstGeom prst="rect">
            <a:avLst/>
          </a:prstGeom>
        </p:spPr>
      </p:pic>
      <p:pic>
        <p:nvPicPr>
          <p:cNvPr id="10" name="Picture 9">
            <a:extLst>
              <a:ext uri="{FF2B5EF4-FFF2-40B4-BE49-F238E27FC236}">
                <a16:creationId xmlns:a16="http://schemas.microsoft.com/office/drawing/2014/main" id="{0BB19743-0C4B-177C-5716-5108CD371E37}"/>
              </a:ext>
            </a:extLst>
          </p:cNvPr>
          <p:cNvPicPr>
            <a:picLocks noChangeAspect="1"/>
          </p:cNvPicPr>
          <p:nvPr/>
        </p:nvPicPr>
        <p:blipFill>
          <a:blip r:embed="rId4"/>
          <a:stretch>
            <a:fillRect/>
          </a:stretch>
        </p:blipFill>
        <p:spPr>
          <a:xfrm>
            <a:off x="302652" y="3489143"/>
            <a:ext cx="3863437" cy="832567"/>
          </a:xfrm>
          <a:prstGeom prst="rect">
            <a:avLst/>
          </a:prstGeom>
        </p:spPr>
      </p:pic>
      <p:pic>
        <p:nvPicPr>
          <p:cNvPr id="12" name="Picture 11">
            <a:extLst>
              <a:ext uri="{FF2B5EF4-FFF2-40B4-BE49-F238E27FC236}">
                <a16:creationId xmlns:a16="http://schemas.microsoft.com/office/drawing/2014/main" id="{F218DF98-EA55-2800-EE73-20FD127C4BF7}"/>
              </a:ext>
            </a:extLst>
          </p:cNvPr>
          <p:cNvPicPr>
            <a:picLocks noChangeAspect="1"/>
          </p:cNvPicPr>
          <p:nvPr/>
        </p:nvPicPr>
        <p:blipFill>
          <a:blip r:embed="rId5"/>
          <a:stretch>
            <a:fillRect/>
          </a:stretch>
        </p:blipFill>
        <p:spPr>
          <a:xfrm>
            <a:off x="4709905" y="972354"/>
            <a:ext cx="3150726" cy="3203553"/>
          </a:xfrm>
          <a:prstGeom prst="rect">
            <a:avLst/>
          </a:prstGeom>
        </p:spPr>
      </p:pic>
    </p:spTree>
    <p:extLst>
      <p:ext uri="{BB962C8B-B14F-4D97-AF65-F5344CB8AC3E}">
        <p14:creationId xmlns:p14="http://schemas.microsoft.com/office/powerpoint/2010/main" val="21181918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25FE148-FBAC-E73D-02E9-FCAD835CCA50}"/>
              </a:ext>
            </a:extLst>
          </p:cNvPr>
          <p:cNvSpPr txBox="1"/>
          <p:nvPr/>
        </p:nvSpPr>
        <p:spPr>
          <a:xfrm>
            <a:off x="7507705" y="248653"/>
            <a:ext cx="328863" cy="572309"/>
          </a:xfrm>
          <a:prstGeom prst="rect">
            <a:avLst/>
          </a:prstGeom>
          <a:solidFill>
            <a:schemeClr val="bg1"/>
          </a:solidFill>
        </p:spPr>
        <p:txBody>
          <a:bodyPr wrap="square" rtlCol="0">
            <a:spAutoFit/>
          </a:bodyPr>
          <a:lstStyle/>
          <a:p>
            <a:endParaRPr lang="en-US" dirty="0"/>
          </a:p>
        </p:txBody>
      </p:sp>
      <p:sp>
        <p:nvSpPr>
          <p:cNvPr id="5" name="TextBox 4">
            <a:extLst>
              <a:ext uri="{FF2B5EF4-FFF2-40B4-BE49-F238E27FC236}">
                <a16:creationId xmlns:a16="http://schemas.microsoft.com/office/drawing/2014/main" id="{1A623F12-DE68-1814-26E8-A301B07196D5}"/>
              </a:ext>
            </a:extLst>
          </p:cNvPr>
          <p:cNvSpPr txBox="1"/>
          <p:nvPr/>
        </p:nvSpPr>
        <p:spPr>
          <a:xfrm>
            <a:off x="7531768" y="3754992"/>
            <a:ext cx="328863" cy="572309"/>
          </a:xfrm>
          <a:prstGeom prst="rect">
            <a:avLst/>
          </a:prstGeom>
          <a:solidFill>
            <a:schemeClr val="bg1"/>
          </a:solidFill>
        </p:spPr>
        <p:txBody>
          <a:bodyPr wrap="square" rtlCol="0">
            <a:spAutoFit/>
          </a:bodyPr>
          <a:lstStyle/>
          <a:p>
            <a:endParaRPr lang="en-US" dirty="0"/>
          </a:p>
        </p:txBody>
      </p:sp>
      <p:pic>
        <p:nvPicPr>
          <p:cNvPr id="6" name="Picture 5">
            <a:extLst>
              <a:ext uri="{FF2B5EF4-FFF2-40B4-BE49-F238E27FC236}">
                <a16:creationId xmlns:a16="http://schemas.microsoft.com/office/drawing/2014/main" id="{CFA9174C-BCCD-9037-B323-507E034DE893}"/>
              </a:ext>
            </a:extLst>
          </p:cNvPr>
          <p:cNvPicPr>
            <a:picLocks noChangeAspect="1"/>
          </p:cNvPicPr>
          <p:nvPr/>
        </p:nvPicPr>
        <p:blipFill>
          <a:blip r:embed="rId2"/>
          <a:stretch>
            <a:fillRect/>
          </a:stretch>
        </p:blipFill>
        <p:spPr>
          <a:xfrm>
            <a:off x="105096" y="135112"/>
            <a:ext cx="8148567" cy="4192189"/>
          </a:xfrm>
          <a:prstGeom prst="rect">
            <a:avLst/>
          </a:prstGeom>
        </p:spPr>
      </p:pic>
      <p:sp>
        <p:nvSpPr>
          <p:cNvPr id="7" name="Rectangle 6">
            <a:extLst>
              <a:ext uri="{FF2B5EF4-FFF2-40B4-BE49-F238E27FC236}">
                <a16:creationId xmlns:a16="http://schemas.microsoft.com/office/drawing/2014/main" id="{D5A63643-0CE4-3A4B-FD4D-E0865D915FB1}"/>
              </a:ext>
            </a:extLst>
          </p:cNvPr>
          <p:cNvSpPr/>
          <p:nvPr/>
        </p:nvSpPr>
        <p:spPr bwMode="auto">
          <a:xfrm>
            <a:off x="7361405" y="135112"/>
            <a:ext cx="890337" cy="26469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16158615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25FE148-FBAC-E73D-02E9-FCAD835CCA50}"/>
              </a:ext>
            </a:extLst>
          </p:cNvPr>
          <p:cNvSpPr txBox="1"/>
          <p:nvPr/>
        </p:nvSpPr>
        <p:spPr>
          <a:xfrm>
            <a:off x="7507705" y="248653"/>
            <a:ext cx="328863" cy="572309"/>
          </a:xfrm>
          <a:prstGeom prst="rect">
            <a:avLst/>
          </a:prstGeom>
          <a:solidFill>
            <a:schemeClr val="bg1"/>
          </a:solidFill>
        </p:spPr>
        <p:txBody>
          <a:bodyPr wrap="square" rtlCol="0">
            <a:spAutoFit/>
          </a:bodyPr>
          <a:lstStyle/>
          <a:p>
            <a:endParaRPr lang="en-US" dirty="0"/>
          </a:p>
        </p:txBody>
      </p:sp>
      <p:sp>
        <p:nvSpPr>
          <p:cNvPr id="5" name="TextBox 4">
            <a:extLst>
              <a:ext uri="{FF2B5EF4-FFF2-40B4-BE49-F238E27FC236}">
                <a16:creationId xmlns:a16="http://schemas.microsoft.com/office/drawing/2014/main" id="{1A623F12-DE68-1814-26E8-A301B07196D5}"/>
              </a:ext>
            </a:extLst>
          </p:cNvPr>
          <p:cNvSpPr txBox="1"/>
          <p:nvPr/>
        </p:nvSpPr>
        <p:spPr>
          <a:xfrm>
            <a:off x="7531768" y="3754992"/>
            <a:ext cx="328863" cy="572309"/>
          </a:xfrm>
          <a:prstGeom prst="rect">
            <a:avLst/>
          </a:prstGeom>
          <a:solidFill>
            <a:schemeClr val="bg1"/>
          </a:solidFill>
        </p:spPr>
        <p:txBody>
          <a:bodyPr wrap="square" rtlCol="0">
            <a:spAutoFit/>
          </a:bodyPr>
          <a:lstStyle/>
          <a:p>
            <a:endParaRPr lang="en-US" dirty="0"/>
          </a:p>
        </p:txBody>
      </p:sp>
      <p:sp>
        <p:nvSpPr>
          <p:cNvPr id="7" name="Rectangle 6">
            <a:extLst>
              <a:ext uri="{FF2B5EF4-FFF2-40B4-BE49-F238E27FC236}">
                <a16:creationId xmlns:a16="http://schemas.microsoft.com/office/drawing/2014/main" id="{D5A63643-0CE4-3A4B-FD4D-E0865D915FB1}"/>
              </a:ext>
            </a:extLst>
          </p:cNvPr>
          <p:cNvSpPr/>
          <p:nvPr/>
        </p:nvSpPr>
        <p:spPr bwMode="auto">
          <a:xfrm>
            <a:off x="7361405" y="135112"/>
            <a:ext cx="890337" cy="26469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pic>
        <p:nvPicPr>
          <p:cNvPr id="2" name="Picture 1">
            <a:extLst>
              <a:ext uri="{FF2B5EF4-FFF2-40B4-BE49-F238E27FC236}">
                <a16:creationId xmlns:a16="http://schemas.microsoft.com/office/drawing/2014/main" id="{5608DE85-3E9E-D4CA-3B27-365259AF5AC3}"/>
              </a:ext>
            </a:extLst>
          </p:cNvPr>
          <p:cNvPicPr/>
          <p:nvPr/>
        </p:nvPicPr>
        <p:blipFill>
          <a:blip r:embed="rId2"/>
          <a:stretch>
            <a:fillRect/>
          </a:stretch>
        </p:blipFill>
        <p:spPr>
          <a:xfrm>
            <a:off x="-66924" y="0"/>
            <a:ext cx="7903492" cy="4238045"/>
          </a:xfrm>
          <a:prstGeom prst="rect">
            <a:avLst/>
          </a:prstGeom>
        </p:spPr>
      </p:pic>
      <p:sp>
        <p:nvSpPr>
          <p:cNvPr id="3" name="Rectangle 2">
            <a:extLst>
              <a:ext uri="{FF2B5EF4-FFF2-40B4-BE49-F238E27FC236}">
                <a16:creationId xmlns:a16="http://schemas.microsoft.com/office/drawing/2014/main" id="{DC675EEE-8A07-EC81-A871-417B7DFA1670}"/>
              </a:ext>
            </a:extLst>
          </p:cNvPr>
          <p:cNvSpPr/>
          <p:nvPr/>
        </p:nvSpPr>
        <p:spPr bwMode="auto">
          <a:xfrm>
            <a:off x="7673009" y="4094922"/>
            <a:ext cx="163559" cy="14312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387721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25FE148-FBAC-E73D-02E9-FCAD835CCA50}"/>
              </a:ext>
            </a:extLst>
          </p:cNvPr>
          <p:cNvSpPr txBox="1"/>
          <p:nvPr/>
        </p:nvSpPr>
        <p:spPr>
          <a:xfrm>
            <a:off x="7507705" y="248653"/>
            <a:ext cx="328863" cy="572309"/>
          </a:xfrm>
          <a:prstGeom prst="rect">
            <a:avLst/>
          </a:prstGeom>
          <a:solidFill>
            <a:schemeClr val="bg1"/>
          </a:solidFill>
        </p:spPr>
        <p:txBody>
          <a:bodyPr wrap="square" rtlCol="0">
            <a:spAutoFit/>
          </a:bodyPr>
          <a:lstStyle/>
          <a:p>
            <a:endParaRPr lang="en-US" dirty="0"/>
          </a:p>
        </p:txBody>
      </p:sp>
      <p:sp>
        <p:nvSpPr>
          <p:cNvPr id="5" name="TextBox 4">
            <a:extLst>
              <a:ext uri="{FF2B5EF4-FFF2-40B4-BE49-F238E27FC236}">
                <a16:creationId xmlns:a16="http://schemas.microsoft.com/office/drawing/2014/main" id="{1A623F12-DE68-1814-26E8-A301B07196D5}"/>
              </a:ext>
            </a:extLst>
          </p:cNvPr>
          <p:cNvSpPr txBox="1"/>
          <p:nvPr/>
        </p:nvSpPr>
        <p:spPr>
          <a:xfrm>
            <a:off x="7531768" y="3754992"/>
            <a:ext cx="328863" cy="572309"/>
          </a:xfrm>
          <a:prstGeom prst="rect">
            <a:avLst/>
          </a:prstGeom>
          <a:solidFill>
            <a:schemeClr val="bg1"/>
          </a:solidFill>
        </p:spPr>
        <p:txBody>
          <a:bodyPr wrap="square" rtlCol="0">
            <a:spAutoFit/>
          </a:bodyPr>
          <a:lstStyle/>
          <a:p>
            <a:endParaRPr lang="en-US" dirty="0"/>
          </a:p>
        </p:txBody>
      </p:sp>
      <p:sp>
        <p:nvSpPr>
          <p:cNvPr id="7" name="Rectangle 6">
            <a:extLst>
              <a:ext uri="{FF2B5EF4-FFF2-40B4-BE49-F238E27FC236}">
                <a16:creationId xmlns:a16="http://schemas.microsoft.com/office/drawing/2014/main" id="{D5A63643-0CE4-3A4B-FD4D-E0865D915FB1}"/>
              </a:ext>
            </a:extLst>
          </p:cNvPr>
          <p:cNvSpPr/>
          <p:nvPr/>
        </p:nvSpPr>
        <p:spPr bwMode="auto">
          <a:xfrm>
            <a:off x="7361405" y="135112"/>
            <a:ext cx="890337" cy="26469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3" name="Rectangle 2">
            <a:extLst>
              <a:ext uri="{FF2B5EF4-FFF2-40B4-BE49-F238E27FC236}">
                <a16:creationId xmlns:a16="http://schemas.microsoft.com/office/drawing/2014/main" id="{DC675EEE-8A07-EC81-A871-417B7DFA1670}"/>
              </a:ext>
            </a:extLst>
          </p:cNvPr>
          <p:cNvSpPr/>
          <p:nvPr/>
        </p:nvSpPr>
        <p:spPr bwMode="auto">
          <a:xfrm>
            <a:off x="7673009" y="4094922"/>
            <a:ext cx="163559" cy="14312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pic>
        <p:nvPicPr>
          <p:cNvPr id="6" name="Picture 5">
            <a:extLst>
              <a:ext uri="{FF2B5EF4-FFF2-40B4-BE49-F238E27FC236}">
                <a16:creationId xmlns:a16="http://schemas.microsoft.com/office/drawing/2014/main" id="{23398804-8AEF-6EA4-25DF-A7E6DA302AC2}"/>
              </a:ext>
            </a:extLst>
          </p:cNvPr>
          <p:cNvPicPr/>
          <p:nvPr/>
        </p:nvPicPr>
        <p:blipFill>
          <a:blip r:embed="rId2"/>
          <a:stretch>
            <a:fillRect/>
          </a:stretch>
        </p:blipFill>
        <p:spPr>
          <a:xfrm>
            <a:off x="-79513" y="-1"/>
            <a:ext cx="7916081" cy="4327301"/>
          </a:xfrm>
          <a:prstGeom prst="rect">
            <a:avLst/>
          </a:prstGeom>
        </p:spPr>
      </p:pic>
      <p:sp>
        <p:nvSpPr>
          <p:cNvPr id="8" name="Rectangle 7">
            <a:extLst>
              <a:ext uri="{FF2B5EF4-FFF2-40B4-BE49-F238E27FC236}">
                <a16:creationId xmlns:a16="http://schemas.microsoft.com/office/drawing/2014/main" id="{3FEEEE6E-01A6-2686-67EB-130B063A4108}"/>
              </a:ext>
            </a:extLst>
          </p:cNvPr>
          <p:cNvSpPr/>
          <p:nvPr/>
        </p:nvSpPr>
        <p:spPr bwMode="auto">
          <a:xfrm>
            <a:off x="7673009" y="4158532"/>
            <a:ext cx="163559" cy="16876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282409342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25FE148-FBAC-E73D-02E9-FCAD835CCA50}"/>
              </a:ext>
            </a:extLst>
          </p:cNvPr>
          <p:cNvSpPr txBox="1"/>
          <p:nvPr/>
        </p:nvSpPr>
        <p:spPr>
          <a:xfrm>
            <a:off x="7507705" y="248653"/>
            <a:ext cx="328863" cy="572309"/>
          </a:xfrm>
          <a:prstGeom prst="rect">
            <a:avLst/>
          </a:prstGeom>
          <a:solidFill>
            <a:schemeClr val="bg1"/>
          </a:solidFill>
        </p:spPr>
        <p:txBody>
          <a:bodyPr wrap="square" rtlCol="0">
            <a:spAutoFit/>
          </a:bodyPr>
          <a:lstStyle/>
          <a:p>
            <a:endParaRPr lang="en-US" dirty="0"/>
          </a:p>
        </p:txBody>
      </p:sp>
      <p:sp>
        <p:nvSpPr>
          <p:cNvPr id="5" name="TextBox 4">
            <a:extLst>
              <a:ext uri="{FF2B5EF4-FFF2-40B4-BE49-F238E27FC236}">
                <a16:creationId xmlns:a16="http://schemas.microsoft.com/office/drawing/2014/main" id="{1A623F12-DE68-1814-26E8-A301B07196D5}"/>
              </a:ext>
            </a:extLst>
          </p:cNvPr>
          <p:cNvSpPr txBox="1"/>
          <p:nvPr/>
        </p:nvSpPr>
        <p:spPr>
          <a:xfrm>
            <a:off x="7531768" y="3754992"/>
            <a:ext cx="328863" cy="572309"/>
          </a:xfrm>
          <a:prstGeom prst="rect">
            <a:avLst/>
          </a:prstGeom>
          <a:solidFill>
            <a:schemeClr val="bg1"/>
          </a:solidFill>
        </p:spPr>
        <p:txBody>
          <a:bodyPr wrap="square" rtlCol="0">
            <a:spAutoFit/>
          </a:bodyPr>
          <a:lstStyle/>
          <a:p>
            <a:endParaRPr lang="en-US" dirty="0"/>
          </a:p>
        </p:txBody>
      </p:sp>
      <p:sp>
        <p:nvSpPr>
          <p:cNvPr id="7" name="Rectangle 6">
            <a:extLst>
              <a:ext uri="{FF2B5EF4-FFF2-40B4-BE49-F238E27FC236}">
                <a16:creationId xmlns:a16="http://schemas.microsoft.com/office/drawing/2014/main" id="{D5A63643-0CE4-3A4B-FD4D-E0865D915FB1}"/>
              </a:ext>
            </a:extLst>
          </p:cNvPr>
          <p:cNvSpPr/>
          <p:nvPr/>
        </p:nvSpPr>
        <p:spPr bwMode="auto">
          <a:xfrm>
            <a:off x="7361405" y="135112"/>
            <a:ext cx="890337" cy="26469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3" name="Rectangle 2">
            <a:extLst>
              <a:ext uri="{FF2B5EF4-FFF2-40B4-BE49-F238E27FC236}">
                <a16:creationId xmlns:a16="http://schemas.microsoft.com/office/drawing/2014/main" id="{DC675EEE-8A07-EC81-A871-417B7DFA1670}"/>
              </a:ext>
            </a:extLst>
          </p:cNvPr>
          <p:cNvSpPr/>
          <p:nvPr/>
        </p:nvSpPr>
        <p:spPr bwMode="auto">
          <a:xfrm>
            <a:off x="7673009" y="4094922"/>
            <a:ext cx="163559" cy="14312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8" name="Rectangle 7">
            <a:extLst>
              <a:ext uri="{FF2B5EF4-FFF2-40B4-BE49-F238E27FC236}">
                <a16:creationId xmlns:a16="http://schemas.microsoft.com/office/drawing/2014/main" id="{3FEEEE6E-01A6-2686-67EB-130B063A4108}"/>
              </a:ext>
            </a:extLst>
          </p:cNvPr>
          <p:cNvSpPr/>
          <p:nvPr/>
        </p:nvSpPr>
        <p:spPr bwMode="auto">
          <a:xfrm>
            <a:off x="7673009" y="4158532"/>
            <a:ext cx="163559" cy="16876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pic>
        <p:nvPicPr>
          <p:cNvPr id="2" name="Picture 1">
            <a:extLst>
              <a:ext uri="{FF2B5EF4-FFF2-40B4-BE49-F238E27FC236}">
                <a16:creationId xmlns:a16="http://schemas.microsoft.com/office/drawing/2014/main" id="{433963BD-4865-5B37-4586-5B1F4CB86E4D}"/>
              </a:ext>
            </a:extLst>
          </p:cNvPr>
          <p:cNvPicPr/>
          <p:nvPr/>
        </p:nvPicPr>
        <p:blipFill>
          <a:blip r:embed="rId2"/>
          <a:stretch>
            <a:fillRect/>
          </a:stretch>
        </p:blipFill>
        <p:spPr>
          <a:xfrm>
            <a:off x="-71561" y="1"/>
            <a:ext cx="7932192" cy="4327300"/>
          </a:xfrm>
          <a:prstGeom prst="rect">
            <a:avLst/>
          </a:prstGeom>
        </p:spPr>
      </p:pic>
      <p:sp>
        <p:nvSpPr>
          <p:cNvPr id="9" name="Rectangle 8">
            <a:extLst>
              <a:ext uri="{FF2B5EF4-FFF2-40B4-BE49-F238E27FC236}">
                <a16:creationId xmlns:a16="http://schemas.microsoft.com/office/drawing/2014/main" id="{F648DC10-3EEB-1BA0-5D9E-EFF3CBA35112}"/>
              </a:ext>
            </a:extLst>
          </p:cNvPr>
          <p:cNvSpPr/>
          <p:nvPr/>
        </p:nvSpPr>
        <p:spPr bwMode="auto">
          <a:xfrm>
            <a:off x="7673009" y="4158532"/>
            <a:ext cx="163559" cy="16876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12816629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25FE148-FBAC-E73D-02E9-FCAD835CCA50}"/>
              </a:ext>
            </a:extLst>
          </p:cNvPr>
          <p:cNvSpPr txBox="1"/>
          <p:nvPr/>
        </p:nvSpPr>
        <p:spPr>
          <a:xfrm>
            <a:off x="7507705" y="248653"/>
            <a:ext cx="328863" cy="572309"/>
          </a:xfrm>
          <a:prstGeom prst="rect">
            <a:avLst/>
          </a:prstGeom>
          <a:solidFill>
            <a:schemeClr val="bg1"/>
          </a:solidFill>
        </p:spPr>
        <p:txBody>
          <a:bodyPr wrap="square" rtlCol="0">
            <a:spAutoFit/>
          </a:bodyPr>
          <a:lstStyle/>
          <a:p>
            <a:endParaRPr lang="en-US" dirty="0"/>
          </a:p>
        </p:txBody>
      </p:sp>
      <p:sp>
        <p:nvSpPr>
          <p:cNvPr id="5" name="TextBox 4">
            <a:extLst>
              <a:ext uri="{FF2B5EF4-FFF2-40B4-BE49-F238E27FC236}">
                <a16:creationId xmlns:a16="http://schemas.microsoft.com/office/drawing/2014/main" id="{1A623F12-DE68-1814-26E8-A301B07196D5}"/>
              </a:ext>
            </a:extLst>
          </p:cNvPr>
          <p:cNvSpPr txBox="1"/>
          <p:nvPr/>
        </p:nvSpPr>
        <p:spPr>
          <a:xfrm>
            <a:off x="7531768" y="3754992"/>
            <a:ext cx="328863" cy="572309"/>
          </a:xfrm>
          <a:prstGeom prst="rect">
            <a:avLst/>
          </a:prstGeom>
          <a:solidFill>
            <a:schemeClr val="bg1"/>
          </a:solidFill>
        </p:spPr>
        <p:txBody>
          <a:bodyPr wrap="square" rtlCol="0">
            <a:spAutoFit/>
          </a:bodyPr>
          <a:lstStyle/>
          <a:p>
            <a:endParaRPr lang="en-US" dirty="0"/>
          </a:p>
        </p:txBody>
      </p:sp>
      <p:sp>
        <p:nvSpPr>
          <p:cNvPr id="7" name="Rectangle 6">
            <a:extLst>
              <a:ext uri="{FF2B5EF4-FFF2-40B4-BE49-F238E27FC236}">
                <a16:creationId xmlns:a16="http://schemas.microsoft.com/office/drawing/2014/main" id="{D5A63643-0CE4-3A4B-FD4D-E0865D915FB1}"/>
              </a:ext>
            </a:extLst>
          </p:cNvPr>
          <p:cNvSpPr/>
          <p:nvPr/>
        </p:nvSpPr>
        <p:spPr bwMode="auto">
          <a:xfrm>
            <a:off x="7361405" y="135112"/>
            <a:ext cx="890337" cy="26469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3" name="Rectangle 2">
            <a:extLst>
              <a:ext uri="{FF2B5EF4-FFF2-40B4-BE49-F238E27FC236}">
                <a16:creationId xmlns:a16="http://schemas.microsoft.com/office/drawing/2014/main" id="{DC675EEE-8A07-EC81-A871-417B7DFA1670}"/>
              </a:ext>
            </a:extLst>
          </p:cNvPr>
          <p:cNvSpPr/>
          <p:nvPr/>
        </p:nvSpPr>
        <p:spPr bwMode="auto">
          <a:xfrm>
            <a:off x="7673009" y="4094922"/>
            <a:ext cx="163559" cy="14312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8" name="Rectangle 7">
            <a:extLst>
              <a:ext uri="{FF2B5EF4-FFF2-40B4-BE49-F238E27FC236}">
                <a16:creationId xmlns:a16="http://schemas.microsoft.com/office/drawing/2014/main" id="{3FEEEE6E-01A6-2686-67EB-130B063A4108}"/>
              </a:ext>
            </a:extLst>
          </p:cNvPr>
          <p:cNvSpPr/>
          <p:nvPr/>
        </p:nvSpPr>
        <p:spPr bwMode="auto">
          <a:xfrm>
            <a:off x="7673009" y="4158532"/>
            <a:ext cx="163559" cy="16876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9" name="Rectangle 8">
            <a:extLst>
              <a:ext uri="{FF2B5EF4-FFF2-40B4-BE49-F238E27FC236}">
                <a16:creationId xmlns:a16="http://schemas.microsoft.com/office/drawing/2014/main" id="{F648DC10-3EEB-1BA0-5D9E-EFF3CBA35112}"/>
              </a:ext>
            </a:extLst>
          </p:cNvPr>
          <p:cNvSpPr/>
          <p:nvPr/>
        </p:nvSpPr>
        <p:spPr bwMode="auto">
          <a:xfrm>
            <a:off x="7673009" y="4158532"/>
            <a:ext cx="163559" cy="16876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pic>
        <p:nvPicPr>
          <p:cNvPr id="6" name="Picture 5">
            <a:extLst>
              <a:ext uri="{FF2B5EF4-FFF2-40B4-BE49-F238E27FC236}">
                <a16:creationId xmlns:a16="http://schemas.microsoft.com/office/drawing/2014/main" id="{12184C22-FBE5-8C88-1703-9F39F1BC83A3}"/>
              </a:ext>
            </a:extLst>
          </p:cNvPr>
          <p:cNvPicPr/>
          <p:nvPr/>
        </p:nvPicPr>
        <p:blipFill>
          <a:blip r:embed="rId2"/>
          <a:stretch>
            <a:fillRect/>
          </a:stretch>
        </p:blipFill>
        <p:spPr>
          <a:xfrm>
            <a:off x="-50084" y="0"/>
            <a:ext cx="7722220" cy="4327300"/>
          </a:xfrm>
          <a:prstGeom prst="rect">
            <a:avLst/>
          </a:prstGeom>
        </p:spPr>
      </p:pic>
      <p:sp>
        <p:nvSpPr>
          <p:cNvPr id="10" name="Rectangle 9">
            <a:extLst>
              <a:ext uri="{FF2B5EF4-FFF2-40B4-BE49-F238E27FC236}">
                <a16:creationId xmlns:a16="http://schemas.microsoft.com/office/drawing/2014/main" id="{8EB9CB1A-F7C7-E36E-359D-784E65D6FD15}"/>
              </a:ext>
            </a:extLst>
          </p:cNvPr>
          <p:cNvSpPr/>
          <p:nvPr/>
        </p:nvSpPr>
        <p:spPr bwMode="auto">
          <a:xfrm>
            <a:off x="7507705" y="4166483"/>
            <a:ext cx="141241" cy="16081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132367302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25FE148-FBAC-E73D-02E9-FCAD835CCA50}"/>
              </a:ext>
            </a:extLst>
          </p:cNvPr>
          <p:cNvSpPr txBox="1"/>
          <p:nvPr/>
        </p:nvSpPr>
        <p:spPr>
          <a:xfrm>
            <a:off x="7507705" y="248653"/>
            <a:ext cx="328863" cy="572309"/>
          </a:xfrm>
          <a:prstGeom prst="rect">
            <a:avLst/>
          </a:prstGeom>
          <a:solidFill>
            <a:schemeClr val="bg1"/>
          </a:solidFill>
        </p:spPr>
        <p:txBody>
          <a:bodyPr wrap="square" rtlCol="0">
            <a:spAutoFit/>
          </a:bodyPr>
          <a:lstStyle/>
          <a:p>
            <a:endParaRPr lang="en-US" dirty="0"/>
          </a:p>
        </p:txBody>
      </p:sp>
      <p:sp>
        <p:nvSpPr>
          <p:cNvPr id="5" name="TextBox 4">
            <a:extLst>
              <a:ext uri="{FF2B5EF4-FFF2-40B4-BE49-F238E27FC236}">
                <a16:creationId xmlns:a16="http://schemas.microsoft.com/office/drawing/2014/main" id="{1A623F12-DE68-1814-26E8-A301B07196D5}"/>
              </a:ext>
            </a:extLst>
          </p:cNvPr>
          <p:cNvSpPr txBox="1"/>
          <p:nvPr/>
        </p:nvSpPr>
        <p:spPr>
          <a:xfrm>
            <a:off x="7531768" y="3754992"/>
            <a:ext cx="328863" cy="572309"/>
          </a:xfrm>
          <a:prstGeom prst="rect">
            <a:avLst/>
          </a:prstGeom>
          <a:solidFill>
            <a:schemeClr val="bg1"/>
          </a:solidFill>
        </p:spPr>
        <p:txBody>
          <a:bodyPr wrap="square" rtlCol="0">
            <a:spAutoFit/>
          </a:bodyPr>
          <a:lstStyle/>
          <a:p>
            <a:endParaRPr lang="en-US" dirty="0"/>
          </a:p>
        </p:txBody>
      </p:sp>
      <p:sp>
        <p:nvSpPr>
          <p:cNvPr id="7" name="Rectangle 6">
            <a:extLst>
              <a:ext uri="{FF2B5EF4-FFF2-40B4-BE49-F238E27FC236}">
                <a16:creationId xmlns:a16="http://schemas.microsoft.com/office/drawing/2014/main" id="{D5A63643-0CE4-3A4B-FD4D-E0865D915FB1}"/>
              </a:ext>
            </a:extLst>
          </p:cNvPr>
          <p:cNvSpPr/>
          <p:nvPr/>
        </p:nvSpPr>
        <p:spPr bwMode="auto">
          <a:xfrm>
            <a:off x="7361405" y="135112"/>
            <a:ext cx="890337" cy="26469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3" name="Rectangle 2">
            <a:extLst>
              <a:ext uri="{FF2B5EF4-FFF2-40B4-BE49-F238E27FC236}">
                <a16:creationId xmlns:a16="http://schemas.microsoft.com/office/drawing/2014/main" id="{DC675EEE-8A07-EC81-A871-417B7DFA1670}"/>
              </a:ext>
            </a:extLst>
          </p:cNvPr>
          <p:cNvSpPr/>
          <p:nvPr/>
        </p:nvSpPr>
        <p:spPr bwMode="auto">
          <a:xfrm>
            <a:off x="7673009" y="4094922"/>
            <a:ext cx="163559" cy="14312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8" name="Rectangle 7">
            <a:extLst>
              <a:ext uri="{FF2B5EF4-FFF2-40B4-BE49-F238E27FC236}">
                <a16:creationId xmlns:a16="http://schemas.microsoft.com/office/drawing/2014/main" id="{3FEEEE6E-01A6-2686-67EB-130B063A4108}"/>
              </a:ext>
            </a:extLst>
          </p:cNvPr>
          <p:cNvSpPr/>
          <p:nvPr/>
        </p:nvSpPr>
        <p:spPr bwMode="auto">
          <a:xfrm>
            <a:off x="7673009" y="4158532"/>
            <a:ext cx="163559" cy="16876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9" name="Rectangle 8">
            <a:extLst>
              <a:ext uri="{FF2B5EF4-FFF2-40B4-BE49-F238E27FC236}">
                <a16:creationId xmlns:a16="http://schemas.microsoft.com/office/drawing/2014/main" id="{F648DC10-3EEB-1BA0-5D9E-EFF3CBA35112}"/>
              </a:ext>
            </a:extLst>
          </p:cNvPr>
          <p:cNvSpPr/>
          <p:nvPr/>
        </p:nvSpPr>
        <p:spPr bwMode="auto">
          <a:xfrm>
            <a:off x="7673009" y="4158532"/>
            <a:ext cx="163559" cy="16876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10" name="Rectangle 9">
            <a:extLst>
              <a:ext uri="{FF2B5EF4-FFF2-40B4-BE49-F238E27FC236}">
                <a16:creationId xmlns:a16="http://schemas.microsoft.com/office/drawing/2014/main" id="{8EB9CB1A-F7C7-E36E-359D-784E65D6FD15}"/>
              </a:ext>
            </a:extLst>
          </p:cNvPr>
          <p:cNvSpPr/>
          <p:nvPr/>
        </p:nvSpPr>
        <p:spPr bwMode="auto">
          <a:xfrm>
            <a:off x="7507705" y="4166483"/>
            <a:ext cx="141241" cy="16081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pic>
        <p:nvPicPr>
          <p:cNvPr id="2" name="Picture 1">
            <a:extLst>
              <a:ext uri="{FF2B5EF4-FFF2-40B4-BE49-F238E27FC236}">
                <a16:creationId xmlns:a16="http://schemas.microsoft.com/office/drawing/2014/main" id="{9229C7D8-5C48-B801-8D30-6309207963EA}"/>
              </a:ext>
            </a:extLst>
          </p:cNvPr>
          <p:cNvPicPr/>
          <p:nvPr/>
        </p:nvPicPr>
        <p:blipFill>
          <a:blip r:embed="rId2"/>
          <a:stretch>
            <a:fillRect/>
          </a:stretch>
        </p:blipFill>
        <p:spPr>
          <a:xfrm>
            <a:off x="-87465" y="0"/>
            <a:ext cx="7619233" cy="4327301"/>
          </a:xfrm>
          <a:prstGeom prst="rect">
            <a:avLst/>
          </a:prstGeom>
        </p:spPr>
      </p:pic>
      <p:sp>
        <p:nvSpPr>
          <p:cNvPr id="11" name="Rectangle 10">
            <a:extLst>
              <a:ext uri="{FF2B5EF4-FFF2-40B4-BE49-F238E27FC236}">
                <a16:creationId xmlns:a16="http://schemas.microsoft.com/office/drawing/2014/main" id="{A1C43733-1AC2-6045-8F9D-399867320357}"/>
              </a:ext>
            </a:extLst>
          </p:cNvPr>
          <p:cNvSpPr/>
          <p:nvPr/>
        </p:nvSpPr>
        <p:spPr bwMode="auto">
          <a:xfrm>
            <a:off x="7361405" y="4166483"/>
            <a:ext cx="146300" cy="16081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32421559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0C114EF-FD1D-1FD2-8880-5BD7AE8F1B57}"/>
              </a:ext>
            </a:extLst>
          </p:cNvPr>
          <p:cNvPicPr>
            <a:picLocks noChangeAspect="1"/>
          </p:cNvPicPr>
          <p:nvPr/>
        </p:nvPicPr>
        <p:blipFill>
          <a:blip r:embed="rId2"/>
          <a:stretch>
            <a:fillRect/>
          </a:stretch>
        </p:blipFill>
        <p:spPr>
          <a:xfrm>
            <a:off x="-69273" y="-64885"/>
            <a:ext cx="9213273" cy="4443073"/>
          </a:xfrm>
          <a:prstGeom prst="rect">
            <a:avLst/>
          </a:prstGeom>
        </p:spPr>
      </p:pic>
    </p:spTree>
    <p:extLst>
      <p:ext uri="{BB962C8B-B14F-4D97-AF65-F5344CB8AC3E}">
        <p14:creationId xmlns:p14="http://schemas.microsoft.com/office/powerpoint/2010/main" val="2359932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25FE148-FBAC-E73D-02E9-FCAD835CCA50}"/>
              </a:ext>
            </a:extLst>
          </p:cNvPr>
          <p:cNvSpPr txBox="1"/>
          <p:nvPr/>
        </p:nvSpPr>
        <p:spPr>
          <a:xfrm>
            <a:off x="7507705" y="248653"/>
            <a:ext cx="328863" cy="572309"/>
          </a:xfrm>
          <a:prstGeom prst="rect">
            <a:avLst/>
          </a:prstGeom>
          <a:solidFill>
            <a:schemeClr val="bg1"/>
          </a:solidFill>
        </p:spPr>
        <p:txBody>
          <a:bodyPr wrap="square" rtlCol="0">
            <a:spAutoFit/>
          </a:bodyPr>
          <a:lstStyle/>
          <a:p>
            <a:endParaRPr lang="en-US" dirty="0"/>
          </a:p>
        </p:txBody>
      </p:sp>
      <p:sp>
        <p:nvSpPr>
          <p:cNvPr id="5" name="TextBox 4">
            <a:extLst>
              <a:ext uri="{FF2B5EF4-FFF2-40B4-BE49-F238E27FC236}">
                <a16:creationId xmlns:a16="http://schemas.microsoft.com/office/drawing/2014/main" id="{1A623F12-DE68-1814-26E8-A301B07196D5}"/>
              </a:ext>
            </a:extLst>
          </p:cNvPr>
          <p:cNvSpPr txBox="1"/>
          <p:nvPr/>
        </p:nvSpPr>
        <p:spPr>
          <a:xfrm>
            <a:off x="7531768" y="3754992"/>
            <a:ext cx="328863" cy="572309"/>
          </a:xfrm>
          <a:prstGeom prst="rect">
            <a:avLst/>
          </a:prstGeom>
          <a:solidFill>
            <a:schemeClr val="bg1"/>
          </a:solidFill>
        </p:spPr>
        <p:txBody>
          <a:bodyPr wrap="square" rtlCol="0">
            <a:spAutoFit/>
          </a:bodyPr>
          <a:lstStyle/>
          <a:p>
            <a:endParaRPr lang="en-US" dirty="0"/>
          </a:p>
        </p:txBody>
      </p:sp>
      <p:sp>
        <p:nvSpPr>
          <p:cNvPr id="7" name="Rectangle 6">
            <a:extLst>
              <a:ext uri="{FF2B5EF4-FFF2-40B4-BE49-F238E27FC236}">
                <a16:creationId xmlns:a16="http://schemas.microsoft.com/office/drawing/2014/main" id="{D5A63643-0CE4-3A4B-FD4D-E0865D915FB1}"/>
              </a:ext>
            </a:extLst>
          </p:cNvPr>
          <p:cNvSpPr/>
          <p:nvPr/>
        </p:nvSpPr>
        <p:spPr bwMode="auto">
          <a:xfrm>
            <a:off x="7361405" y="135112"/>
            <a:ext cx="890337" cy="26469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3" name="Rectangle 2">
            <a:extLst>
              <a:ext uri="{FF2B5EF4-FFF2-40B4-BE49-F238E27FC236}">
                <a16:creationId xmlns:a16="http://schemas.microsoft.com/office/drawing/2014/main" id="{DC675EEE-8A07-EC81-A871-417B7DFA1670}"/>
              </a:ext>
            </a:extLst>
          </p:cNvPr>
          <p:cNvSpPr/>
          <p:nvPr/>
        </p:nvSpPr>
        <p:spPr bwMode="auto">
          <a:xfrm>
            <a:off x="7673009" y="4094922"/>
            <a:ext cx="163559" cy="14312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8" name="Rectangle 7">
            <a:extLst>
              <a:ext uri="{FF2B5EF4-FFF2-40B4-BE49-F238E27FC236}">
                <a16:creationId xmlns:a16="http://schemas.microsoft.com/office/drawing/2014/main" id="{3FEEEE6E-01A6-2686-67EB-130B063A4108}"/>
              </a:ext>
            </a:extLst>
          </p:cNvPr>
          <p:cNvSpPr/>
          <p:nvPr/>
        </p:nvSpPr>
        <p:spPr bwMode="auto">
          <a:xfrm>
            <a:off x="7673009" y="4158532"/>
            <a:ext cx="163559" cy="16876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9" name="Rectangle 8">
            <a:extLst>
              <a:ext uri="{FF2B5EF4-FFF2-40B4-BE49-F238E27FC236}">
                <a16:creationId xmlns:a16="http://schemas.microsoft.com/office/drawing/2014/main" id="{F648DC10-3EEB-1BA0-5D9E-EFF3CBA35112}"/>
              </a:ext>
            </a:extLst>
          </p:cNvPr>
          <p:cNvSpPr/>
          <p:nvPr/>
        </p:nvSpPr>
        <p:spPr bwMode="auto">
          <a:xfrm>
            <a:off x="7673009" y="4158532"/>
            <a:ext cx="163559" cy="16876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10" name="Rectangle 9">
            <a:extLst>
              <a:ext uri="{FF2B5EF4-FFF2-40B4-BE49-F238E27FC236}">
                <a16:creationId xmlns:a16="http://schemas.microsoft.com/office/drawing/2014/main" id="{8EB9CB1A-F7C7-E36E-359D-784E65D6FD15}"/>
              </a:ext>
            </a:extLst>
          </p:cNvPr>
          <p:cNvSpPr/>
          <p:nvPr/>
        </p:nvSpPr>
        <p:spPr bwMode="auto">
          <a:xfrm>
            <a:off x="7507705" y="4166483"/>
            <a:ext cx="141241" cy="16081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11" name="Rectangle 10">
            <a:extLst>
              <a:ext uri="{FF2B5EF4-FFF2-40B4-BE49-F238E27FC236}">
                <a16:creationId xmlns:a16="http://schemas.microsoft.com/office/drawing/2014/main" id="{A1C43733-1AC2-6045-8F9D-399867320357}"/>
              </a:ext>
            </a:extLst>
          </p:cNvPr>
          <p:cNvSpPr/>
          <p:nvPr/>
        </p:nvSpPr>
        <p:spPr bwMode="auto">
          <a:xfrm>
            <a:off x="7361405" y="4166483"/>
            <a:ext cx="146300" cy="16081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pic>
        <p:nvPicPr>
          <p:cNvPr id="6" name="Picture 5" descr="JAK2.jpg">
            <a:extLst>
              <a:ext uri="{FF2B5EF4-FFF2-40B4-BE49-F238E27FC236}">
                <a16:creationId xmlns:a16="http://schemas.microsoft.com/office/drawing/2014/main" id="{784A2877-5A5B-85B5-AA35-A6C0E10192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318" y="610265"/>
            <a:ext cx="7250087" cy="3717036"/>
          </a:xfrm>
          <a:prstGeom prst="rect">
            <a:avLst/>
          </a:prstGeom>
        </p:spPr>
      </p:pic>
    </p:spTree>
    <p:extLst>
      <p:ext uri="{BB962C8B-B14F-4D97-AF65-F5344CB8AC3E}">
        <p14:creationId xmlns:p14="http://schemas.microsoft.com/office/powerpoint/2010/main" val="285983986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764D8A-519B-DD4A-C642-A79DF134912A}"/>
              </a:ext>
            </a:extLst>
          </p:cNvPr>
          <p:cNvSpPr/>
          <p:nvPr/>
        </p:nvSpPr>
        <p:spPr>
          <a:xfrm>
            <a:off x="0" y="2586831"/>
            <a:ext cx="9129925" cy="461665"/>
          </a:xfrm>
          <a:prstGeom prst="rect">
            <a:avLst/>
          </a:prstGeom>
        </p:spPr>
        <p:txBody>
          <a:bodyPr wrap="square">
            <a:spAutoFit/>
          </a:bodyPr>
          <a:lstStyle/>
          <a:p>
            <a:pPr algn="ctr"/>
            <a:r>
              <a:rPr lang="en-US" spc="600" dirty="0">
                <a:solidFill>
                  <a:srgbClr val="FFC82C"/>
                </a:solidFill>
                <a:latin typeface="Corporate A Medium" panose="02000503080000020004" pitchFamily="2" charset="0"/>
              </a:rPr>
              <a:t>Hematologic Malignancies</a:t>
            </a:r>
          </a:p>
        </p:txBody>
      </p:sp>
      <p:sp>
        <p:nvSpPr>
          <p:cNvPr id="3" name="Rectangle 2">
            <a:extLst>
              <a:ext uri="{FF2B5EF4-FFF2-40B4-BE49-F238E27FC236}">
                <a16:creationId xmlns:a16="http://schemas.microsoft.com/office/drawing/2014/main" id="{2CD37E42-E2E3-0CF1-91DF-51880A7249F7}"/>
              </a:ext>
            </a:extLst>
          </p:cNvPr>
          <p:cNvSpPr/>
          <p:nvPr/>
        </p:nvSpPr>
        <p:spPr>
          <a:xfrm>
            <a:off x="14075" y="3073896"/>
            <a:ext cx="9129925" cy="338554"/>
          </a:xfrm>
          <a:prstGeom prst="rect">
            <a:avLst/>
          </a:prstGeom>
        </p:spPr>
        <p:txBody>
          <a:bodyPr wrap="square">
            <a:spAutoFit/>
          </a:bodyPr>
          <a:lstStyle/>
          <a:p>
            <a:pPr algn="ctr"/>
            <a:r>
              <a:rPr lang="en-US" sz="1600" dirty="0">
                <a:solidFill>
                  <a:schemeClr val="bg1"/>
                </a:solidFill>
                <a:latin typeface="Corporate S Demi" panose="02020500000000000000" pitchFamily="18" charset="0"/>
              </a:rPr>
              <a:t>May 9</a:t>
            </a:r>
            <a:r>
              <a:rPr lang="en-US" sz="1600" baseline="30000" dirty="0">
                <a:solidFill>
                  <a:schemeClr val="bg1"/>
                </a:solidFill>
                <a:latin typeface="Corporate S Demi" panose="02020500000000000000" pitchFamily="18" charset="0"/>
              </a:rPr>
              <a:t>th</a:t>
            </a:r>
            <a:r>
              <a:rPr lang="en-US" sz="1600" dirty="0">
                <a:solidFill>
                  <a:schemeClr val="bg1"/>
                </a:solidFill>
                <a:latin typeface="Corporate S Demi" panose="02020500000000000000" pitchFamily="18" charset="0"/>
              </a:rPr>
              <a:t>, 2024</a:t>
            </a:r>
          </a:p>
        </p:txBody>
      </p:sp>
    </p:spTree>
    <p:extLst>
      <p:ext uri="{BB962C8B-B14F-4D97-AF65-F5344CB8AC3E}">
        <p14:creationId xmlns:p14="http://schemas.microsoft.com/office/powerpoint/2010/main" val="17676047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1371600" y="1798064"/>
            <a:ext cx="6400800" cy="2204975"/>
          </a:xfrm>
        </p:spPr>
        <p:txBody>
          <a:bodyPr/>
          <a:lstStyle/>
          <a:p>
            <a:r>
              <a:rPr lang="en-US" b="1" dirty="0">
                <a:solidFill>
                  <a:srgbClr val="002E51"/>
                </a:solidFill>
              </a:rPr>
              <a:t>Alison Sehgal, MD</a:t>
            </a:r>
          </a:p>
          <a:p>
            <a:r>
              <a:rPr lang="en-US" dirty="0">
                <a:solidFill>
                  <a:srgbClr val="002E51"/>
                </a:solidFill>
              </a:rPr>
              <a:t>Clinical Assistant Professor of Medicine</a:t>
            </a:r>
          </a:p>
          <a:p>
            <a:r>
              <a:rPr lang="en-US" dirty="0">
                <a:solidFill>
                  <a:srgbClr val="002E51"/>
                </a:solidFill>
              </a:rPr>
              <a:t>Hillman Cancer Center, UPMC</a:t>
            </a:r>
          </a:p>
          <a:p>
            <a:r>
              <a:rPr lang="en-US" dirty="0">
                <a:solidFill>
                  <a:srgbClr val="002E51"/>
                </a:solidFill>
              </a:rPr>
              <a:t>Pittsburgh, PA</a:t>
            </a:r>
          </a:p>
        </p:txBody>
      </p:sp>
      <p:sp>
        <p:nvSpPr>
          <p:cNvPr id="4" name="Title 3"/>
          <p:cNvSpPr>
            <a:spLocks noGrp="1"/>
          </p:cNvSpPr>
          <p:nvPr>
            <p:ph type="title"/>
          </p:nvPr>
        </p:nvSpPr>
        <p:spPr>
          <a:xfrm>
            <a:off x="0" y="127465"/>
            <a:ext cx="9144000" cy="786936"/>
          </a:xfrm>
        </p:spPr>
        <p:txBody>
          <a:bodyPr/>
          <a:lstStyle/>
          <a:p>
            <a:r>
              <a:rPr lang="en-US" b="1" dirty="0">
                <a:solidFill>
                  <a:srgbClr val="002E51"/>
                </a:solidFill>
              </a:rPr>
              <a:t>Management of Myelodysplastic Syndrome</a:t>
            </a:r>
          </a:p>
        </p:txBody>
      </p:sp>
    </p:spTree>
    <p:extLst>
      <p:ext uri="{BB962C8B-B14F-4D97-AF65-F5344CB8AC3E}">
        <p14:creationId xmlns:p14="http://schemas.microsoft.com/office/powerpoint/2010/main" val="292718969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B560A2F-F980-88F6-B53D-0443F26CB220}"/>
              </a:ext>
            </a:extLst>
          </p:cNvPr>
          <p:cNvSpPr>
            <a:spLocks noGrp="1"/>
          </p:cNvSpPr>
          <p:nvPr>
            <p:ph sz="half" idx="1"/>
          </p:nvPr>
        </p:nvSpPr>
        <p:spPr>
          <a:xfrm>
            <a:off x="80682" y="286871"/>
            <a:ext cx="4415118" cy="3766969"/>
          </a:xfrm>
        </p:spPr>
        <p:txBody>
          <a:bodyPr/>
          <a:lstStyle/>
          <a:p>
            <a:r>
              <a:rPr lang="en-US" dirty="0"/>
              <a:t>Prognostic category guides management of MDS</a:t>
            </a:r>
          </a:p>
          <a:p>
            <a:pPr lvl="1"/>
            <a:r>
              <a:rPr lang="en-US" dirty="0"/>
              <a:t>R-IPSS</a:t>
            </a:r>
            <a:r>
              <a:rPr lang="en-US" baseline="30000" dirty="0"/>
              <a:t>1</a:t>
            </a:r>
          </a:p>
          <a:p>
            <a:pPr lvl="1"/>
            <a:endParaRPr lang="en-US" dirty="0"/>
          </a:p>
        </p:txBody>
      </p:sp>
      <p:pic>
        <p:nvPicPr>
          <p:cNvPr id="1026" name="Picture 2">
            <a:extLst>
              <a:ext uri="{FF2B5EF4-FFF2-40B4-BE49-F238E27FC236}">
                <a16:creationId xmlns:a16="http://schemas.microsoft.com/office/drawing/2014/main" id="{0C78159D-9440-62AB-3AE3-A431CCE3E5D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36855" y="215152"/>
            <a:ext cx="3061089" cy="392531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DFE8D6C5-BBAB-0ECB-73D5-7FBD29472D2C}"/>
              </a:ext>
            </a:extLst>
          </p:cNvPr>
          <p:cNvPicPr>
            <a:picLocks noChangeAspect="1"/>
          </p:cNvPicPr>
          <p:nvPr/>
        </p:nvPicPr>
        <p:blipFill>
          <a:blip r:embed="rId3"/>
          <a:stretch>
            <a:fillRect/>
          </a:stretch>
        </p:blipFill>
        <p:spPr>
          <a:xfrm>
            <a:off x="294994" y="2177808"/>
            <a:ext cx="6581775" cy="1609725"/>
          </a:xfrm>
          <a:prstGeom prst="rect">
            <a:avLst/>
          </a:prstGeom>
        </p:spPr>
      </p:pic>
      <p:sp>
        <p:nvSpPr>
          <p:cNvPr id="10" name="TextBox 9">
            <a:extLst>
              <a:ext uri="{FF2B5EF4-FFF2-40B4-BE49-F238E27FC236}">
                <a16:creationId xmlns:a16="http://schemas.microsoft.com/office/drawing/2014/main" id="{18FDE162-9312-CD05-0C04-5C1AE9C27411}"/>
              </a:ext>
            </a:extLst>
          </p:cNvPr>
          <p:cNvSpPr txBox="1"/>
          <p:nvPr/>
        </p:nvSpPr>
        <p:spPr>
          <a:xfrm>
            <a:off x="80682" y="4092012"/>
            <a:ext cx="8784771" cy="261610"/>
          </a:xfrm>
          <a:prstGeom prst="rect">
            <a:avLst/>
          </a:prstGeom>
          <a:noFill/>
        </p:spPr>
        <p:txBody>
          <a:bodyPr wrap="square" rtlCol="0">
            <a:spAutoFit/>
          </a:bodyPr>
          <a:lstStyle/>
          <a:p>
            <a:r>
              <a:rPr lang="en-US" sz="1100" b="0" i="0" dirty="0">
                <a:solidFill>
                  <a:srgbClr val="333333"/>
                </a:solidFill>
                <a:effectLst/>
                <a:latin typeface="CenturyGothic"/>
              </a:rPr>
              <a:t>1. Greenberg, </a:t>
            </a:r>
            <a:r>
              <a:rPr lang="en-US" sz="1100" b="0" i="0" dirty="0" err="1">
                <a:solidFill>
                  <a:srgbClr val="333333"/>
                </a:solidFill>
                <a:effectLst/>
                <a:latin typeface="CenturyGothic"/>
              </a:rPr>
              <a:t>Tuechler</a:t>
            </a:r>
            <a:r>
              <a:rPr lang="en-US" sz="1100" b="0" i="0" dirty="0">
                <a:solidFill>
                  <a:srgbClr val="333333"/>
                </a:solidFill>
                <a:effectLst/>
                <a:latin typeface="CenturyGothic"/>
              </a:rPr>
              <a:t>, </a:t>
            </a:r>
            <a:r>
              <a:rPr lang="en-US" sz="1100" b="0" i="0" dirty="0" err="1">
                <a:solidFill>
                  <a:srgbClr val="333333"/>
                </a:solidFill>
                <a:effectLst/>
                <a:latin typeface="CenturyGothic"/>
              </a:rPr>
              <a:t>Schanz</a:t>
            </a:r>
            <a:r>
              <a:rPr lang="en-US" sz="1100" b="0" i="0" dirty="0">
                <a:solidFill>
                  <a:srgbClr val="333333"/>
                </a:solidFill>
                <a:effectLst/>
                <a:latin typeface="CenturyGothic"/>
              </a:rPr>
              <a:t> et al, Revised International Prognostic Scoring System (IPSS-R) for Myelodysplastic Syndrome, Blood 120: 2454, 2012.</a:t>
            </a:r>
            <a:endParaRPr lang="en-US" sz="1100" dirty="0"/>
          </a:p>
        </p:txBody>
      </p:sp>
    </p:spTree>
    <p:extLst>
      <p:ext uri="{BB962C8B-B14F-4D97-AF65-F5344CB8AC3E}">
        <p14:creationId xmlns:p14="http://schemas.microsoft.com/office/powerpoint/2010/main" val="3211370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01D89BF-0AE1-D858-1D47-DBBD7136C3E7}"/>
              </a:ext>
            </a:extLst>
          </p:cNvPr>
          <p:cNvSpPr>
            <a:spLocks noGrp="1"/>
          </p:cNvSpPr>
          <p:nvPr>
            <p:ph type="title"/>
          </p:nvPr>
        </p:nvSpPr>
        <p:spPr/>
        <p:txBody>
          <a:bodyPr/>
          <a:lstStyle/>
          <a:p>
            <a:r>
              <a:rPr lang="en-US" sz="2800" dirty="0"/>
              <a:t>Transfusion Dependence Affects Survival in MDS patients using ESAs </a:t>
            </a:r>
          </a:p>
        </p:txBody>
      </p:sp>
      <p:pic>
        <p:nvPicPr>
          <p:cNvPr id="6" name="Picture 5">
            <a:extLst>
              <a:ext uri="{FF2B5EF4-FFF2-40B4-BE49-F238E27FC236}">
                <a16:creationId xmlns:a16="http://schemas.microsoft.com/office/drawing/2014/main" id="{DB625B87-F844-8851-F611-9AD2E22AA0D1}"/>
              </a:ext>
            </a:extLst>
          </p:cNvPr>
          <p:cNvPicPr>
            <a:picLocks noChangeAspect="1"/>
          </p:cNvPicPr>
          <p:nvPr/>
        </p:nvPicPr>
        <p:blipFill rotWithShape="1">
          <a:blip r:embed="rId2"/>
          <a:srcRect t="51762"/>
          <a:stretch/>
        </p:blipFill>
        <p:spPr>
          <a:xfrm>
            <a:off x="1687285" y="1065371"/>
            <a:ext cx="5436327" cy="3017520"/>
          </a:xfrm>
          <a:prstGeom prst="rect">
            <a:avLst/>
          </a:prstGeom>
        </p:spPr>
      </p:pic>
      <p:sp>
        <p:nvSpPr>
          <p:cNvPr id="7" name="TextBox 6">
            <a:extLst>
              <a:ext uri="{FF2B5EF4-FFF2-40B4-BE49-F238E27FC236}">
                <a16:creationId xmlns:a16="http://schemas.microsoft.com/office/drawing/2014/main" id="{633DFD45-7828-37A9-4CC3-2381B4F64C40}"/>
              </a:ext>
            </a:extLst>
          </p:cNvPr>
          <p:cNvSpPr txBox="1"/>
          <p:nvPr/>
        </p:nvSpPr>
        <p:spPr>
          <a:xfrm>
            <a:off x="0" y="4082891"/>
            <a:ext cx="8961120" cy="276999"/>
          </a:xfrm>
          <a:prstGeom prst="rect">
            <a:avLst/>
          </a:prstGeom>
          <a:noFill/>
        </p:spPr>
        <p:txBody>
          <a:bodyPr wrap="square" rtlCol="0">
            <a:spAutoFit/>
          </a:bodyPr>
          <a:lstStyle/>
          <a:p>
            <a:r>
              <a:rPr lang="en-US" sz="1200" dirty="0"/>
              <a:t>Mehra M, et al December 2016 Blood 128(22):5974-5974</a:t>
            </a:r>
          </a:p>
        </p:txBody>
      </p:sp>
    </p:spTree>
    <p:extLst>
      <p:ext uri="{BB962C8B-B14F-4D97-AF65-F5344CB8AC3E}">
        <p14:creationId xmlns:p14="http://schemas.microsoft.com/office/powerpoint/2010/main" val="178749503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DB0C6CF1-DA47-133A-FAD8-819F4FE66926}"/>
              </a:ext>
            </a:extLst>
          </p:cNvPr>
          <p:cNvSpPr>
            <a:spLocks noGrp="1"/>
          </p:cNvSpPr>
          <p:nvPr>
            <p:ph sz="half" idx="2"/>
          </p:nvPr>
        </p:nvSpPr>
        <p:spPr>
          <a:xfrm>
            <a:off x="4827494" y="1117600"/>
            <a:ext cx="3810000" cy="2936240"/>
          </a:xfrm>
        </p:spPr>
        <p:txBody>
          <a:bodyPr/>
          <a:lstStyle/>
          <a:p>
            <a:r>
              <a:rPr lang="en-US" sz="1400" dirty="0"/>
              <a:t>A recombinant fusion protein that binds transforming growth factor β superfamily ligands to reduce SMAD2 and SMAD3 signaling</a:t>
            </a:r>
          </a:p>
          <a:p>
            <a:endParaRPr lang="en-US" sz="1400" dirty="0"/>
          </a:p>
          <a:p>
            <a:r>
              <a:rPr lang="en-US" sz="1400" dirty="0"/>
              <a:t>FDA approved for anemia failing an ESA &amp; transfusion dependent with very low- to intermediate-risk MDS with ring </a:t>
            </a:r>
            <a:r>
              <a:rPr lang="en-US" sz="1400" dirty="0" err="1"/>
              <a:t>sideroblasts</a:t>
            </a:r>
            <a:r>
              <a:rPr lang="en-US" sz="1400" dirty="0"/>
              <a:t> (MDS-RS).</a:t>
            </a:r>
          </a:p>
          <a:p>
            <a:pPr marL="0" indent="0">
              <a:buNone/>
            </a:pPr>
            <a:endParaRPr lang="en-US" sz="1400" dirty="0"/>
          </a:p>
          <a:p>
            <a:r>
              <a:rPr lang="en-US" sz="1400" dirty="0"/>
              <a:t>8 weeks of transfusion independence: 37.9% vs 13.2%, (p&lt;0.0001.)</a:t>
            </a:r>
          </a:p>
        </p:txBody>
      </p:sp>
      <p:sp>
        <p:nvSpPr>
          <p:cNvPr id="12" name="Title 3">
            <a:extLst>
              <a:ext uri="{FF2B5EF4-FFF2-40B4-BE49-F238E27FC236}">
                <a16:creationId xmlns:a16="http://schemas.microsoft.com/office/drawing/2014/main" id="{45C64FCE-464A-B46B-469E-E9DEEA449C48}"/>
              </a:ext>
            </a:extLst>
          </p:cNvPr>
          <p:cNvSpPr>
            <a:spLocks noGrp="1"/>
          </p:cNvSpPr>
          <p:nvPr>
            <p:ph type="title"/>
          </p:nvPr>
        </p:nvSpPr>
        <p:spPr>
          <a:xfrm>
            <a:off x="0" y="127465"/>
            <a:ext cx="9144000" cy="695496"/>
          </a:xfrm>
        </p:spPr>
        <p:txBody>
          <a:bodyPr/>
          <a:lstStyle/>
          <a:p>
            <a:r>
              <a:rPr lang="en-US" sz="2800" dirty="0"/>
              <a:t>Lower-Risk Myelodysplastic Syndrome</a:t>
            </a:r>
          </a:p>
        </p:txBody>
      </p:sp>
      <p:pic>
        <p:nvPicPr>
          <p:cNvPr id="18" name="Content Placeholder 17">
            <a:extLst>
              <a:ext uri="{FF2B5EF4-FFF2-40B4-BE49-F238E27FC236}">
                <a16:creationId xmlns:a16="http://schemas.microsoft.com/office/drawing/2014/main" id="{9953F5BF-6018-25DC-EF25-20D96F18F1B3}"/>
              </a:ext>
            </a:extLst>
          </p:cNvPr>
          <p:cNvPicPr>
            <a:picLocks noGrp="1" noChangeAspect="1"/>
          </p:cNvPicPr>
          <p:nvPr>
            <p:ph sz="half" idx="1"/>
          </p:nvPr>
        </p:nvPicPr>
        <p:blipFill>
          <a:blip r:embed="rId2"/>
          <a:stretch>
            <a:fillRect/>
          </a:stretch>
        </p:blipFill>
        <p:spPr>
          <a:xfrm>
            <a:off x="29941" y="1117600"/>
            <a:ext cx="4601569" cy="2638612"/>
          </a:xfrm>
        </p:spPr>
      </p:pic>
    </p:spTree>
    <p:extLst>
      <p:ext uri="{BB962C8B-B14F-4D97-AF65-F5344CB8AC3E}">
        <p14:creationId xmlns:p14="http://schemas.microsoft.com/office/powerpoint/2010/main" val="14940382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64A8E49-FE17-7AB7-FB6A-1BB4312034F8}"/>
              </a:ext>
            </a:extLst>
          </p:cNvPr>
          <p:cNvSpPr/>
          <p:nvPr/>
        </p:nvSpPr>
        <p:spPr bwMode="auto">
          <a:xfrm>
            <a:off x="4648200" y="3108961"/>
            <a:ext cx="4156166" cy="991374"/>
          </a:xfrm>
          <a:prstGeom prst="rect">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5" name="Rectangle 4">
            <a:extLst>
              <a:ext uri="{FF2B5EF4-FFF2-40B4-BE49-F238E27FC236}">
                <a16:creationId xmlns:a16="http://schemas.microsoft.com/office/drawing/2014/main" id="{425FD0E6-75D8-F513-4992-E5652135F0D8}"/>
              </a:ext>
            </a:extLst>
          </p:cNvPr>
          <p:cNvSpPr/>
          <p:nvPr/>
        </p:nvSpPr>
        <p:spPr bwMode="auto">
          <a:xfrm>
            <a:off x="339634" y="1039220"/>
            <a:ext cx="4156166" cy="2574837"/>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2700000" scaled="1"/>
            <a:tileRect/>
          </a:gra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2" name="Content Placeholder 1">
            <a:extLst>
              <a:ext uri="{FF2B5EF4-FFF2-40B4-BE49-F238E27FC236}">
                <a16:creationId xmlns:a16="http://schemas.microsoft.com/office/drawing/2014/main" id="{F08D108C-FF8F-6B20-271A-9A8CC4DD36FA}"/>
              </a:ext>
            </a:extLst>
          </p:cNvPr>
          <p:cNvSpPr>
            <a:spLocks noGrp="1"/>
          </p:cNvSpPr>
          <p:nvPr>
            <p:ph sz="half" idx="1"/>
          </p:nvPr>
        </p:nvSpPr>
        <p:spPr/>
        <p:txBody>
          <a:bodyPr/>
          <a:lstStyle/>
          <a:p>
            <a:pPr marL="0" indent="0">
              <a:buNone/>
            </a:pPr>
            <a:r>
              <a:rPr lang="en-US" sz="1600" dirty="0"/>
              <a:t>Eligibility: </a:t>
            </a:r>
          </a:p>
          <a:p>
            <a:r>
              <a:rPr lang="en-US" sz="1400" u="sng" dirty="0"/>
              <a:t>&gt;</a:t>
            </a:r>
            <a:r>
              <a:rPr lang="en-US" sz="1400" dirty="0"/>
              <a:t>18 years</a:t>
            </a:r>
          </a:p>
          <a:p>
            <a:r>
              <a:rPr lang="en-US" sz="1400" dirty="0"/>
              <a:t>MDS very low risk, low risk, or intermediate risk </a:t>
            </a:r>
          </a:p>
          <a:p>
            <a:r>
              <a:rPr lang="en-US" sz="1400" dirty="0"/>
              <a:t>ESA-naïve</a:t>
            </a:r>
          </a:p>
          <a:p>
            <a:r>
              <a:rPr lang="en-US" sz="1400" dirty="0"/>
              <a:t>RBC dependent (2–6 packed red blood cell units per 8 weeks for ≥8 weeks immediately before randomization</a:t>
            </a:r>
          </a:p>
        </p:txBody>
      </p:sp>
      <p:sp>
        <p:nvSpPr>
          <p:cNvPr id="6" name="Rectangle 5">
            <a:extLst>
              <a:ext uri="{FF2B5EF4-FFF2-40B4-BE49-F238E27FC236}">
                <a16:creationId xmlns:a16="http://schemas.microsoft.com/office/drawing/2014/main" id="{88420D8B-DB69-FE57-78A3-AB3082D2B382}"/>
              </a:ext>
            </a:extLst>
          </p:cNvPr>
          <p:cNvSpPr/>
          <p:nvPr/>
        </p:nvSpPr>
        <p:spPr bwMode="auto">
          <a:xfrm>
            <a:off x="4648200" y="1047929"/>
            <a:ext cx="4156166" cy="2061031"/>
          </a:xfrm>
          <a:prstGeom prst="rect">
            <a:avLst/>
          </a:prstGeom>
          <a:solidFill>
            <a:schemeClr val="accent2">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4" name="Title 3">
            <a:extLst>
              <a:ext uri="{FF2B5EF4-FFF2-40B4-BE49-F238E27FC236}">
                <a16:creationId xmlns:a16="http://schemas.microsoft.com/office/drawing/2014/main" id="{70C766C9-380C-C44A-E352-72452D9FFFF4}"/>
              </a:ext>
            </a:extLst>
          </p:cNvPr>
          <p:cNvSpPr>
            <a:spLocks noGrp="1"/>
          </p:cNvSpPr>
          <p:nvPr>
            <p:ph type="title"/>
          </p:nvPr>
        </p:nvSpPr>
        <p:spPr/>
        <p:txBody>
          <a:bodyPr/>
          <a:lstStyle/>
          <a:p>
            <a:r>
              <a:rPr lang="en-US" dirty="0"/>
              <a:t>COMMANDS trial</a:t>
            </a:r>
          </a:p>
        </p:txBody>
      </p:sp>
      <p:sp>
        <p:nvSpPr>
          <p:cNvPr id="7" name="Content Placeholder 2">
            <a:extLst>
              <a:ext uri="{FF2B5EF4-FFF2-40B4-BE49-F238E27FC236}">
                <a16:creationId xmlns:a16="http://schemas.microsoft.com/office/drawing/2014/main" id="{91F14716-CB16-A5CC-DF43-B04FA5562B3C}"/>
              </a:ext>
            </a:extLst>
          </p:cNvPr>
          <p:cNvSpPr txBox="1">
            <a:spLocks/>
          </p:cNvSpPr>
          <p:nvPr/>
        </p:nvSpPr>
        <p:spPr bwMode="auto">
          <a:xfrm>
            <a:off x="4800600" y="1043575"/>
            <a:ext cx="3810000" cy="2936240"/>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8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400">
                <a:solidFill>
                  <a:schemeClr val="tx1"/>
                </a:solidFill>
                <a:latin typeface="+mn-lt"/>
                <a:ea typeface="+mn-ea"/>
              </a:defRPr>
            </a:lvl2pPr>
            <a:lvl3pPr marL="1143000" indent="-228600" algn="l" rtl="0" eaLnBrk="1" fontAlgn="base" hangingPunct="1">
              <a:spcBef>
                <a:spcPct val="20000"/>
              </a:spcBef>
              <a:spcAft>
                <a:spcPct val="0"/>
              </a:spcAft>
              <a:buChar char="•"/>
              <a:defRPr sz="2000">
                <a:solidFill>
                  <a:schemeClr val="tx1"/>
                </a:solidFill>
                <a:latin typeface="+mn-lt"/>
                <a:ea typeface="+mn-ea"/>
              </a:defRPr>
            </a:lvl3pPr>
            <a:lvl4pPr marL="1600200" indent="-228600" algn="l" rtl="0" eaLnBrk="1" fontAlgn="base" hangingPunct="1">
              <a:spcBef>
                <a:spcPct val="20000"/>
              </a:spcBef>
              <a:spcAft>
                <a:spcPct val="0"/>
              </a:spcAft>
              <a:defRPr sz="1800">
                <a:solidFill>
                  <a:schemeClr val="tx1"/>
                </a:solidFill>
                <a:latin typeface="+mn-lt"/>
                <a:ea typeface="+mn-ea"/>
              </a:defRPr>
            </a:lvl4pPr>
            <a:lvl5pPr marL="2057400" indent="-228600" algn="l" rtl="0" eaLnBrk="1" fontAlgn="base" hangingPunct="1">
              <a:spcBef>
                <a:spcPct val="20000"/>
              </a:spcBef>
              <a:spcAft>
                <a:spcPct val="0"/>
              </a:spcAft>
              <a:buChar char="»"/>
              <a:defRPr sz="1800">
                <a:solidFill>
                  <a:schemeClr val="tx1"/>
                </a:solidFill>
                <a:latin typeface="+mn-lt"/>
                <a:ea typeface="+mn-ea"/>
              </a:defRPr>
            </a:lvl5pPr>
            <a:lvl6pPr marL="2514600" indent="-228600" algn="l" rtl="0" eaLnBrk="1" fontAlgn="base" hangingPunct="1">
              <a:spcBef>
                <a:spcPct val="20000"/>
              </a:spcBef>
              <a:spcAft>
                <a:spcPct val="0"/>
              </a:spcAft>
              <a:buChar char="»"/>
              <a:defRPr sz="1800">
                <a:solidFill>
                  <a:schemeClr val="tx1"/>
                </a:solidFill>
                <a:latin typeface="+mn-lt"/>
                <a:ea typeface="+mn-ea"/>
              </a:defRPr>
            </a:lvl6pPr>
            <a:lvl7pPr marL="2971800" indent="-228600" algn="l" rtl="0" eaLnBrk="1" fontAlgn="base" hangingPunct="1">
              <a:spcBef>
                <a:spcPct val="20000"/>
              </a:spcBef>
              <a:spcAft>
                <a:spcPct val="0"/>
              </a:spcAft>
              <a:buChar char="»"/>
              <a:defRPr sz="1800">
                <a:solidFill>
                  <a:schemeClr val="tx1"/>
                </a:solidFill>
                <a:latin typeface="+mn-lt"/>
                <a:ea typeface="+mn-ea"/>
              </a:defRPr>
            </a:lvl7pPr>
            <a:lvl8pPr marL="3429000" indent="-228600" algn="l" rtl="0" eaLnBrk="1" fontAlgn="base" hangingPunct="1">
              <a:spcBef>
                <a:spcPct val="20000"/>
              </a:spcBef>
              <a:spcAft>
                <a:spcPct val="0"/>
              </a:spcAft>
              <a:buChar char="»"/>
              <a:defRPr sz="1800">
                <a:solidFill>
                  <a:schemeClr val="tx1"/>
                </a:solidFill>
                <a:latin typeface="+mn-lt"/>
                <a:ea typeface="+mn-ea"/>
              </a:defRPr>
            </a:lvl8pPr>
            <a:lvl9pPr marL="3886200" indent="-228600" algn="l" rtl="0" eaLnBrk="1" fontAlgn="base" hangingPunct="1">
              <a:spcBef>
                <a:spcPct val="20000"/>
              </a:spcBef>
              <a:spcAft>
                <a:spcPct val="0"/>
              </a:spcAft>
              <a:buChar char="»"/>
              <a:defRPr sz="1800">
                <a:solidFill>
                  <a:schemeClr val="tx1"/>
                </a:solidFill>
                <a:latin typeface="+mn-lt"/>
                <a:ea typeface="+mn-ea"/>
              </a:defRPr>
            </a:lvl9pPr>
          </a:lstStyle>
          <a:p>
            <a:pPr marL="0" indent="0">
              <a:buFontTx/>
              <a:buNone/>
            </a:pPr>
            <a:r>
              <a:rPr lang="en-US" sz="2000" kern="0" dirty="0"/>
              <a:t>Trial Design</a:t>
            </a:r>
            <a:endParaRPr lang="en-US" sz="1600" kern="0" dirty="0"/>
          </a:p>
          <a:p>
            <a:r>
              <a:rPr lang="en-US" sz="1400" kern="0" dirty="0"/>
              <a:t>Randomized phase 3 to </a:t>
            </a:r>
            <a:r>
              <a:rPr lang="en-US" sz="1400" kern="0" dirty="0" err="1"/>
              <a:t>luspatercept</a:t>
            </a:r>
            <a:r>
              <a:rPr lang="en-US" sz="1400" kern="0" dirty="0"/>
              <a:t> or epoetin alfa (</a:t>
            </a:r>
            <a:r>
              <a:rPr lang="en-US" sz="1400" kern="0" dirty="0">
                <a:latin typeface="Roboto" panose="02000000000000000000" pitchFamily="2" charset="0"/>
              </a:rPr>
              <a:t>1.0–1.75 mg/kg) SQ Q3W, or epoetin alfa (450–1050 IU/kg) SC Q1W for </a:t>
            </a:r>
            <a:r>
              <a:rPr lang="en-US" sz="1400" u="sng" kern="0" dirty="0">
                <a:latin typeface="Roboto" panose="02000000000000000000" pitchFamily="2" charset="0"/>
              </a:rPr>
              <a:t>&gt;</a:t>
            </a:r>
            <a:r>
              <a:rPr lang="en-US" sz="1400" kern="0" dirty="0">
                <a:latin typeface="Roboto" panose="02000000000000000000" pitchFamily="2" charset="0"/>
              </a:rPr>
              <a:t>24 weeks</a:t>
            </a:r>
            <a:endParaRPr lang="en-US" sz="1400" kern="0" dirty="0"/>
          </a:p>
          <a:p>
            <a:r>
              <a:rPr lang="en-US" sz="1400" kern="0" dirty="0"/>
              <a:t>Stratified </a:t>
            </a:r>
            <a:r>
              <a:rPr lang="en-US" sz="1400" kern="0" dirty="0">
                <a:latin typeface="Roboto" panose="02000000000000000000" pitchFamily="2" charset="0"/>
              </a:rPr>
              <a:t>baseline RBC transfusion burden, Ring </a:t>
            </a:r>
            <a:r>
              <a:rPr lang="en-US" sz="1400" kern="0" dirty="0" err="1">
                <a:latin typeface="Roboto" panose="02000000000000000000" pitchFamily="2" charset="0"/>
              </a:rPr>
              <a:t>Sideroblast</a:t>
            </a:r>
            <a:r>
              <a:rPr lang="en-US" sz="1400" kern="0" dirty="0">
                <a:latin typeface="Roboto" panose="02000000000000000000" pitchFamily="2" charset="0"/>
              </a:rPr>
              <a:t> status. and </a:t>
            </a:r>
            <a:r>
              <a:rPr lang="en-US" sz="1400" kern="0" dirty="0" err="1">
                <a:latin typeface="Roboto" panose="02000000000000000000" pitchFamily="2" charset="0"/>
              </a:rPr>
              <a:t>sEPO</a:t>
            </a:r>
            <a:r>
              <a:rPr lang="en-US" sz="1400" kern="0" dirty="0">
                <a:latin typeface="Roboto" panose="02000000000000000000" pitchFamily="2" charset="0"/>
              </a:rPr>
              <a:t> (≤ 200 vs &gt; 200 U/L). </a:t>
            </a:r>
          </a:p>
          <a:p>
            <a:endParaRPr lang="en-US" sz="1400" kern="0" dirty="0">
              <a:latin typeface="Roboto" panose="02000000000000000000" pitchFamily="2" charset="0"/>
            </a:endParaRPr>
          </a:p>
          <a:p>
            <a:r>
              <a:rPr lang="en-US" sz="1400" kern="0" dirty="0">
                <a:solidFill>
                  <a:schemeClr val="bg1"/>
                </a:solidFill>
                <a:latin typeface="Roboto" panose="02000000000000000000" pitchFamily="2" charset="0"/>
              </a:rPr>
              <a:t>Primary endpoint:    RBC-TI ≥ 12 </a:t>
            </a:r>
            <a:r>
              <a:rPr lang="en-US" sz="1400" kern="0" dirty="0" err="1">
                <a:solidFill>
                  <a:schemeClr val="bg1"/>
                </a:solidFill>
                <a:latin typeface="Roboto" panose="02000000000000000000" pitchFamily="2" charset="0"/>
              </a:rPr>
              <a:t>wk</a:t>
            </a:r>
            <a:r>
              <a:rPr lang="en-US" sz="1400" kern="0" dirty="0">
                <a:solidFill>
                  <a:schemeClr val="bg1"/>
                </a:solidFill>
                <a:latin typeface="Roboto" panose="02000000000000000000" pitchFamily="2" charset="0"/>
              </a:rPr>
              <a:t> with a concurrent mean hemoglobin (Hb) increase ≥ 1.5 g/dL (</a:t>
            </a:r>
            <a:r>
              <a:rPr lang="en-US" sz="1400" kern="0" dirty="0" err="1">
                <a:solidFill>
                  <a:schemeClr val="bg1"/>
                </a:solidFill>
                <a:latin typeface="Roboto" panose="02000000000000000000" pitchFamily="2" charset="0"/>
              </a:rPr>
              <a:t>wk</a:t>
            </a:r>
            <a:r>
              <a:rPr lang="en-US" sz="1400" kern="0" dirty="0">
                <a:solidFill>
                  <a:schemeClr val="bg1"/>
                </a:solidFill>
                <a:latin typeface="Roboto" panose="02000000000000000000" pitchFamily="2" charset="0"/>
              </a:rPr>
              <a:t> 1–24)</a:t>
            </a:r>
            <a:endParaRPr lang="en-US" sz="1400" kern="0" dirty="0">
              <a:solidFill>
                <a:schemeClr val="bg1"/>
              </a:solidFill>
            </a:endParaRPr>
          </a:p>
        </p:txBody>
      </p:sp>
    </p:spTree>
    <p:extLst>
      <p:ext uri="{BB962C8B-B14F-4D97-AF65-F5344CB8AC3E}">
        <p14:creationId xmlns:p14="http://schemas.microsoft.com/office/powerpoint/2010/main" val="23741848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A076F23-F374-1ED5-021F-BA6C352EB3A3}"/>
              </a:ext>
            </a:extLst>
          </p:cNvPr>
          <p:cNvSpPr>
            <a:spLocks noGrp="1"/>
          </p:cNvSpPr>
          <p:nvPr>
            <p:ph sz="half" idx="1"/>
          </p:nvPr>
        </p:nvSpPr>
        <p:spPr>
          <a:xfrm>
            <a:off x="461554" y="1117600"/>
            <a:ext cx="2722517" cy="2936240"/>
          </a:xfrm>
        </p:spPr>
        <p:txBody>
          <a:bodyPr/>
          <a:lstStyle/>
          <a:p>
            <a:r>
              <a:rPr lang="en-US" sz="1400" dirty="0" err="1"/>
              <a:t>Luspatercept</a:t>
            </a:r>
            <a:r>
              <a:rPr lang="en-US" sz="1400" dirty="0"/>
              <a:t> versus epoetin alfa in lower-risk MDS in transfusion dependent ESA-naive patients: Interim Analysis (after 301 treated patients) </a:t>
            </a:r>
          </a:p>
        </p:txBody>
      </p:sp>
      <p:sp>
        <p:nvSpPr>
          <p:cNvPr id="4" name="Title 3">
            <a:extLst>
              <a:ext uri="{FF2B5EF4-FFF2-40B4-BE49-F238E27FC236}">
                <a16:creationId xmlns:a16="http://schemas.microsoft.com/office/drawing/2014/main" id="{DFB2C060-5E00-4D1A-D888-34CD69639509}"/>
              </a:ext>
            </a:extLst>
          </p:cNvPr>
          <p:cNvSpPr>
            <a:spLocks noGrp="1"/>
          </p:cNvSpPr>
          <p:nvPr>
            <p:ph type="title"/>
          </p:nvPr>
        </p:nvSpPr>
        <p:spPr/>
        <p:txBody>
          <a:bodyPr/>
          <a:lstStyle/>
          <a:p>
            <a:r>
              <a:rPr lang="en-US" dirty="0"/>
              <a:t>COMMANDS trial</a:t>
            </a:r>
          </a:p>
        </p:txBody>
      </p:sp>
      <p:pic>
        <p:nvPicPr>
          <p:cNvPr id="5" name="Content Placeholder 4">
            <a:extLst>
              <a:ext uri="{FF2B5EF4-FFF2-40B4-BE49-F238E27FC236}">
                <a16:creationId xmlns:a16="http://schemas.microsoft.com/office/drawing/2014/main" id="{2A9FB2C7-35C2-08F7-EA76-64522B3182BF}"/>
              </a:ext>
            </a:extLst>
          </p:cNvPr>
          <p:cNvPicPr>
            <a:picLocks noGrp="1" noChangeAspect="1"/>
          </p:cNvPicPr>
          <p:nvPr>
            <p:ph sz="half" idx="2"/>
          </p:nvPr>
        </p:nvPicPr>
        <p:blipFill>
          <a:blip r:embed="rId2"/>
          <a:stretch>
            <a:fillRect/>
          </a:stretch>
        </p:blipFill>
        <p:spPr>
          <a:xfrm>
            <a:off x="3650125" y="880072"/>
            <a:ext cx="4752050" cy="2935287"/>
          </a:xfrm>
          <a:prstGeom prst="rect">
            <a:avLst/>
          </a:prstGeom>
        </p:spPr>
      </p:pic>
      <p:sp>
        <p:nvSpPr>
          <p:cNvPr id="6" name="TextBox 5">
            <a:extLst>
              <a:ext uri="{FF2B5EF4-FFF2-40B4-BE49-F238E27FC236}">
                <a16:creationId xmlns:a16="http://schemas.microsoft.com/office/drawing/2014/main" id="{4BF398D5-AE3B-B8A6-5370-06C6C000F536}"/>
              </a:ext>
            </a:extLst>
          </p:cNvPr>
          <p:cNvSpPr txBox="1"/>
          <p:nvPr/>
        </p:nvSpPr>
        <p:spPr>
          <a:xfrm>
            <a:off x="0" y="3984168"/>
            <a:ext cx="9144000" cy="261610"/>
          </a:xfrm>
          <a:prstGeom prst="rect">
            <a:avLst/>
          </a:prstGeom>
          <a:noFill/>
        </p:spPr>
        <p:txBody>
          <a:bodyPr wrap="square" rtlCol="0">
            <a:spAutoFit/>
          </a:bodyPr>
          <a:lstStyle/>
          <a:p>
            <a:r>
              <a:rPr lang="en-US" sz="1100" dirty="0" err="1"/>
              <a:t>Platzbecker</a:t>
            </a:r>
            <a:r>
              <a:rPr lang="en-US" sz="1100" dirty="0"/>
              <a:t>, et al . Lancet. 2023 Jul 29;402(10399):373-385. .</a:t>
            </a:r>
          </a:p>
        </p:txBody>
      </p:sp>
    </p:spTree>
    <p:extLst>
      <p:ext uri="{BB962C8B-B14F-4D97-AF65-F5344CB8AC3E}">
        <p14:creationId xmlns:p14="http://schemas.microsoft.com/office/powerpoint/2010/main" val="208761466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AEBB86D0-63AD-1CDF-D6A3-48D99A8C18BA}"/>
              </a:ext>
            </a:extLst>
          </p:cNvPr>
          <p:cNvSpPr txBox="1">
            <a:spLocks/>
          </p:cNvSpPr>
          <p:nvPr/>
        </p:nvSpPr>
        <p:spPr>
          <a:xfrm>
            <a:off x="0" y="127465"/>
            <a:ext cx="9144000" cy="695496"/>
          </a:xfrm>
          <a:prstGeom prst="rect">
            <a:avLst/>
          </a:prstGeom>
        </p:spPr>
        <p:txBody>
          <a:bodyPr/>
          <a:lstStyle>
            <a:lvl1pPr algn="ctr" rtl="0" eaLnBrk="1" fontAlgn="base" hangingPunct="1">
              <a:spcBef>
                <a:spcPct val="0"/>
              </a:spcBef>
              <a:spcAft>
                <a:spcPct val="0"/>
              </a:spcAft>
              <a:defRPr sz="3600" i="0">
                <a:solidFill>
                  <a:schemeClr val="bg1"/>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endParaRPr lang="en-US" sz="3200" kern="0" dirty="0"/>
          </a:p>
        </p:txBody>
      </p:sp>
      <p:sp>
        <p:nvSpPr>
          <p:cNvPr id="8" name="Title 3">
            <a:extLst>
              <a:ext uri="{FF2B5EF4-FFF2-40B4-BE49-F238E27FC236}">
                <a16:creationId xmlns:a16="http://schemas.microsoft.com/office/drawing/2014/main" id="{EBF2C8B8-228C-1AF3-0B44-7EE58B7670DC}"/>
              </a:ext>
            </a:extLst>
          </p:cNvPr>
          <p:cNvSpPr txBox="1">
            <a:spLocks/>
          </p:cNvSpPr>
          <p:nvPr/>
        </p:nvSpPr>
        <p:spPr>
          <a:xfrm>
            <a:off x="152400" y="279865"/>
            <a:ext cx="9144000" cy="695496"/>
          </a:xfrm>
          <a:prstGeom prst="rect">
            <a:avLst/>
          </a:prstGeom>
        </p:spPr>
        <p:txBody>
          <a:bodyPr/>
          <a:lstStyle>
            <a:lvl1pPr algn="ctr" rtl="0" eaLnBrk="1" fontAlgn="base" hangingPunct="1">
              <a:spcBef>
                <a:spcPct val="0"/>
              </a:spcBef>
              <a:spcAft>
                <a:spcPct val="0"/>
              </a:spcAft>
              <a:defRPr sz="3600" i="0">
                <a:solidFill>
                  <a:schemeClr val="bg1"/>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endParaRPr lang="en-US" kern="0" dirty="0"/>
          </a:p>
        </p:txBody>
      </p:sp>
      <p:pic>
        <p:nvPicPr>
          <p:cNvPr id="2050" name="Picture 2">
            <a:extLst>
              <a:ext uri="{FF2B5EF4-FFF2-40B4-BE49-F238E27FC236}">
                <a16:creationId xmlns:a16="http://schemas.microsoft.com/office/drawing/2014/main" id="{749A3BFF-C2D3-D565-5F5F-43207D3CDEC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32000"/>
          <a:stretch/>
        </p:blipFill>
        <p:spPr bwMode="auto">
          <a:xfrm>
            <a:off x="1317625" y="279865"/>
            <a:ext cx="6507163" cy="350084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4FE67F5B-4924-2FCD-DCDF-B1CCC3C8EA44}"/>
              </a:ext>
            </a:extLst>
          </p:cNvPr>
          <p:cNvSpPr txBox="1"/>
          <p:nvPr/>
        </p:nvSpPr>
        <p:spPr>
          <a:xfrm>
            <a:off x="152400" y="3879613"/>
            <a:ext cx="8865326" cy="276999"/>
          </a:xfrm>
          <a:prstGeom prst="rect">
            <a:avLst/>
          </a:prstGeom>
          <a:noFill/>
        </p:spPr>
        <p:txBody>
          <a:bodyPr wrap="square" rtlCol="0">
            <a:spAutoFit/>
          </a:bodyPr>
          <a:lstStyle/>
          <a:p>
            <a:r>
              <a:rPr lang="en-US" sz="1200" b="1" i="1" dirty="0">
                <a:solidFill>
                  <a:srgbClr val="4F4F4F"/>
                </a:solidFill>
                <a:effectLst/>
                <a:latin typeface="Roboto" panose="02000000000000000000" pitchFamily="2" charset="0"/>
              </a:rPr>
              <a:t>Garcia-</a:t>
            </a:r>
            <a:r>
              <a:rPr lang="en-US" sz="1200" b="1" i="1" dirty="0" err="1">
                <a:solidFill>
                  <a:srgbClr val="4F4F4F"/>
                </a:solidFill>
                <a:effectLst/>
                <a:latin typeface="Roboto" panose="02000000000000000000" pitchFamily="2" charset="0"/>
              </a:rPr>
              <a:t>Manero</a:t>
            </a:r>
            <a:r>
              <a:rPr lang="en-US" sz="1200" b="1" i="1" dirty="0">
                <a:solidFill>
                  <a:srgbClr val="4F4F4F"/>
                </a:solidFill>
                <a:effectLst/>
                <a:latin typeface="Roboto" panose="02000000000000000000" pitchFamily="2" charset="0"/>
              </a:rPr>
              <a:t>, et al, ASH 2023 Abstract 193</a:t>
            </a:r>
            <a:endParaRPr lang="en-US" sz="1200" dirty="0"/>
          </a:p>
        </p:txBody>
      </p:sp>
    </p:spTree>
    <p:extLst>
      <p:ext uri="{BB962C8B-B14F-4D97-AF65-F5344CB8AC3E}">
        <p14:creationId xmlns:p14="http://schemas.microsoft.com/office/powerpoint/2010/main" val="35566333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4BF48858-5128-FBAD-211D-8B9450AA73E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67098"/>
          <a:stretch/>
        </p:blipFill>
        <p:spPr bwMode="auto">
          <a:xfrm>
            <a:off x="0" y="904240"/>
            <a:ext cx="10566363" cy="275050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4C6785CD-D938-F718-3AAA-1DDFC5FDA933}"/>
              </a:ext>
            </a:extLst>
          </p:cNvPr>
          <p:cNvSpPr/>
          <p:nvPr/>
        </p:nvSpPr>
        <p:spPr bwMode="auto">
          <a:xfrm>
            <a:off x="1107440" y="2997200"/>
            <a:ext cx="6553200" cy="223520"/>
          </a:xfrm>
          <a:prstGeom prst="rect">
            <a:avLst/>
          </a:prstGeom>
          <a:noFill/>
          <a:ln w="127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8" name="Rectangle 7">
            <a:extLst>
              <a:ext uri="{FF2B5EF4-FFF2-40B4-BE49-F238E27FC236}">
                <a16:creationId xmlns:a16="http://schemas.microsoft.com/office/drawing/2014/main" id="{FC161247-3B30-8D66-E641-FFB418FD9128}"/>
              </a:ext>
            </a:extLst>
          </p:cNvPr>
          <p:cNvSpPr/>
          <p:nvPr/>
        </p:nvSpPr>
        <p:spPr bwMode="auto">
          <a:xfrm>
            <a:off x="1107440" y="2191702"/>
            <a:ext cx="6553200" cy="223520"/>
          </a:xfrm>
          <a:prstGeom prst="rect">
            <a:avLst/>
          </a:prstGeom>
          <a:noFill/>
          <a:ln w="127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11" name="TextBox 10">
            <a:extLst>
              <a:ext uri="{FF2B5EF4-FFF2-40B4-BE49-F238E27FC236}">
                <a16:creationId xmlns:a16="http://schemas.microsoft.com/office/drawing/2014/main" id="{F4365F6A-F545-18FA-B897-F508D3E85C04}"/>
              </a:ext>
            </a:extLst>
          </p:cNvPr>
          <p:cNvSpPr txBox="1"/>
          <p:nvPr/>
        </p:nvSpPr>
        <p:spPr>
          <a:xfrm>
            <a:off x="152400" y="3879613"/>
            <a:ext cx="8865326" cy="276999"/>
          </a:xfrm>
          <a:prstGeom prst="rect">
            <a:avLst/>
          </a:prstGeom>
          <a:noFill/>
        </p:spPr>
        <p:txBody>
          <a:bodyPr wrap="square" rtlCol="0">
            <a:spAutoFit/>
          </a:bodyPr>
          <a:lstStyle/>
          <a:p>
            <a:r>
              <a:rPr lang="en-US" sz="1200" b="1" i="1" dirty="0">
                <a:solidFill>
                  <a:srgbClr val="4F4F4F"/>
                </a:solidFill>
                <a:effectLst/>
                <a:latin typeface="Roboto" panose="02000000000000000000" pitchFamily="2" charset="0"/>
              </a:rPr>
              <a:t>Garcia-</a:t>
            </a:r>
            <a:r>
              <a:rPr lang="en-US" sz="1200" b="1" i="1" dirty="0" err="1">
                <a:solidFill>
                  <a:srgbClr val="4F4F4F"/>
                </a:solidFill>
                <a:effectLst/>
                <a:latin typeface="Roboto" panose="02000000000000000000" pitchFamily="2" charset="0"/>
              </a:rPr>
              <a:t>Manero</a:t>
            </a:r>
            <a:r>
              <a:rPr lang="en-US" sz="1200" b="1" i="1" dirty="0">
                <a:solidFill>
                  <a:srgbClr val="4F4F4F"/>
                </a:solidFill>
                <a:effectLst/>
                <a:latin typeface="Roboto" panose="02000000000000000000" pitchFamily="2" charset="0"/>
              </a:rPr>
              <a:t>, et al, ASH 2023 Abstract 193</a:t>
            </a:r>
            <a:endParaRPr lang="en-US" sz="1200" dirty="0"/>
          </a:p>
        </p:txBody>
      </p:sp>
    </p:spTree>
    <p:extLst>
      <p:ext uri="{BB962C8B-B14F-4D97-AF65-F5344CB8AC3E}">
        <p14:creationId xmlns:p14="http://schemas.microsoft.com/office/powerpoint/2010/main" val="22347863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706E648-9CB5-CF15-7648-E91F27FA4648}"/>
              </a:ext>
            </a:extLst>
          </p:cNvPr>
          <p:cNvPicPr>
            <a:picLocks noChangeAspect="1"/>
          </p:cNvPicPr>
          <p:nvPr/>
        </p:nvPicPr>
        <p:blipFill>
          <a:blip r:embed="rId2"/>
          <a:srcRect/>
          <a:stretch/>
        </p:blipFill>
        <p:spPr>
          <a:xfrm>
            <a:off x="1" y="2381"/>
            <a:ext cx="9143996" cy="5148861"/>
          </a:xfrm>
          <a:prstGeom prst="rect">
            <a:avLst/>
          </a:prstGeom>
        </p:spPr>
      </p:pic>
    </p:spTree>
    <p:extLst>
      <p:ext uri="{BB962C8B-B14F-4D97-AF65-F5344CB8AC3E}">
        <p14:creationId xmlns:p14="http://schemas.microsoft.com/office/powerpoint/2010/main" val="86371256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8B81C6D-BFBF-D85B-EA21-47D8A2DBBBBB}"/>
              </a:ext>
            </a:extLst>
          </p:cNvPr>
          <p:cNvPicPr>
            <a:picLocks noChangeAspect="1"/>
          </p:cNvPicPr>
          <p:nvPr/>
        </p:nvPicPr>
        <p:blipFill rotWithShape="1">
          <a:blip r:embed="rId2"/>
          <a:srcRect b="33691"/>
          <a:stretch/>
        </p:blipFill>
        <p:spPr>
          <a:xfrm>
            <a:off x="2519680" y="156240"/>
            <a:ext cx="3888717" cy="3917921"/>
          </a:xfrm>
          <a:prstGeom prst="rect">
            <a:avLst/>
          </a:prstGeom>
          <a:ln w="38100">
            <a:solidFill>
              <a:schemeClr val="tx1"/>
            </a:solidFill>
          </a:ln>
        </p:spPr>
      </p:pic>
      <p:sp>
        <p:nvSpPr>
          <p:cNvPr id="7" name="TextBox 6">
            <a:extLst>
              <a:ext uri="{FF2B5EF4-FFF2-40B4-BE49-F238E27FC236}">
                <a16:creationId xmlns:a16="http://schemas.microsoft.com/office/drawing/2014/main" id="{D465610E-3E70-FCA2-F473-7C5C20000F9C}"/>
              </a:ext>
            </a:extLst>
          </p:cNvPr>
          <p:cNvSpPr txBox="1"/>
          <p:nvPr/>
        </p:nvSpPr>
        <p:spPr>
          <a:xfrm>
            <a:off x="0" y="4116248"/>
            <a:ext cx="9144000" cy="261610"/>
          </a:xfrm>
          <a:prstGeom prst="rect">
            <a:avLst/>
          </a:prstGeom>
          <a:noFill/>
        </p:spPr>
        <p:txBody>
          <a:bodyPr wrap="square" rtlCol="0">
            <a:spAutoFit/>
          </a:bodyPr>
          <a:lstStyle/>
          <a:p>
            <a:r>
              <a:rPr lang="en-US" sz="1100" dirty="0" err="1"/>
              <a:t>Platzbecker</a:t>
            </a:r>
            <a:r>
              <a:rPr lang="en-US" sz="1100" dirty="0"/>
              <a:t>, et al . Lancet. 2023 Jul 29;402(10399):373-385. .</a:t>
            </a:r>
          </a:p>
        </p:txBody>
      </p:sp>
      <p:sp>
        <p:nvSpPr>
          <p:cNvPr id="2" name="Rectangle 1">
            <a:extLst>
              <a:ext uri="{FF2B5EF4-FFF2-40B4-BE49-F238E27FC236}">
                <a16:creationId xmlns:a16="http://schemas.microsoft.com/office/drawing/2014/main" id="{6AFCF4F6-8EB9-64EF-D938-6141DA0C640B}"/>
              </a:ext>
            </a:extLst>
          </p:cNvPr>
          <p:cNvSpPr/>
          <p:nvPr/>
        </p:nvSpPr>
        <p:spPr bwMode="auto">
          <a:xfrm>
            <a:off x="2519680" y="3126921"/>
            <a:ext cx="3888717" cy="465365"/>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116102487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Main graphic">
            <a:extLst>
              <a:ext uri="{FF2B5EF4-FFF2-40B4-BE49-F238E27FC236}">
                <a16:creationId xmlns:a16="http://schemas.microsoft.com/office/drawing/2014/main" id="{93FEF276-FDE2-0F78-3126-D48D9B8579A1}"/>
              </a:ext>
            </a:extLst>
          </p:cNvPr>
          <p:cNvPicPr/>
          <p:nvPr/>
        </p:nvPicPr>
        <p:blipFill>
          <a:blip r:embed="rId2"/>
          <a:stretch/>
        </p:blipFill>
        <p:spPr>
          <a:xfrm>
            <a:off x="1508452" y="215112"/>
            <a:ext cx="5459400" cy="3809880"/>
          </a:xfrm>
          <a:prstGeom prst="rect">
            <a:avLst/>
          </a:prstGeom>
          <a:ln>
            <a:noFill/>
          </a:ln>
        </p:spPr>
      </p:pic>
      <p:sp>
        <p:nvSpPr>
          <p:cNvPr id="5" name="TextShape 2">
            <a:extLst>
              <a:ext uri="{FF2B5EF4-FFF2-40B4-BE49-F238E27FC236}">
                <a16:creationId xmlns:a16="http://schemas.microsoft.com/office/drawing/2014/main" id="{81FDC3DD-BF03-454F-FE28-F5867D14EA0B}"/>
              </a:ext>
            </a:extLst>
          </p:cNvPr>
          <p:cNvSpPr txBox="1"/>
          <p:nvPr/>
        </p:nvSpPr>
        <p:spPr>
          <a:xfrm>
            <a:off x="360000" y="4106635"/>
            <a:ext cx="8640000" cy="451800"/>
          </a:xfrm>
          <a:prstGeom prst="rect">
            <a:avLst/>
          </a:prstGeom>
          <a:noFill/>
          <a:ln>
            <a:noFill/>
          </a:ln>
        </p:spPr>
        <p:txBody>
          <a:bodyPr lIns="90000" tIns="45000" rIns="90000" bIns="45000"/>
          <a:lstStyle/>
          <a:p>
            <a:r>
              <a:rPr lang="en-US" sz="800" b="0" i="0" u="none" strike="noStrike" dirty="0">
                <a:effectLst/>
                <a:latin typeface="Open Sans" panose="020B0606030504020204" pitchFamily="34" charset="0"/>
                <a:hlinkClick r:id="rId3">
                  <a:extLst>
                    <a:ext uri="{A12FA001-AC4F-418D-AE19-62706E023703}">
                      <ahyp:hlinkClr xmlns:ahyp="http://schemas.microsoft.com/office/drawing/2018/hyperlinkcolor" val="tx"/>
                    </a:ext>
                  </a:extLst>
                </a:hlinkClick>
              </a:rPr>
              <a:t>Garcia-</a:t>
            </a:r>
            <a:r>
              <a:rPr lang="en-US" sz="800" b="0" i="0" u="none" strike="noStrike" dirty="0" err="1">
                <a:effectLst/>
                <a:latin typeface="Open Sans" panose="020B0606030504020204" pitchFamily="34" charset="0"/>
                <a:hlinkClick r:id="rId3">
                  <a:extLst>
                    <a:ext uri="{A12FA001-AC4F-418D-AE19-62706E023703}">
                      <ahyp:hlinkClr xmlns:ahyp="http://schemas.microsoft.com/office/drawing/2018/hyperlinkcolor" val="tx"/>
                    </a:ext>
                  </a:extLst>
                </a:hlinkClick>
              </a:rPr>
              <a:t>Manero</a:t>
            </a:r>
            <a:r>
              <a:rPr lang="en-US" sz="800" b="0" i="0" u="none" strike="noStrike" dirty="0">
                <a:effectLst/>
                <a:latin typeface="Open Sans" panose="020B0606030504020204" pitchFamily="34" charset="0"/>
              </a:rPr>
              <a:t>, G. </a:t>
            </a:r>
            <a:r>
              <a:rPr lang="en-US" sz="800" b="1" strike="noStrike" spc="-1" dirty="0">
                <a:latin typeface="Arial"/>
              </a:rPr>
              <a:t> J </a:t>
            </a:r>
            <a:r>
              <a:rPr lang="en-US" sz="800" b="1" strike="noStrike" spc="-1" dirty="0" err="1">
                <a:latin typeface="Arial"/>
              </a:rPr>
              <a:t>Hematol</a:t>
            </a:r>
            <a:r>
              <a:rPr lang="en-US" sz="800" b="1" strike="noStrike" spc="-1" dirty="0">
                <a:latin typeface="Arial"/>
              </a:rPr>
              <a:t>, Volume: 98, Issue: 8, Pages: 1307-1325</a:t>
            </a:r>
            <a:endParaRPr lang="en-US" sz="800" b="0" strike="noStrike" spc="-1" dirty="0">
              <a:latin typeface="Arial"/>
            </a:endParaRPr>
          </a:p>
        </p:txBody>
      </p:sp>
    </p:spTree>
    <p:extLst>
      <p:ext uri="{BB962C8B-B14F-4D97-AF65-F5344CB8AC3E}">
        <p14:creationId xmlns:p14="http://schemas.microsoft.com/office/powerpoint/2010/main" val="24317133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8DF72FC-8F00-4331-D72E-497BD9F4DCE0}"/>
              </a:ext>
            </a:extLst>
          </p:cNvPr>
          <p:cNvSpPr>
            <a:spLocks noGrp="1"/>
          </p:cNvSpPr>
          <p:nvPr>
            <p:ph type="title"/>
          </p:nvPr>
        </p:nvSpPr>
        <p:spPr/>
        <p:txBody>
          <a:bodyPr/>
          <a:lstStyle/>
          <a:p>
            <a:r>
              <a:rPr lang="en-US" dirty="0"/>
              <a:t>Allogeneic transplant </a:t>
            </a:r>
          </a:p>
        </p:txBody>
      </p:sp>
      <p:pic>
        <p:nvPicPr>
          <p:cNvPr id="1030" name="Picture 6">
            <a:extLst>
              <a:ext uri="{FF2B5EF4-FFF2-40B4-BE49-F238E27FC236}">
                <a16:creationId xmlns:a16="http://schemas.microsoft.com/office/drawing/2014/main" id="{F4A5387A-8B9E-BEBA-8905-61FA83A7881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50000"/>
          <a:stretch/>
        </p:blipFill>
        <p:spPr bwMode="auto">
          <a:xfrm>
            <a:off x="4572000" y="822961"/>
            <a:ext cx="4383255" cy="3098277"/>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8EFFB3AE-6DC4-958A-C6F8-DD4967199CF9}"/>
              </a:ext>
            </a:extLst>
          </p:cNvPr>
          <p:cNvSpPr/>
          <p:nvPr/>
        </p:nvSpPr>
        <p:spPr bwMode="auto">
          <a:xfrm>
            <a:off x="69396" y="822961"/>
            <a:ext cx="4383255" cy="1854925"/>
          </a:xfrm>
          <a:prstGeom prst="rect">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2700000" scaled="1"/>
            <a:tileRect/>
          </a:gra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8" name="Rectangle 7">
            <a:extLst>
              <a:ext uri="{FF2B5EF4-FFF2-40B4-BE49-F238E27FC236}">
                <a16:creationId xmlns:a16="http://schemas.microsoft.com/office/drawing/2014/main" id="{46323B3C-B13A-6C18-7F62-3235C80B7544}"/>
              </a:ext>
            </a:extLst>
          </p:cNvPr>
          <p:cNvSpPr/>
          <p:nvPr/>
        </p:nvSpPr>
        <p:spPr bwMode="auto">
          <a:xfrm>
            <a:off x="69395" y="2735415"/>
            <a:ext cx="4383255" cy="1280696"/>
          </a:xfrm>
          <a:prstGeom prst="rect">
            <a:avLst/>
          </a:prstGeom>
          <a:gradFill flip="none" rotWithShape="1">
            <a:gsLst>
              <a:gs pos="0">
                <a:srgbClr val="993366">
                  <a:tint val="66000"/>
                  <a:satMod val="160000"/>
                </a:srgbClr>
              </a:gs>
              <a:gs pos="50000">
                <a:srgbClr val="993366">
                  <a:tint val="44500"/>
                  <a:satMod val="160000"/>
                </a:srgbClr>
              </a:gs>
              <a:gs pos="100000">
                <a:srgbClr val="993366">
                  <a:tint val="23500"/>
                  <a:satMod val="160000"/>
                </a:srgbClr>
              </a:gs>
            </a:gsLst>
            <a:lin ang="2700000" scaled="1"/>
            <a:tileRect/>
          </a:gra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6" name="TextBox 5">
            <a:extLst>
              <a:ext uri="{FF2B5EF4-FFF2-40B4-BE49-F238E27FC236}">
                <a16:creationId xmlns:a16="http://schemas.microsoft.com/office/drawing/2014/main" id="{CD967295-68F9-DF67-0EC3-9E2158771B4C}"/>
              </a:ext>
            </a:extLst>
          </p:cNvPr>
          <p:cNvSpPr txBox="1"/>
          <p:nvPr/>
        </p:nvSpPr>
        <p:spPr>
          <a:xfrm>
            <a:off x="69396" y="917833"/>
            <a:ext cx="4612820" cy="3416320"/>
          </a:xfrm>
          <a:prstGeom prst="rect">
            <a:avLst/>
          </a:prstGeom>
          <a:noFill/>
        </p:spPr>
        <p:txBody>
          <a:bodyPr wrap="square">
            <a:spAutoFit/>
          </a:bodyPr>
          <a:lstStyle/>
          <a:p>
            <a:pPr marL="285750" indent="-285750">
              <a:buFont typeface="Arial" panose="020B0604020202020204" pitchFamily="34" charset="0"/>
              <a:buChar char="•"/>
            </a:pPr>
            <a:r>
              <a:rPr lang="en-US" sz="1800" dirty="0">
                <a:solidFill>
                  <a:srgbClr val="333333"/>
                </a:solidFill>
                <a:latin typeface="-apple-system"/>
              </a:rPr>
              <a:t>M</a:t>
            </a:r>
            <a:r>
              <a:rPr lang="en-US" sz="1800" b="0" i="0" dirty="0">
                <a:solidFill>
                  <a:srgbClr val="333333"/>
                </a:solidFill>
                <a:effectLst/>
                <a:latin typeface="-apple-system"/>
              </a:rPr>
              <a:t>ulticenter, biologic assignment trial</a:t>
            </a:r>
          </a:p>
          <a:p>
            <a:pPr marL="285750" indent="-285750">
              <a:buFont typeface="Arial" panose="020B0604020202020204" pitchFamily="34" charset="0"/>
              <a:buChar char="•"/>
            </a:pPr>
            <a:r>
              <a:rPr lang="en-US" sz="1800" dirty="0">
                <a:solidFill>
                  <a:srgbClr val="333333"/>
                </a:solidFill>
                <a:latin typeface="-apple-system"/>
              </a:rPr>
              <a:t>S</a:t>
            </a:r>
            <a:r>
              <a:rPr lang="en-US" sz="1800" b="0" i="0" dirty="0">
                <a:solidFill>
                  <a:srgbClr val="333333"/>
                </a:solidFill>
                <a:effectLst/>
                <a:latin typeface="-apple-system"/>
              </a:rPr>
              <a:t>uitable donor vs. </a:t>
            </a:r>
            <a:r>
              <a:rPr lang="en-US" sz="1800" dirty="0">
                <a:solidFill>
                  <a:srgbClr val="333333"/>
                </a:solidFill>
                <a:latin typeface="-apple-system"/>
              </a:rPr>
              <a:t>no </a:t>
            </a:r>
            <a:r>
              <a:rPr lang="en-US" sz="1800" b="0" i="0" dirty="0">
                <a:solidFill>
                  <a:srgbClr val="333333"/>
                </a:solidFill>
                <a:effectLst/>
                <a:latin typeface="-apple-system"/>
              </a:rPr>
              <a:t>suitable donor. </a:t>
            </a:r>
          </a:p>
          <a:p>
            <a:pPr marL="285750" indent="-285750">
              <a:buFont typeface="Arial" panose="020B0604020202020204" pitchFamily="34" charset="0"/>
              <a:buChar char="•"/>
            </a:pPr>
            <a:r>
              <a:rPr lang="en-US" sz="1800" dirty="0">
                <a:solidFill>
                  <a:srgbClr val="333333"/>
                </a:solidFill>
                <a:latin typeface="-apple-system"/>
              </a:rPr>
              <a:t>Occurred in </a:t>
            </a:r>
            <a:r>
              <a:rPr lang="en-US" sz="1800" b="0" i="0" dirty="0">
                <a:solidFill>
                  <a:srgbClr val="333333"/>
                </a:solidFill>
                <a:effectLst/>
                <a:latin typeface="-apple-system"/>
              </a:rPr>
              <a:t>2014-2018</a:t>
            </a:r>
          </a:p>
          <a:p>
            <a:pPr marL="285750" indent="-285750">
              <a:buFont typeface="Arial" panose="020B0604020202020204" pitchFamily="34" charset="0"/>
              <a:buChar char="•"/>
            </a:pPr>
            <a:endParaRPr lang="en-US" sz="1800" dirty="0">
              <a:solidFill>
                <a:srgbClr val="333333"/>
              </a:solidFill>
              <a:latin typeface="-apple-system"/>
            </a:endParaRPr>
          </a:p>
          <a:p>
            <a:pPr marL="285750" indent="-285750">
              <a:buFont typeface="Arial" panose="020B0604020202020204" pitchFamily="34" charset="0"/>
              <a:buChar char="•"/>
            </a:pPr>
            <a:endParaRPr lang="en-US" sz="1800" b="0" i="0" dirty="0">
              <a:solidFill>
                <a:srgbClr val="333333"/>
              </a:solidFill>
              <a:effectLst/>
              <a:latin typeface="-apple-system"/>
            </a:endParaRPr>
          </a:p>
          <a:p>
            <a:pPr marL="285750" indent="-285750">
              <a:buFont typeface="Arial" panose="020B0604020202020204" pitchFamily="34" charset="0"/>
              <a:buChar char="•"/>
            </a:pPr>
            <a:endParaRPr lang="en-US" sz="1800" dirty="0">
              <a:solidFill>
                <a:srgbClr val="333333"/>
              </a:solidFill>
              <a:latin typeface="-apple-system"/>
            </a:endParaRPr>
          </a:p>
          <a:p>
            <a:pPr marL="285750" indent="-285750">
              <a:buFont typeface="Arial" panose="020B0604020202020204" pitchFamily="34" charset="0"/>
              <a:buChar char="•"/>
            </a:pPr>
            <a:endParaRPr lang="en-US" sz="1800" b="0" i="0" dirty="0">
              <a:solidFill>
                <a:srgbClr val="333333"/>
              </a:solidFill>
              <a:effectLst/>
              <a:latin typeface="-apple-system"/>
            </a:endParaRPr>
          </a:p>
          <a:p>
            <a:pPr marL="285750" indent="-285750">
              <a:buFont typeface="Arial" panose="020B0604020202020204" pitchFamily="34" charset="0"/>
              <a:buChar char="•"/>
            </a:pPr>
            <a:r>
              <a:rPr lang="en-US" sz="1800" b="0" i="0" dirty="0">
                <a:solidFill>
                  <a:srgbClr val="333333"/>
                </a:solidFill>
                <a:effectLst/>
                <a:latin typeface="-apple-system"/>
              </a:rPr>
              <a:t>50-75 years of age </a:t>
            </a:r>
          </a:p>
          <a:p>
            <a:pPr marL="285750" indent="-285750">
              <a:buFont typeface="Arial" panose="020B0604020202020204" pitchFamily="34" charset="0"/>
              <a:buChar char="•"/>
            </a:pPr>
            <a:r>
              <a:rPr lang="en-US" sz="1800" dirty="0">
                <a:solidFill>
                  <a:srgbClr val="333333"/>
                </a:solidFill>
                <a:latin typeface="-apple-system"/>
              </a:rPr>
              <a:t>I</a:t>
            </a:r>
            <a:r>
              <a:rPr lang="en-US" sz="1800" b="0" i="0" dirty="0">
                <a:solidFill>
                  <a:srgbClr val="333333"/>
                </a:solidFill>
                <a:effectLst/>
                <a:latin typeface="-apple-system"/>
              </a:rPr>
              <a:t>ntermediate-2 or high-risk MDS (IPSS)</a:t>
            </a:r>
          </a:p>
          <a:p>
            <a:pPr marL="285750" indent="-285750">
              <a:buFont typeface="Arial" panose="020B0604020202020204" pitchFamily="34" charset="0"/>
              <a:buChar char="•"/>
            </a:pPr>
            <a:r>
              <a:rPr lang="en-US" sz="1800" b="0" i="0" dirty="0">
                <a:solidFill>
                  <a:srgbClr val="333333"/>
                </a:solidFill>
                <a:effectLst/>
                <a:latin typeface="-apple-system"/>
              </a:rPr>
              <a:t>Eligible for RIC allogeneic HCT</a:t>
            </a:r>
          </a:p>
          <a:p>
            <a:endParaRPr lang="en-US" sz="1800" b="0" i="0" dirty="0">
              <a:solidFill>
                <a:srgbClr val="333333"/>
              </a:solidFill>
              <a:effectLst/>
              <a:latin typeface="-apple-system"/>
            </a:endParaRPr>
          </a:p>
          <a:p>
            <a:endParaRPr lang="en-US" sz="1800" b="0" i="0" dirty="0">
              <a:solidFill>
                <a:srgbClr val="333333"/>
              </a:solidFill>
              <a:effectLst/>
              <a:latin typeface="-apple-system"/>
            </a:endParaRPr>
          </a:p>
        </p:txBody>
      </p:sp>
    </p:spTree>
    <p:extLst>
      <p:ext uri="{BB962C8B-B14F-4D97-AF65-F5344CB8AC3E}">
        <p14:creationId xmlns:p14="http://schemas.microsoft.com/office/powerpoint/2010/main" val="46518314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500874-E8B9-BF96-F49F-3747E242FDFD}"/>
              </a:ext>
            </a:extLst>
          </p:cNvPr>
          <p:cNvSpPr>
            <a:spLocks noGrp="1"/>
          </p:cNvSpPr>
          <p:nvPr>
            <p:ph type="title"/>
          </p:nvPr>
        </p:nvSpPr>
        <p:spPr/>
        <p:txBody>
          <a:bodyPr/>
          <a:lstStyle/>
          <a:p>
            <a:r>
              <a:rPr lang="en-US" dirty="0"/>
              <a:t>Hypomethylating agents in high risk MDS</a:t>
            </a:r>
          </a:p>
        </p:txBody>
      </p:sp>
      <p:pic>
        <p:nvPicPr>
          <p:cNvPr id="6" name="Picture 5">
            <a:extLst>
              <a:ext uri="{FF2B5EF4-FFF2-40B4-BE49-F238E27FC236}">
                <a16:creationId xmlns:a16="http://schemas.microsoft.com/office/drawing/2014/main" id="{CACEA59E-1CFA-F1F2-3BE6-251782A32370}"/>
              </a:ext>
            </a:extLst>
          </p:cNvPr>
          <p:cNvPicPr>
            <a:picLocks noChangeAspect="1"/>
          </p:cNvPicPr>
          <p:nvPr/>
        </p:nvPicPr>
        <p:blipFill rotWithShape="1">
          <a:blip r:embed="rId2"/>
          <a:srcRect t="16618"/>
          <a:stretch/>
        </p:blipFill>
        <p:spPr>
          <a:xfrm>
            <a:off x="1947936" y="822962"/>
            <a:ext cx="5248127" cy="3489062"/>
          </a:xfrm>
          <a:prstGeom prst="rect">
            <a:avLst/>
          </a:prstGeom>
        </p:spPr>
      </p:pic>
      <p:sp>
        <p:nvSpPr>
          <p:cNvPr id="7" name="TextBox 6">
            <a:extLst>
              <a:ext uri="{FF2B5EF4-FFF2-40B4-BE49-F238E27FC236}">
                <a16:creationId xmlns:a16="http://schemas.microsoft.com/office/drawing/2014/main" id="{3CE9654C-3E78-0803-BA13-7CDA36AF9A58}"/>
              </a:ext>
            </a:extLst>
          </p:cNvPr>
          <p:cNvSpPr txBox="1"/>
          <p:nvPr/>
        </p:nvSpPr>
        <p:spPr>
          <a:xfrm>
            <a:off x="0" y="4057650"/>
            <a:ext cx="6768193" cy="276999"/>
          </a:xfrm>
          <a:prstGeom prst="rect">
            <a:avLst/>
          </a:prstGeom>
          <a:noFill/>
        </p:spPr>
        <p:txBody>
          <a:bodyPr wrap="square" rtlCol="0">
            <a:spAutoFit/>
          </a:bodyPr>
          <a:lstStyle/>
          <a:p>
            <a:r>
              <a:rPr lang="en-US" sz="1200" dirty="0"/>
              <a:t>Silverman, LR. et al, J Clin Oncol. 2002; 20: 2429-2440 </a:t>
            </a:r>
          </a:p>
        </p:txBody>
      </p:sp>
    </p:spTree>
    <p:extLst>
      <p:ext uri="{BB962C8B-B14F-4D97-AF65-F5344CB8AC3E}">
        <p14:creationId xmlns:p14="http://schemas.microsoft.com/office/powerpoint/2010/main" val="1175352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D11666-4352-4169-97B7-287B006CD0D7}"/>
              </a:ext>
            </a:extLst>
          </p:cNvPr>
          <p:cNvSpPr>
            <a:spLocks noGrp="1"/>
          </p:cNvSpPr>
          <p:nvPr>
            <p:ph sz="half" idx="1"/>
          </p:nvPr>
        </p:nvSpPr>
        <p:spPr/>
        <p:txBody>
          <a:bodyPr/>
          <a:lstStyle/>
          <a:p>
            <a:endParaRPr lang="en-US"/>
          </a:p>
        </p:txBody>
      </p:sp>
      <p:sp>
        <p:nvSpPr>
          <p:cNvPr id="3" name="Content Placeholder 2">
            <a:extLst>
              <a:ext uri="{FF2B5EF4-FFF2-40B4-BE49-F238E27FC236}">
                <a16:creationId xmlns:a16="http://schemas.microsoft.com/office/drawing/2014/main" id="{8EA3D846-0B30-0AF2-3DF4-6AA5B9710991}"/>
              </a:ext>
            </a:extLst>
          </p:cNvPr>
          <p:cNvSpPr>
            <a:spLocks noGrp="1"/>
          </p:cNvSpPr>
          <p:nvPr>
            <p:ph sz="half" idx="2"/>
          </p:nvPr>
        </p:nvSpPr>
        <p:spPr/>
        <p:txBody>
          <a:bodyPr/>
          <a:lstStyle/>
          <a:p>
            <a:endParaRPr lang="en-US"/>
          </a:p>
        </p:txBody>
      </p:sp>
      <p:sp>
        <p:nvSpPr>
          <p:cNvPr id="4" name="Title 3">
            <a:extLst>
              <a:ext uri="{FF2B5EF4-FFF2-40B4-BE49-F238E27FC236}">
                <a16:creationId xmlns:a16="http://schemas.microsoft.com/office/drawing/2014/main" id="{E5140BD6-D7A1-D582-D38A-B296FCBF3615}"/>
              </a:ext>
            </a:extLst>
          </p:cNvPr>
          <p:cNvSpPr>
            <a:spLocks noGrp="1"/>
          </p:cNvSpPr>
          <p:nvPr>
            <p:ph type="title"/>
          </p:nvPr>
        </p:nvSpPr>
        <p:spPr/>
        <p:txBody>
          <a:bodyPr/>
          <a:lstStyle/>
          <a:p>
            <a:r>
              <a:rPr lang="en-US" dirty="0"/>
              <a:t>Phase 3 VERONA: Aza+ Ven </a:t>
            </a:r>
          </a:p>
        </p:txBody>
      </p:sp>
      <p:pic>
        <p:nvPicPr>
          <p:cNvPr id="6" name="Picture 5">
            <a:extLst>
              <a:ext uri="{FF2B5EF4-FFF2-40B4-BE49-F238E27FC236}">
                <a16:creationId xmlns:a16="http://schemas.microsoft.com/office/drawing/2014/main" id="{85A8DFFE-7CC0-FF5A-E993-6BD7F0CCF26D}"/>
              </a:ext>
            </a:extLst>
          </p:cNvPr>
          <p:cNvPicPr>
            <a:picLocks noChangeAspect="1"/>
          </p:cNvPicPr>
          <p:nvPr/>
        </p:nvPicPr>
        <p:blipFill rotWithShape="1">
          <a:blip r:embed="rId3"/>
          <a:srcRect t="15985"/>
          <a:stretch/>
        </p:blipFill>
        <p:spPr>
          <a:xfrm>
            <a:off x="17402" y="822961"/>
            <a:ext cx="9109195" cy="4325302"/>
          </a:xfrm>
          <a:prstGeom prst="rect">
            <a:avLst/>
          </a:prstGeom>
        </p:spPr>
      </p:pic>
    </p:spTree>
    <p:extLst>
      <p:ext uri="{BB962C8B-B14F-4D97-AF65-F5344CB8AC3E}">
        <p14:creationId xmlns:p14="http://schemas.microsoft.com/office/powerpoint/2010/main" val="378015479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8FDEB64-8231-C09A-5D02-3887D336745F}"/>
              </a:ext>
            </a:extLst>
          </p:cNvPr>
          <p:cNvSpPr/>
          <p:nvPr/>
        </p:nvSpPr>
        <p:spPr bwMode="auto">
          <a:xfrm>
            <a:off x="0" y="2613278"/>
            <a:ext cx="8964706" cy="1456698"/>
          </a:xfrm>
          <a:prstGeom prst="rect">
            <a:avLst/>
          </a:prstGeom>
          <a:gradFill flip="none" rotWithShape="1">
            <a:gsLst>
              <a:gs pos="0">
                <a:srgbClr val="993366">
                  <a:tint val="66000"/>
                  <a:satMod val="160000"/>
                </a:srgbClr>
              </a:gs>
              <a:gs pos="50000">
                <a:srgbClr val="993366">
                  <a:tint val="44500"/>
                  <a:satMod val="160000"/>
                </a:srgbClr>
              </a:gs>
              <a:gs pos="100000">
                <a:srgbClr val="993366">
                  <a:tint val="23500"/>
                  <a:satMod val="160000"/>
                </a:srgbClr>
              </a:gs>
            </a:gsLst>
            <a:lin ang="2700000" scaled="1"/>
            <a:tileRect/>
          </a:gra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5" name="Rectangle 4">
            <a:extLst>
              <a:ext uri="{FF2B5EF4-FFF2-40B4-BE49-F238E27FC236}">
                <a16:creationId xmlns:a16="http://schemas.microsoft.com/office/drawing/2014/main" id="{6F18E26F-61E6-1554-F524-0C9906FB8C26}"/>
              </a:ext>
            </a:extLst>
          </p:cNvPr>
          <p:cNvSpPr/>
          <p:nvPr/>
        </p:nvSpPr>
        <p:spPr bwMode="auto">
          <a:xfrm>
            <a:off x="0" y="824593"/>
            <a:ext cx="8964706" cy="1604842"/>
          </a:xfrm>
          <a:prstGeom prst="rect">
            <a:avLst/>
          </a:prstGeom>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tileRect/>
          </a:gra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2" name="Content Placeholder 1">
            <a:extLst>
              <a:ext uri="{FF2B5EF4-FFF2-40B4-BE49-F238E27FC236}">
                <a16:creationId xmlns:a16="http://schemas.microsoft.com/office/drawing/2014/main" id="{A0EE7550-67C1-2398-D40B-9111D9E8B819}"/>
              </a:ext>
            </a:extLst>
          </p:cNvPr>
          <p:cNvSpPr>
            <a:spLocks noGrp="1"/>
          </p:cNvSpPr>
          <p:nvPr>
            <p:ph idx="1"/>
          </p:nvPr>
        </p:nvSpPr>
        <p:spPr>
          <a:xfrm>
            <a:off x="179293" y="844550"/>
            <a:ext cx="8489577" cy="1729581"/>
          </a:xfrm>
        </p:spPr>
        <p:txBody>
          <a:bodyPr/>
          <a:lstStyle/>
          <a:p>
            <a:pPr>
              <a:buFont typeface="Arial" panose="020B0604020202020204" pitchFamily="34" charset="0"/>
              <a:buChar char="•"/>
            </a:pPr>
            <a:r>
              <a:rPr lang="en-US" sz="2000" b="0" i="0" dirty="0" err="1">
                <a:solidFill>
                  <a:srgbClr val="1A1A1A"/>
                </a:solidFill>
                <a:effectLst/>
                <a:latin typeface="acumin-pro"/>
              </a:rPr>
              <a:t>Ivosidenib</a:t>
            </a:r>
            <a:r>
              <a:rPr lang="en-US" sz="2000" b="0" i="0" dirty="0">
                <a:solidFill>
                  <a:srgbClr val="1A1A1A"/>
                </a:solidFill>
                <a:effectLst/>
                <a:latin typeface="acumin-pro"/>
              </a:rPr>
              <a:t> single agent- Continuous 28-day cycles of IVO - 500 mg orally QD. </a:t>
            </a:r>
          </a:p>
          <a:p>
            <a:pPr lvl="1"/>
            <a:r>
              <a:rPr lang="en-US" dirty="0">
                <a:solidFill>
                  <a:srgbClr val="1A1A1A"/>
                </a:solidFill>
                <a:latin typeface="acumin-pro"/>
              </a:rPr>
              <a:t>C</a:t>
            </a:r>
            <a:r>
              <a:rPr lang="en-US" b="0" i="0" dirty="0">
                <a:solidFill>
                  <a:srgbClr val="1A1A1A"/>
                </a:solidFill>
                <a:effectLst/>
                <a:latin typeface="acumin-pro"/>
              </a:rPr>
              <a:t>ohort A: Higher risk MDS having failed azacytidine (n = 13)</a:t>
            </a:r>
          </a:p>
          <a:p>
            <a:pPr lvl="1"/>
            <a:r>
              <a:rPr lang="en-US" dirty="0">
                <a:solidFill>
                  <a:srgbClr val="1A1A1A"/>
                </a:solidFill>
                <a:latin typeface="acumin-pro"/>
              </a:rPr>
              <a:t>Cohort</a:t>
            </a:r>
            <a:r>
              <a:rPr lang="en-US" b="0" i="0" dirty="0">
                <a:solidFill>
                  <a:srgbClr val="1A1A1A"/>
                </a:solidFill>
                <a:effectLst/>
                <a:latin typeface="acumin-pro"/>
              </a:rPr>
              <a:t> B: Untreated higher risk MDS without severe </a:t>
            </a:r>
            <a:r>
              <a:rPr lang="en-US" b="0" i="0" dirty="0" err="1">
                <a:solidFill>
                  <a:srgbClr val="1A1A1A"/>
                </a:solidFill>
                <a:effectLst/>
                <a:latin typeface="acumin-pro"/>
              </a:rPr>
              <a:t>cytopenias</a:t>
            </a:r>
            <a:r>
              <a:rPr lang="en-US" b="0" i="0" dirty="0">
                <a:solidFill>
                  <a:srgbClr val="1A1A1A"/>
                </a:solidFill>
                <a:effectLst/>
                <a:latin typeface="acumin-pro"/>
              </a:rPr>
              <a:t> (n = 13)</a:t>
            </a:r>
          </a:p>
          <a:p>
            <a:pPr lvl="1"/>
            <a:r>
              <a:rPr lang="en-US" dirty="0">
                <a:solidFill>
                  <a:srgbClr val="1A1A1A"/>
                </a:solidFill>
                <a:latin typeface="acumin-pro"/>
              </a:rPr>
              <a:t>Cohort </a:t>
            </a:r>
            <a:r>
              <a:rPr lang="en-US" b="0" i="0" dirty="0">
                <a:solidFill>
                  <a:srgbClr val="1A1A1A"/>
                </a:solidFill>
                <a:effectLst/>
                <a:latin typeface="acumin-pro"/>
              </a:rPr>
              <a:t>C: Low-risk MDS after EPO failure (n= 2)</a:t>
            </a:r>
          </a:p>
          <a:p>
            <a:pPr marL="457200" lvl="1" indent="0">
              <a:buNone/>
            </a:pPr>
            <a:endParaRPr lang="en-US" b="0" i="0" dirty="0">
              <a:solidFill>
                <a:srgbClr val="1A1A1A"/>
              </a:solidFill>
              <a:effectLst/>
              <a:latin typeface="acumin-pro"/>
            </a:endParaRPr>
          </a:p>
        </p:txBody>
      </p:sp>
      <p:sp>
        <p:nvSpPr>
          <p:cNvPr id="3" name="TextBox 2">
            <a:extLst>
              <a:ext uri="{FF2B5EF4-FFF2-40B4-BE49-F238E27FC236}">
                <a16:creationId xmlns:a16="http://schemas.microsoft.com/office/drawing/2014/main" id="{54FF079B-DEBB-C609-5346-01DE582B8445}"/>
              </a:ext>
            </a:extLst>
          </p:cNvPr>
          <p:cNvSpPr txBox="1"/>
          <p:nvPr/>
        </p:nvSpPr>
        <p:spPr>
          <a:xfrm>
            <a:off x="0" y="242047"/>
            <a:ext cx="8964706" cy="954107"/>
          </a:xfrm>
          <a:prstGeom prst="rect">
            <a:avLst/>
          </a:prstGeom>
          <a:noFill/>
        </p:spPr>
        <p:txBody>
          <a:bodyPr wrap="square" rtlCol="0">
            <a:spAutoFit/>
          </a:bodyPr>
          <a:lstStyle/>
          <a:p>
            <a:pPr algn="ctr"/>
            <a:r>
              <a:rPr lang="en-US" sz="1600" b="1" dirty="0">
                <a:ln w="9525" cap="flat" cmpd="sng" algn="ctr">
                  <a:noFill/>
                  <a:prstDash val="solid"/>
                  <a:round/>
                  <a:headEnd type="none" w="med" len="med"/>
                  <a:tailEnd type="none" w="med" len="med"/>
                </a:ln>
                <a:solidFill>
                  <a:srgbClr val="000000"/>
                </a:solidFill>
                <a:latin typeface="Helvetica"/>
                <a:cs typeface="Helvetica"/>
                <a:sym typeface="Wingdings"/>
              </a:rPr>
              <a:t>Targeted therapy with the mutant IDH1 inhibitor </a:t>
            </a:r>
            <a:r>
              <a:rPr lang="en-US" sz="1600" b="1" dirty="0" err="1">
                <a:ln w="9525" cap="flat" cmpd="sng" algn="ctr">
                  <a:noFill/>
                  <a:prstDash val="solid"/>
                  <a:round/>
                  <a:headEnd type="none" w="med" len="med"/>
                  <a:tailEnd type="none" w="med" len="med"/>
                </a:ln>
                <a:solidFill>
                  <a:srgbClr val="000000"/>
                </a:solidFill>
                <a:latin typeface="Helvetica"/>
                <a:cs typeface="Helvetica"/>
                <a:sym typeface="Wingdings"/>
              </a:rPr>
              <a:t>ivosidenib</a:t>
            </a:r>
            <a:r>
              <a:rPr lang="en-US" sz="1600" b="1" dirty="0">
                <a:ln w="9525" cap="flat" cmpd="sng" algn="ctr">
                  <a:noFill/>
                  <a:prstDash val="solid"/>
                  <a:round/>
                  <a:headEnd type="none" w="med" len="med"/>
                  <a:tailEnd type="none" w="med" len="med"/>
                </a:ln>
                <a:solidFill>
                  <a:srgbClr val="000000"/>
                </a:solidFill>
                <a:latin typeface="Helvetica"/>
                <a:cs typeface="Helvetica"/>
                <a:sym typeface="Wingdings"/>
              </a:rPr>
              <a:t> IDH1-mutant myelodysplastic syndrome</a:t>
            </a:r>
            <a:endParaRPr lang="en-US" dirty="0"/>
          </a:p>
          <a:p>
            <a:endParaRPr lang="en-US" dirty="0"/>
          </a:p>
        </p:txBody>
      </p:sp>
      <p:sp>
        <p:nvSpPr>
          <p:cNvPr id="4" name="Content Placeholder 1">
            <a:extLst>
              <a:ext uri="{FF2B5EF4-FFF2-40B4-BE49-F238E27FC236}">
                <a16:creationId xmlns:a16="http://schemas.microsoft.com/office/drawing/2014/main" id="{413A2477-3DC5-D2F9-8BCE-B9E79E975917}"/>
              </a:ext>
            </a:extLst>
          </p:cNvPr>
          <p:cNvSpPr txBox="1">
            <a:spLocks/>
          </p:cNvSpPr>
          <p:nvPr/>
        </p:nvSpPr>
        <p:spPr bwMode="auto">
          <a:xfrm>
            <a:off x="69944" y="2621480"/>
            <a:ext cx="8489577" cy="1880721"/>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a:buFont typeface="Arial" panose="020B0604020202020204" pitchFamily="34" charset="0"/>
              <a:buChar char="•"/>
            </a:pPr>
            <a:r>
              <a:rPr lang="en-US" sz="2000" kern="0" dirty="0">
                <a:solidFill>
                  <a:srgbClr val="1A1A1A"/>
                </a:solidFill>
                <a:latin typeface="acumin-pro"/>
              </a:rPr>
              <a:t>ORR: </a:t>
            </a:r>
            <a:r>
              <a:rPr lang="en-US" sz="2000" b="0" i="0" dirty="0">
                <a:solidFill>
                  <a:srgbClr val="1A1A1A"/>
                </a:solidFill>
                <a:effectLst/>
                <a:latin typeface="acumin-pro"/>
              </a:rPr>
              <a:t>69% including 12 CR (46%), 1 PR and 5 HI. Most patients achieved response after 3 cycles (17/18).</a:t>
            </a:r>
          </a:p>
          <a:p>
            <a:pPr>
              <a:buFont typeface="Arial" panose="020B0604020202020204" pitchFamily="34" charset="0"/>
              <a:buChar char="•"/>
            </a:pPr>
            <a:r>
              <a:rPr lang="en-US" sz="2000" b="0" i="0" dirty="0">
                <a:solidFill>
                  <a:srgbClr val="1A1A1A"/>
                </a:solidFill>
                <a:effectLst/>
                <a:latin typeface="acumin-pro"/>
              </a:rPr>
              <a:t>Response was achieved in 7 (54%), 10 (91%) and 1 (50%) in cohort A, B and C</a:t>
            </a:r>
          </a:p>
          <a:p>
            <a:pPr>
              <a:buFont typeface="Arial" panose="020B0604020202020204" pitchFamily="34" charset="0"/>
              <a:buChar char="•"/>
            </a:pPr>
            <a:r>
              <a:rPr lang="en-US" sz="2000" dirty="0">
                <a:solidFill>
                  <a:srgbClr val="1A1A1A"/>
                </a:solidFill>
                <a:latin typeface="acumin-pro"/>
              </a:rPr>
              <a:t>Response duration: Median 7.4 </a:t>
            </a:r>
            <a:r>
              <a:rPr lang="en-US" sz="2000" dirty="0" err="1">
                <a:solidFill>
                  <a:srgbClr val="1A1A1A"/>
                </a:solidFill>
                <a:latin typeface="acumin-pro"/>
              </a:rPr>
              <a:t>mo</a:t>
            </a:r>
            <a:r>
              <a:rPr lang="en-US" sz="2000" dirty="0">
                <a:solidFill>
                  <a:srgbClr val="1A1A1A"/>
                </a:solidFill>
                <a:latin typeface="acumin-pro"/>
              </a:rPr>
              <a:t> </a:t>
            </a:r>
            <a:r>
              <a:rPr lang="en-US" sz="2000" b="0" i="0" dirty="0">
                <a:solidFill>
                  <a:srgbClr val="1A1A1A"/>
                </a:solidFill>
                <a:effectLst/>
                <a:latin typeface="acumin-pro"/>
              </a:rPr>
              <a:t> </a:t>
            </a:r>
            <a:endParaRPr lang="en-US" sz="2000" kern="0" dirty="0">
              <a:solidFill>
                <a:srgbClr val="1A1A1A"/>
              </a:solidFill>
              <a:latin typeface="acumin-pro"/>
            </a:endParaRPr>
          </a:p>
        </p:txBody>
      </p:sp>
      <p:sp>
        <p:nvSpPr>
          <p:cNvPr id="8" name="Text Placeholder 2">
            <a:extLst>
              <a:ext uri="{FF2B5EF4-FFF2-40B4-BE49-F238E27FC236}">
                <a16:creationId xmlns:a16="http://schemas.microsoft.com/office/drawing/2014/main" id="{301F2C13-FD2D-823E-C6CB-E38523935B65}"/>
              </a:ext>
            </a:extLst>
          </p:cNvPr>
          <p:cNvSpPr txBox="1"/>
          <p:nvPr/>
        </p:nvSpPr>
        <p:spPr bwMode="auto">
          <a:xfrm>
            <a:off x="-179293" y="4217762"/>
            <a:ext cx="4314732" cy="331788"/>
          </a:xfrm>
          <a:prstGeom prst="rect">
            <a:avLst/>
          </a:prstGeom>
          <a:noFill/>
          <a:ln w="9525" cap="flat" cmpd="sng" algn="ctr">
            <a:noFill/>
            <a:prstDash val="solid"/>
            <a:miter lim="800000"/>
            <a:headEnd type="none" w="med" len="med"/>
            <a:tailEnd type="none" w="med" len="med"/>
          </a:ln>
        </p:spPr>
        <p:txBody>
          <a:bodyPr lIns="254000" tIns="0" rIns="0" bIns="63500"/>
          <a:lstStyle>
            <a:lvl1pPr eaLnBrk="0" hangingPunct="0">
              <a:defRPr>
                <a:solidFill>
                  <a:schemeClr val="tx1"/>
                </a:solidFill>
                <a:latin typeface="Arial" panose="020B0604020202020204" pitchFamily="34" charset="0"/>
                <a:ea typeface="ＭＳ Ｐゴシック" panose="020B0600070205080204" pitchFamily="34" charset="-128"/>
              </a:defRPr>
            </a:lvl1pPr>
            <a:lvl2pPr eaLnBrk="0" hangingPunct="0">
              <a:defRPr>
                <a:solidFill>
                  <a:schemeClr val="tx1"/>
                </a:solidFill>
                <a:latin typeface="Arial" panose="020B0604020202020204" pitchFamily="34" charset="0"/>
                <a:ea typeface="ＭＳ Ｐゴシック" panose="020B0600070205080204" pitchFamily="34" charset="-128"/>
              </a:defRPr>
            </a:lvl2pPr>
            <a:lvl3pPr eaLnBrk="0" hangingPunct="0">
              <a:defRPr>
                <a:solidFill>
                  <a:schemeClr val="tx1"/>
                </a:solidFill>
                <a:latin typeface="Arial" panose="020B0604020202020204" pitchFamily="34" charset="0"/>
                <a:ea typeface="ＭＳ Ｐゴシック" panose="020B0600070205080204" pitchFamily="34" charset="-128"/>
              </a:defRPr>
            </a:lvl3pPr>
            <a:lvl4pPr eaLnBrk="0" hangingPunct="0">
              <a:defRPr>
                <a:solidFill>
                  <a:schemeClr val="tx1"/>
                </a:solidFill>
                <a:latin typeface="Arial" panose="020B0604020202020204" pitchFamily="34" charset="0"/>
                <a:ea typeface="ＭＳ Ｐゴシック" panose="020B0600070205080204" pitchFamily="34" charset="-128"/>
              </a:defRPr>
            </a:lvl4pPr>
            <a:lvl5pPr eaLnBrk="0" hangingPunct="0">
              <a:defRPr>
                <a:solidFill>
                  <a:schemeClr val="tx1"/>
                </a:solidFill>
                <a:latin typeface="Arial" panose="020B0604020202020204" pitchFamily="34" charset="0"/>
                <a:ea typeface="ＭＳ Ｐゴシック" panose="020B0600070205080204" pitchFamily="34" charset="-128"/>
              </a:defRPr>
            </a:lvl5pPr>
            <a:lvl6pPr eaLnBrk="0" fontAlgn="base" hangingPunct="0">
              <a:spcBef>
                <a:spcPct val="0"/>
              </a:spcBef>
              <a:spcAft>
                <a:spcPct val="0"/>
              </a:spcAft>
              <a:buSzPct val="100000"/>
              <a:defRPr>
                <a:solidFill>
                  <a:schemeClr val="tx1"/>
                </a:solidFill>
                <a:latin typeface="Arial" panose="020B0604020202020204" pitchFamily="34" charset="0"/>
                <a:ea typeface="ＭＳ Ｐゴシック" panose="020B0600070205080204" pitchFamily="34" charset="-128"/>
              </a:defRPr>
            </a:lvl6pPr>
            <a:lvl7pPr eaLnBrk="0" fontAlgn="base" hangingPunct="0">
              <a:spcBef>
                <a:spcPct val="0"/>
              </a:spcBef>
              <a:spcAft>
                <a:spcPct val="0"/>
              </a:spcAft>
              <a:buSzPct val="100000"/>
              <a:defRPr>
                <a:solidFill>
                  <a:schemeClr val="tx1"/>
                </a:solidFill>
                <a:latin typeface="Arial" panose="020B0604020202020204" pitchFamily="34" charset="0"/>
                <a:ea typeface="ＭＳ Ｐゴシック" panose="020B0600070205080204" pitchFamily="34" charset="-128"/>
              </a:defRPr>
            </a:lvl7pPr>
            <a:lvl8pPr eaLnBrk="0" fontAlgn="base" hangingPunct="0">
              <a:spcBef>
                <a:spcPct val="0"/>
              </a:spcBef>
              <a:spcAft>
                <a:spcPct val="0"/>
              </a:spcAft>
              <a:buSzPct val="100000"/>
              <a:defRPr>
                <a:solidFill>
                  <a:schemeClr val="tx1"/>
                </a:solidFill>
                <a:latin typeface="Arial" panose="020B0604020202020204" pitchFamily="34" charset="0"/>
                <a:ea typeface="ＭＳ Ｐゴシック" panose="020B0600070205080204" pitchFamily="34" charset="-128"/>
              </a:defRPr>
            </a:lvl8pPr>
            <a:lvl9pPr eaLnBrk="0" fontAlgn="base" hangingPunct="0">
              <a:spcBef>
                <a:spcPct val="0"/>
              </a:spcBef>
              <a:spcAft>
                <a:spcPct val="0"/>
              </a:spcAft>
              <a:buSzPct val="100000"/>
              <a:defRPr>
                <a:solidFill>
                  <a:schemeClr val="tx1"/>
                </a:solidFill>
                <a:latin typeface="Arial" panose="020B0604020202020204" pitchFamily="34" charset="0"/>
                <a:ea typeface="ＭＳ Ｐゴシック" panose="020B0600070205080204" pitchFamily="34" charset="-128"/>
              </a:defRPr>
            </a:lvl9pPr>
          </a:lstStyle>
          <a:p>
            <a:pPr eaLnBrk="1" hangingPunct="1">
              <a:spcBef>
                <a:spcPct val="20000"/>
              </a:spcBef>
            </a:pPr>
            <a:r>
              <a:rPr lang="en-US" altLang="en-US" sz="1100" b="1" dirty="0" err="1">
                <a:latin typeface="+mn-lt"/>
                <a:cs typeface="Helvetica" panose="020B0604020202020204" pitchFamily="34" charset="0"/>
              </a:rPr>
              <a:t>Sebert</a:t>
            </a:r>
            <a:r>
              <a:rPr lang="en-US" altLang="en-US" sz="1100" b="1" dirty="0">
                <a:latin typeface="+mn-lt"/>
                <a:cs typeface="Helvetica" panose="020B0604020202020204" pitchFamily="34" charset="0"/>
              </a:rPr>
              <a:t>, et al., </a:t>
            </a:r>
            <a:r>
              <a:rPr lang="en-US" sz="1100" b="1" dirty="0">
                <a:effectLst/>
                <a:latin typeface="+mn-lt"/>
              </a:rPr>
              <a:t>Blood (2021) 138 (Supplement 1): 62</a:t>
            </a:r>
            <a:r>
              <a:rPr lang="en-US" sz="1050" b="1" dirty="0">
                <a:effectLst/>
                <a:latin typeface="acumin-pro"/>
              </a:rPr>
              <a:t>.</a:t>
            </a:r>
            <a:endParaRPr lang="en-US" altLang="en-US" sz="1200" b="1" dirty="0">
              <a:latin typeface="Helvetica" panose="020B0604020202020204" pitchFamily="34" charset="0"/>
              <a:cs typeface="Helvetica" panose="020B0604020202020204" pitchFamily="34" charset="0"/>
            </a:endParaRPr>
          </a:p>
        </p:txBody>
      </p:sp>
      <p:sp>
        <p:nvSpPr>
          <p:cNvPr id="9" name="Text Placeholder 2">
            <a:extLst>
              <a:ext uri="{FF2B5EF4-FFF2-40B4-BE49-F238E27FC236}">
                <a16:creationId xmlns:a16="http://schemas.microsoft.com/office/drawing/2014/main" id="{57142804-623F-59C1-49F2-38B936C7EC9D}"/>
              </a:ext>
            </a:extLst>
          </p:cNvPr>
          <p:cNvSpPr txBox="1"/>
          <p:nvPr/>
        </p:nvSpPr>
        <p:spPr bwMode="auto">
          <a:xfrm>
            <a:off x="4829268" y="4170413"/>
            <a:ext cx="4314732" cy="331788"/>
          </a:xfrm>
          <a:prstGeom prst="rect">
            <a:avLst/>
          </a:prstGeom>
          <a:noFill/>
          <a:ln w="9525" cap="flat" cmpd="sng" algn="ctr">
            <a:noFill/>
            <a:prstDash val="solid"/>
            <a:miter lim="800000"/>
            <a:headEnd type="none" w="med" len="med"/>
            <a:tailEnd type="none" w="med" len="med"/>
          </a:ln>
        </p:spPr>
        <p:txBody>
          <a:bodyPr lIns="254000" tIns="0" rIns="0" bIns="63500"/>
          <a:lstStyle>
            <a:lvl1pPr eaLnBrk="0" hangingPunct="0">
              <a:defRPr>
                <a:solidFill>
                  <a:schemeClr val="tx1"/>
                </a:solidFill>
                <a:latin typeface="Arial" panose="020B0604020202020204" pitchFamily="34" charset="0"/>
                <a:ea typeface="ＭＳ Ｐゴシック" panose="020B0600070205080204" pitchFamily="34" charset="-128"/>
              </a:defRPr>
            </a:lvl1pPr>
            <a:lvl2pPr eaLnBrk="0" hangingPunct="0">
              <a:defRPr>
                <a:solidFill>
                  <a:schemeClr val="tx1"/>
                </a:solidFill>
                <a:latin typeface="Arial" panose="020B0604020202020204" pitchFamily="34" charset="0"/>
                <a:ea typeface="ＭＳ Ｐゴシック" panose="020B0600070205080204" pitchFamily="34" charset="-128"/>
              </a:defRPr>
            </a:lvl2pPr>
            <a:lvl3pPr eaLnBrk="0" hangingPunct="0">
              <a:defRPr>
                <a:solidFill>
                  <a:schemeClr val="tx1"/>
                </a:solidFill>
                <a:latin typeface="Arial" panose="020B0604020202020204" pitchFamily="34" charset="0"/>
                <a:ea typeface="ＭＳ Ｐゴシック" panose="020B0600070205080204" pitchFamily="34" charset="-128"/>
              </a:defRPr>
            </a:lvl3pPr>
            <a:lvl4pPr eaLnBrk="0" hangingPunct="0">
              <a:defRPr>
                <a:solidFill>
                  <a:schemeClr val="tx1"/>
                </a:solidFill>
                <a:latin typeface="Arial" panose="020B0604020202020204" pitchFamily="34" charset="0"/>
                <a:ea typeface="ＭＳ Ｐゴシック" panose="020B0600070205080204" pitchFamily="34" charset="-128"/>
              </a:defRPr>
            </a:lvl4pPr>
            <a:lvl5pPr eaLnBrk="0" hangingPunct="0">
              <a:defRPr>
                <a:solidFill>
                  <a:schemeClr val="tx1"/>
                </a:solidFill>
                <a:latin typeface="Arial" panose="020B0604020202020204" pitchFamily="34" charset="0"/>
                <a:ea typeface="ＭＳ Ｐゴシック" panose="020B0600070205080204" pitchFamily="34" charset="-128"/>
              </a:defRPr>
            </a:lvl5pPr>
            <a:lvl6pPr eaLnBrk="0" fontAlgn="base" hangingPunct="0">
              <a:spcBef>
                <a:spcPct val="0"/>
              </a:spcBef>
              <a:spcAft>
                <a:spcPct val="0"/>
              </a:spcAft>
              <a:buSzPct val="100000"/>
              <a:defRPr>
                <a:solidFill>
                  <a:schemeClr val="tx1"/>
                </a:solidFill>
                <a:latin typeface="Arial" panose="020B0604020202020204" pitchFamily="34" charset="0"/>
                <a:ea typeface="ＭＳ Ｐゴシック" panose="020B0600070205080204" pitchFamily="34" charset="-128"/>
              </a:defRPr>
            </a:lvl6pPr>
            <a:lvl7pPr eaLnBrk="0" fontAlgn="base" hangingPunct="0">
              <a:spcBef>
                <a:spcPct val="0"/>
              </a:spcBef>
              <a:spcAft>
                <a:spcPct val="0"/>
              </a:spcAft>
              <a:buSzPct val="100000"/>
              <a:defRPr>
                <a:solidFill>
                  <a:schemeClr val="tx1"/>
                </a:solidFill>
                <a:latin typeface="Arial" panose="020B0604020202020204" pitchFamily="34" charset="0"/>
                <a:ea typeface="ＭＳ Ｐゴシック" panose="020B0600070205080204" pitchFamily="34" charset="-128"/>
              </a:defRPr>
            </a:lvl7pPr>
            <a:lvl8pPr eaLnBrk="0" fontAlgn="base" hangingPunct="0">
              <a:spcBef>
                <a:spcPct val="0"/>
              </a:spcBef>
              <a:spcAft>
                <a:spcPct val="0"/>
              </a:spcAft>
              <a:buSzPct val="100000"/>
              <a:defRPr>
                <a:solidFill>
                  <a:schemeClr val="tx1"/>
                </a:solidFill>
                <a:latin typeface="Arial" panose="020B0604020202020204" pitchFamily="34" charset="0"/>
                <a:ea typeface="ＭＳ Ｐゴシック" panose="020B0600070205080204" pitchFamily="34" charset="-128"/>
              </a:defRPr>
            </a:lvl8pPr>
            <a:lvl9pPr eaLnBrk="0" fontAlgn="base" hangingPunct="0">
              <a:spcBef>
                <a:spcPct val="0"/>
              </a:spcBef>
              <a:spcAft>
                <a:spcPct val="0"/>
              </a:spcAft>
              <a:buSzPct val="100000"/>
              <a:defRPr>
                <a:solidFill>
                  <a:schemeClr val="tx1"/>
                </a:solidFill>
                <a:latin typeface="Arial" panose="020B0604020202020204" pitchFamily="34" charset="0"/>
                <a:ea typeface="ＭＳ Ｐゴシック" panose="020B0600070205080204" pitchFamily="34" charset="-128"/>
              </a:defRPr>
            </a:lvl9pPr>
          </a:lstStyle>
          <a:p>
            <a:pPr eaLnBrk="1" hangingPunct="1">
              <a:spcBef>
                <a:spcPct val="20000"/>
              </a:spcBef>
            </a:pPr>
            <a:r>
              <a:rPr lang="en-US" altLang="en-US" sz="1100" b="1" dirty="0">
                <a:latin typeface="+mn-lt"/>
                <a:cs typeface="Helvetica" panose="020B0604020202020204" pitchFamily="34" charset="0"/>
              </a:rPr>
              <a:t>FDA Approval 10/2023</a:t>
            </a:r>
            <a:endParaRPr lang="en-US" altLang="en-US" sz="1200" b="1" dirty="0">
              <a:latin typeface="Helvetica" panose="020B0604020202020204" pitchFamily="34" charset="0"/>
              <a:cs typeface="Helvetica" panose="020B0604020202020204" pitchFamily="34" charset="0"/>
            </a:endParaRPr>
          </a:p>
        </p:txBody>
      </p:sp>
    </p:spTree>
    <p:extLst>
      <p:ext uri="{BB962C8B-B14F-4D97-AF65-F5344CB8AC3E}">
        <p14:creationId xmlns:p14="http://schemas.microsoft.com/office/powerpoint/2010/main" val="243431023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6CD933B-778D-9192-C686-1C8D18AC9128}"/>
              </a:ext>
            </a:extLst>
          </p:cNvPr>
          <p:cNvSpPr txBox="1"/>
          <p:nvPr/>
        </p:nvSpPr>
        <p:spPr bwMode="auto">
          <a:xfrm>
            <a:off x="163286" y="56355"/>
            <a:ext cx="8123464" cy="711087"/>
          </a:xfrm>
          <a:prstGeom prst="rect">
            <a:avLst/>
          </a:prstGeom>
          <a:noFill/>
          <a:ln w="9525" cap="flat" cmpd="sng" algn="ctr">
            <a:noFill/>
            <a:prstDash val="solid"/>
            <a:miter lim="800000"/>
            <a:headEnd type="none" w="med" len="med"/>
            <a:tailEnd type="none" w="med" len="med"/>
          </a:ln>
        </p:spPr>
        <p:txBody>
          <a:bodyPr lIns="254000" tIns="63500" rIns="127000" bIns="0"/>
          <a:lstStyle/>
          <a:p>
            <a:pPr algn="ctr">
              <a:buSzTx/>
              <a:defRPr kumimoji="0" sz="1800" b="0" i="0" u="none" strike="noStrike" kern="1200" cap="none" spc="0" normalizeH="0" baseline="0" noProof="0">
                <a:ln w="9525" cap="flat" cmpd="sng" algn="ctr">
                  <a:noFill/>
                  <a:prstDash val="solid"/>
                  <a:round/>
                  <a:headEnd type="none" w="med" len="med"/>
                  <a:tailEnd type="none" w="med" len="med"/>
                </a:ln>
                <a:solidFill>
                  <a:srgbClr val="000000"/>
                </a:solidFill>
                <a:effectLst/>
                <a:uLnTx/>
                <a:uFillTx/>
                <a:latin typeface="Arial"/>
                <a:ea typeface="ＭＳ Ｐゴシック" pitchFamily="34" charset="-128"/>
                <a:cs typeface="Arial"/>
                <a:sym typeface="Wingdings" charset="2"/>
              </a:defRPr>
            </a:pPr>
            <a:r>
              <a:rPr lang="en-US" sz="1600" b="1" dirty="0">
                <a:ln w="9525" cap="flat" cmpd="sng" algn="ctr">
                  <a:noFill/>
                  <a:prstDash val="solid"/>
                  <a:round/>
                  <a:headEnd type="none" w="med" len="med"/>
                  <a:tailEnd type="none" w="med" len="med"/>
                </a:ln>
                <a:solidFill>
                  <a:srgbClr val="000000"/>
                </a:solidFill>
                <a:latin typeface="Helvetica"/>
                <a:cs typeface="Helvetica"/>
                <a:sym typeface="Wingdings"/>
              </a:rPr>
              <a:t>Targeted therapy with the mutant IDH2 inhibitor </a:t>
            </a:r>
            <a:r>
              <a:rPr lang="en-US" sz="1600" b="1" dirty="0" err="1">
                <a:ln w="9525" cap="flat" cmpd="sng" algn="ctr">
                  <a:noFill/>
                  <a:prstDash val="solid"/>
                  <a:round/>
                  <a:headEnd type="none" w="med" len="med"/>
                  <a:tailEnd type="none" w="med" len="med"/>
                </a:ln>
                <a:solidFill>
                  <a:srgbClr val="000000"/>
                </a:solidFill>
                <a:latin typeface="Helvetica"/>
                <a:cs typeface="Helvetica"/>
                <a:sym typeface="Wingdings"/>
              </a:rPr>
              <a:t>enasidenib</a:t>
            </a:r>
            <a:r>
              <a:rPr lang="en-US" sz="1600" b="1" dirty="0">
                <a:ln w="9525" cap="flat" cmpd="sng" algn="ctr">
                  <a:noFill/>
                  <a:prstDash val="solid"/>
                  <a:round/>
                  <a:headEnd type="none" w="med" len="med"/>
                  <a:tailEnd type="none" w="med" len="med"/>
                </a:ln>
                <a:solidFill>
                  <a:srgbClr val="000000"/>
                </a:solidFill>
                <a:latin typeface="Helvetica"/>
                <a:cs typeface="Helvetica"/>
                <a:sym typeface="Wingdings"/>
              </a:rPr>
              <a:t> for high-risk IDH2-mutant myelodysplastic syndrome</a:t>
            </a:r>
          </a:p>
        </p:txBody>
      </p:sp>
      <p:sp>
        <p:nvSpPr>
          <p:cNvPr id="4" name="Text Placeholder 2">
            <a:extLst>
              <a:ext uri="{FF2B5EF4-FFF2-40B4-BE49-F238E27FC236}">
                <a16:creationId xmlns:a16="http://schemas.microsoft.com/office/drawing/2014/main" id="{F5F51280-107A-A72C-6080-782EC2749AA2}"/>
              </a:ext>
            </a:extLst>
          </p:cNvPr>
          <p:cNvSpPr txBox="1"/>
          <p:nvPr/>
        </p:nvSpPr>
        <p:spPr bwMode="auto">
          <a:xfrm>
            <a:off x="2853498" y="4217762"/>
            <a:ext cx="4314732" cy="331788"/>
          </a:xfrm>
          <a:prstGeom prst="rect">
            <a:avLst/>
          </a:prstGeom>
          <a:noFill/>
          <a:ln w="9525" cap="flat" cmpd="sng" algn="ctr">
            <a:noFill/>
            <a:prstDash val="solid"/>
            <a:miter lim="800000"/>
            <a:headEnd type="none" w="med" len="med"/>
            <a:tailEnd type="none" w="med" len="med"/>
          </a:ln>
        </p:spPr>
        <p:txBody>
          <a:bodyPr lIns="254000" tIns="0" rIns="0" bIns="63500"/>
          <a:lstStyle>
            <a:lvl1pPr eaLnBrk="0" hangingPunct="0">
              <a:defRPr>
                <a:solidFill>
                  <a:schemeClr val="tx1"/>
                </a:solidFill>
                <a:latin typeface="Arial" panose="020B0604020202020204" pitchFamily="34" charset="0"/>
                <a:ea typeface="ＭＳ Ｐゴシック" panose="020B0600070205080204" pitchFamily="34" charset="-128"/>
              </a:defRPr>
            </a:lvl1pPr>
            <a:lvl2pPr eaLnBrk="0" hangingPunct="0">
              <a:defRPr>
                <a:solidFill>
                  <a:schemeClr val="tx1"/>
                </a:solidFill>
                <a:latin typeface="Arial" panose="020B0604020202020204" pitchFamily="34" charset="0"/>
                <a:ea typeface="ＭＳ Ｐゴシック" panose="020B0600070205080204" pitchFamily="34" charset="-128"/>
              </a:defRPr>
            </a:lvl2pPr>
            <a:lvl3pPr eaLnBrk="0" hangingPunct="0">
              <a:defRPr>
                <a:solidFill>
                  <a:schemeClr val="tx1"/>
                </a:solidFill>
                <a:latin typeface="Arial" panose="020B0604020202020204" pitchFamily="34" charset="0"/>
                <a:ea typeface="ＭＳ Ｐゴシック" panose="020B0600070205080204" pitchFamily="34" charset="-128"/>
              </a:defRPr>
            </a:lvl3pPr>
            <a:lvl4pPr eaLnBrk="0" hangingPunct="0">
              <a:defRPr>
                <a:solidFill>
                  <a:schemeClr val="tx1"/>
                </a:solidFill>
                <a:latin typeface="Arial" panose="020B0604020202020204" pitchFamily="34" charset="0"/>
                <a:ea typeface="ＭＳ Ｐゴシック" panose="020B0600070205080204" pitchFamily="34" charset="-128"/>
              </a:defRPr>
            </a:lvl4pPr>
            <a:lvl5pPr eaLnBrk="0" hangingPunct="0">
              <a:defRPr>
                <a:solidFill>
                  <a:schemeClr val="tx1"/>
                </a:solidFill>
                <a:latin typeface="Arial" panose="020B0604020202020204" pitchFamily="34" charset="0"/>
                <a:ea typeface="ＭＳ Ｐゴシック" panose="020B0600070205080204" pitchFamily="34" charset="-128"/>
              </a:defRPr>
            </a:lvl5pPr>
            <a:lvl6pPr eaLnBrk="0" fontAlgn="base" hangingPunct="0">
              <a:spcBef>
                <a:spcPct val="0"/>
              </a:spcBef>
              <a:spcAft>
                <a:spcPct val="0"/>
              </a:spcAft>
              <a:buSzPct val="100000"/>
              <a:defRPr>
                <a:solidFill>
                  <a:schemeClr val="tx1"/>
                </a:solidFill>
                <a:latin typeface="Arial" panose="020B0604020202020204" pitchFamily="34" charset="0"/>
                <a:ea typeface="ＭＳ Ｐゴシック" panose="020B0600070205080204" pitchFamily="34" charset="-128"/>
              </a:defRPr>
            </a:lvl6pPr>
            <a:lvl7pPr eaLnBrk="0" fontAlgn="base" hangingPunct="0">
              <a:spcBef>
                <a:spcPct val="0"/>
              </a:spcBef>
              <a:spcAft>
                <a:spcPct val="0"/>
              </a:spcAft>
              <a:buSzPct val="100000"/>
              <a:defRPr>
                <a:solidFill>
                  <a:schemeClr val="tx1"/>
                </a:solidFill>
                <a:latin typeface="Arial" panose="020B0604020202020204" pitchFamily="34" charset="0"/>
                <a:ea typeface="ＭＳ Ｐゴシック" panose="020B0600070205080204" pitchFamily="34" charset="-128"/>
              </a:defRPr>
            </a:lvl7pPr>
            <a:lvl8pPr eaLnBrk="0" fontAlgn="base" hangingPunct="0">
              <a:spcBef>
                <a:spcPct val="0"/>
              </a:spcBef>
              <a:spcAft>
                <a:spcPct val="0"/>
              </a:spcAft>
              <a:buSzPct val="100000"/>
              <a:defRPr>
                <a:solidFill>
                  <a:schemeClr val="tx1"/>
                </a:solidFill>
                <a:latin typeface="Arial" panose="020B0604020202020204" pitchFamily="34" charset="0"/>
                <a:ea typeface="ＭＳ Ｐゴシック" panose="020B0600070205080204" pitchFamily="34" charset="-128"/>
              </a:defRPr>
            </a:lvl8pPr>
            <a:lvl9pPr eaLnBrk="0" fontAlgn="base" hangingPunct="0">
              <a:spcBef>
                <a:spcPct val="0"/>
              </a:spcBef>
              <a:spcAft>
                <a:spcPct val="0"/>
              </a:spcAft>
              <a:buSzPct val="100000"/>
              <a:defRPr>
                <a:solidFill>
                  <a:schemeClr val="tx1"/>
                </a:solidFill>
                <a:latin typeface="Arial" panose="020B0604020202020204" pitchFamily="34" charset="0"/>
                <a:ea typeface="ＭＳ Ｐゴシック" panose="020B0600070205080204" pitchFamily="34" charset="-128"/>
              </a:defRPr>
            </a:lvl9pPr>
          </a:lstStyle>
          <a:p>
            <a:pPr eaLnBrk="1" hangingPunct="1">
              <a:spcBef>
                <a:spcPct val="20000"/>
              </a:spcBef>
            </a:pPr>
            <a:r>
              <a:rPr lang="en-US" altLang="en-US" sz="1200" b="1" dirty="0">
                <a:latin typeface="Helvetica" panose="020B0604020202020204" pitchFamily="34" charset="0"/>
                <a:cs typeface="Helvetica" panose="020B0604020202020204" pitchFamily="34" charset="0"/>
              </a:rPr>
              <a:t>DiNardo, et al., Blood Adv, 2023, Figure 4.</a:t>
            </a:r>
          </a:p>
        </p:txBody>
      </p:sp>
      <p:pic>
        <p:nvPicPr>
          <p:cNvPr id="5" name="New picture">
            <a:extLst>
              <a:ext uri="{FF2B5EF4-FFF2-40B4-BE49-F238E27FC236}">
                <a16:creationId xmlns:a16="http://schemas.microsoft.com/office/drawing/2014/main" id="{B6D1E67C-6EE2-7976-6EA7-C4737409C63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06340" y="687393"/>
            <a:ext cx="5686333" cy="3518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
        <p:nvSpPr>
          <p:cNvPr id="7" name="Rectangle 6">
            <a:extLst>
              <a:ext uri="{FF2B5EF4-FFF2-40B4-BE49-F238E27FC236}">
                <a16:creationId xmlns:a16="http://schemas.microsoft.com/office/drawing/2014/main" id="{B5C22BFF-9900-2A56-5726-F75A6FF6C5D9}"/>
              </a:ext>
            </a:extLst>
          </p:cNvPr>
          <p:cNvSpPr/>
          <p:nvPr/>
        </p:nvSpPr>
        <p:spPr bwMode="auto">
          <a:xfrm>
            <a:off x="0" y="824593"/>
            <a:ext cx="2637065" cy="3345798"/>
          </a:xfrm>
          <a:prstGeom prst="rect">
            <a:avLst/>
          </a:prstGeom>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tileRect/>
          </a:gra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6" name="TextBox 5">
            <a:extLst>
              <a:ext uri="{FF2B5EF4-FFF2-40B4-BE49-F238E27FC236}">
                <a16:creationId xmlns:a16="http://schemas.microsoft.com/office/drawing/2014/main" id="{08467015-B076-4A31-9C24-AA006E177520}"/>
              </a:ext>
            </a:extLst>
          </p:cNvPr>
          <p:cNvSpPr txBox="1"/>
          <p:nvPr/>
        </p:nvSpPr>
        <p:spPr>
          <a:xfrm>
            <a:off x="163286" y="937258"/>
            <a:ext cx="2473779" cy="3046988"/>
          </a:xfrm>
          <a:prstGeom prst="rect">
            <a:avLst/>
          </a:prstGeom>
          <a:noFill/>
        </p:spPr>
        <p:txBody>
          <a:bodyPr wrap="square" rtlCol="0">
            <a:spAutoFit/>
          </a:bodyPr>
          <a:lstStyle/>
          <a:p>
            <a:r>
              <a:rPr lang="en-US" sz="1600" dirty="0">
                <a:solidFill>
                  <a:srgbClr val="1A1A1A"/>
                </a:solidFill>
                <a:latin typeface="acumin-pro"/>
              </a:rPr>
              <a:t>Goal: Assess </a:t>
            </a:r>
            <a:r>
              <a:rPr lang="en-US" sz="1600" b="0" i="0" dirty="0">
                <a:solidFill>
                  <a:srgbClr val="1A1A1A"/>
                </a:solidFill>
                <a:effectLst/>
                <a:latin typeface="acumin-pro"/>
              </a:rPr>
              <a:t>the safety, tolerability, and efficacy of:</a:t>
            </a:r>
          </a:p>
          <a:p>
            <a:r>
              <a:rPr lang="en-US" sz="1600" b="0" i="0" dirty="0">
                <a:solidFill>
                  <a:srgbClr val="1A1A1A"/>
                </a:solidFill>
                <a:effectLst/>
                <a:latin typeface="acumin-pro"/>
              </a:rPr>
              <a:t> </a:t>
            </a:r>
          </a:p>
          <a:p>
            <a:r>
              <a:rPr lang="en-US" sz="1600" b="0" i="0" dirty="0">
                <a:solidFill>
                  <a:srgbClr val="1A1A1A"/>
                </a:solidFill>
                <a:effectLst/>
                <a:latin typeface="acumin-pro"/>
              </a:rPr>
              <a:t>A) </a:t>
            </a:r>
            <a:r>
              <a:rPr lang="en-US" sz="1600" b="0" i="0" dirty="0" err="1">
                <a:solidFill>
                  <a:srgbClr val="1A1A1A"/>
                </a:solidFill>
                <a:effectLst/>
                <a:latin typeface="acumin-pro"/>
              </a:rPr>
              <a:t>enasidenib</a:t>
            </a:r>
            <a:r>
              <a:rPr lang="en-US" sz="1600" b="0" i="0" dirty="0">
                <a:solidFill>
                  <a:srgbClr val="1A1A1A"/>
                </a:solidFill>
                <a:effectLst/>
                <a:latin typeface="acumin-pro"/>
              </a:rPr>
              <a:t> in combination with azacitidine for higher-risk HMA-naïve m</a:t>
            </a:r>
            <a:r>
              <a:rPr lang="en-US" sz="1600" b="0" i="1" dirty="0">
                <a:solidFill>
                  <a:srgbClr val="1A1A1A"/>
                </a:solidFill>
                <a:effectLst/>
                <a:latin typeface="acumin-pro"/>
              </a:rPr>
              <a:t>IDH2</a:t>
            </a:r>
            <a:r>
              <a:rPr lang="en-US" sz="1600" b="0" i="0" dirty="0">
                <a:solidFill>
                  <a:srgbClr val="1A1A1A"/>
                </a:solidFill>
                <a:effectLst/>
                <a:latin typeface="acumin-pro"/>
              </a:rPr>
              <a:t> MDS or</a:t>
            </a:r>
          </a:p>
          <a:p>
            <a:endParaRPr lang="en-US" sz="1600" dirty="0">
              <a:solidFill>
                <a:srgbClr val="1A1A1A"/>
              </a:solidFill>
              <a:latin typeface="acumin-pro"/>
            </a:endParaRPr>
          </a:p>
          <a:p>
            <a:r>
              <a:rPr lang="en-US" sz="1600" b="0" i="0" dirty="0">
                <a:solidFill>
                  <a:srgbClr val="1A1A1A"/>
                </a:solidFill>
                <a:effectLst/>
                <a:latin typeface="acumin-pro"/>
              </a:rPr>
              <a:t>B) single-agent therapy for patients with R/R m</a:t>
            </a:r>
            <a:r>
              <a:rPr lang="en-US" sz="1600" b="0" i="1" dirty="0">
                <a:solidFill>
                  <a:srgbClr val="1A1A1A"/>
                </a:solidFill>
                <a:effectLst/>
                <a:latin typeface="acumin-pro"/>
              </a:rPr>
              <a:t>IDH2</a:t>
            </a:r>
            <a:r>
              <a:rPr lang="en-US" sz="1600" b="0" i="0" dirty="0">
                <a:solidFill>
                  <a:srgbClr val="1A1A1A"/>
                </a:solidFill>
                <a:effectLst/>
                <a:latin typeface="acumin-pro"/>
              </a:rPr>
              <a:t> MDS following previous HMA therapy </a:t>
            </a:r>
            <a:endParaRPr lang="en-US" sz="1600" dirty="0"/>
          </a:p>
        </p:txBody>
      </p:sp>
    </p:spTree>
    <p:extLst>
      <p:ext uri="{BB962C8B-B14F-4D97-AF65-F5344CB8AC3E}">
        <p14:creationId xmlns:p14="http://schemas.microsoft.com/office/powerpoint/2010/main" val="330642656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1C96559-F563-5782-6EE3-1FA2101DEBA6}"/>
              </a:ext>
            </a:extLst>
          </p:cNvPr>
          <p:cNvSpPr>
            <a:spLocks noGrp="1"/>
          </p:cNvSpPr>
          <p:nvPr>
            <p:ph sz="half" idx="1"/>
          </p:nvPr>
        </p:nvSpPr>
        <p:spPr>
          <a:xfrm>
            <a:off x="128451" y="822961"/>
            <a:ext cx="4251959" cy="3148148"/>
          </a:xfrm>
          <a:ln>
            <a:noFill/>
          </a:ln>
        </p:spPr>
        <p:txBody>
          <a:bodyPr/>
          <a:lstStyle/>
          <a:p>
            <a:pPr algn="l"/>
            <a:r>
              <a:rPr lang="en-US" sz="1800" b="0" i="0" dirty="0">
                <a:solidFill>
                  <a:srgbClr val="4F4F4F"/>
                </a:solidFill>
                <a:effectLst/>
                <a:latin typeface="Roboto" panose="02000000000000000000" pitchFamily="2" charset="0"/>
              </a:rPr>
              <a:t>Study Design: </a:t>
            </a:r>
            <a:r>
              <a:rPr lang="en-US" sz="1800" b="0" i="0" dirty="0" err="1">
                <a:solidFill>
                  <a:srgbClr val="4F4F4F"/>
                </a:solidFill>
                <a:effectLst/>
                <a:latin typeface="Roboto" panose="02000000000000000000" pitchFamily="2" charset="0"/>
              </a:rPr>
              <a:t>Olutasidenib</a:t>
            </a:r>
            <a:r>
              <a:rPr lang="en-US" sz="1800" b="0" i="0" dirty="0">
                <a:solidFill>
                  <a:srgbClr val="4F4F4F"/>
                </a:solidFill>
                <a:effectLst/>
                <a:latin typeface="Roboto" panose="02000000000000000000" pitchFamily="2" charset="0"/>
              </a:rPr>
              <a:t> was administered at monotherapy (n=6) or in combination with azacitidine (n=16) for  high risk MDS </a:t>
            </a:r>
          </a:p>
          <a:p>
            <a:pPr algn="l"/>
            <a:r>
              <a:rPr lang="en-US" sz="1800" b="0" i="0" dirty="0">
                <a:solidFill>
                  <a:srgbClr val="4F4F4F"/>
                </a:solidFill>
                <a:effectLst/>
                <a:latin typeface="Roboto" panose="02000000000000000000" pitchFamily="2" charset="0"/>
              </a:rPr>
              <a:t>Primary endpoint CR rate.</a:t>
            </a:r>
          </a:p>
          <a:p>
            <a:pPr algn="l"/>
            <a:endParaRPr lang="en-US" sz="1800" dirty="0">
              <a:solidFill>
                <a:srgbClr val="4F4F4F"/>
              </a:solidFill>
              <a:latin typeface="Roboto" panose="02000000000000000000" pitchFamily="2" charset="0"/>
            </a:endParaRPr>
          </a:p>
          <a:p>
            <a:pPr algn="l"/>
            <a:r>
              <a:rPr lang="en-US" sz="1800" b="0" i="0" dirty="0">
                <a:solidFill>
                  <a:srgbClr val="4F4F4F"/>
                </a:solidFill>
                <a:effectLst/>
                <a:latin typeface="Roboto" panose="02000000000000000000" pitchFamily="2" charset="0"/>
              </a:rPr>
              <a:t>Note: 3 pts in monotherapy were treated at lower dose than approved. No response. </a:t>
            </a:r>
          </a:p>
          <a:p>
            <a:pPr algn="l"/>
            <a:endParaRPr lang="en-US" sz="1800" b="0" i="0" dirty="0">
              <a:solidFill>
                <a:srgbClr val="4F4F4F"/>
              </a:solidFill>
              <a:effectLst/>
              <a:latin typeface="Roboto" panose="02000000000000000000" pitchFamily="2" charset="0"/>
            </a:endParaRPr>
          </a:p>
          <a:p>
            <a:pPr marL="0" indent="0">
              <a:buNone/>
            </a:pPr>
            <a:endParaRPr lang="en-US" dirty="0"/>
          </a:p>
        </p:txBody>
      </p:sp>
      <p:sp>
        <p:nvSpPr>
          <p:cNvPr id="4" name="Title 3">
            <a:extLst>
              <a:ext uri="{FF2B5EF4-FFF2-40B4-BE49-F238E27FC236}">
                <a16:creationId xmlns:a16="http://schemas.microsoft.com/office/drawing/2014/main" id="{0A3842B2-4494-D4B2-33E1-D0653D9E964B}"/>
              </a:ext>
            </a:extLst>
          </p:cNvPr>
          <p:cNvSpPr>
            <a:spLocks noGrp="1"/>
          </p:cNvSpPr>
          <p:nvPr>
            <p:ph type="title"/>
          </p:nvPr>
        </p:nvSpPr>
        <p:spPr/>
        <p:txBody>
          <a:bodyPr/>
          <a:lstStyle/>
          <a:p>
            <a:r>
              <a:rPr lang="en-US" sz="1600" b="1" i="0" dirty="0" err="1">
                <a:effectLst/>
                <a:latin typeface="Roboto" panose="02000000000000000000" pitchFamily="2" charset="0"/>
              </a:rPr>
              <a:t>Olutasidenib</a:t>
            </a:r>
            <a:r>
              <a:rPr lang="en-US" sz="1600" b="1" i="0" dirty="0">
                <a:effectLst/>
                <a:latin typeface="Roboto" panose="02000000000000000000" pitchFamily="2" charset="0"/>
              </a:rPr>
              <a:t> Alone or in Combination with Azacitidine Induces Durable Complete Remissions in Patients with </a:t>
            </a:r>
            <a:r>
              <a:rPr lang="en-US" sz="1600" b="1" i="1" dirty="0">
                <a:effectLst/>
                <a:latin typeface="Roboto" panose="02000000000000000000" pitchFamily="2" charset="0"/>
              </a:rPr>
              <a:t>mIDH1</a:t>
            </a:r>
            <a:r>
              <a:rPr lang="en-US" sz="1600" b="1" i="0" dirty="0">
                <a:effectLst/>
                <a:latin typeface="Roboto" panose="02000000000000000000" pitchFamily="2" charset="0"/>
              </a:rPr>
              <a:t> Myelodysplastic Syndromes/Neoplasms (MDS)</a:t>
            </a:r>
            <a:br>
              <a:rPr lang="en-US" sz="3600" b="1" i="0" dirty="0">
                <a:effectLst/>
                <a:latin typeface="Roboto" panose="02000000000000000000" pitchFamily="2" charset="0"/>
              </a:rPr>
            </a:br>
            <a:endParaRPr lang="en-US" dirty="0"/>
          </a:p>
        </p:txBody>
      </p:sp>
      <p:pic>
        <p:nvPicPr>
          <p:cNvPr id="2052" name="Picture 4">
            <a:extLst>
              <a:ext uri="{FF2B5EF4-FFF2-40B4-BE49-F238E27FC236}">
                <a16:creationId xmlns:a16="http://schemas.microsoft.com/office/drawing/2014/main" id="{9A76D0C3-F770-32B6-F526-2FAC8A0BC7C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322" t="61235" r="1322" b="-1"/>
          <a:stretch/>
        </p:blipFill>
        <p:spPr bwMode="auto">
          <a:xfrm>
            <a:off x="4508861" y="822961"/>
            <a:ext cx="4248882" cy="321781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BDC32A03-B4AA-F18A-02FE-47C07C0AD54F}"/>
              </a:ext>
            </a:extLst>
          </p:cNvPr>
          <p:cNvSpPr/>
          <p:nvPr/>
        </p:nvSpPr>
        <p:spPr bwMode="auto">
          <a:xfrm>
            <a:off x="4702629" y="1628503"/>
            <a:ext cx="3988525" cy="357051"/>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7" name="Rectangle 6">
            <a:extLst>
              <a:ext uri="{FF2B5EF4-FFF2-40B4-BE49-F238E27FC236}">
                <a16:creationId xmlns:a16="http://schemas.microsoft.com/office/drawing/2014/main" id="{13D0F19F-A9A4-1EE2-137E-2655B65D43C7}"/>
              </a:ext>
            </a:extLst>
          </p:cNvPr>
          <p:cNvSpPr/>
          <p:nvPr/>
        </p:nvSpPr>
        <p:spPr bwMode="auto">
          <a:xfrm>
            <a:off x="4685210" y="3348445"/>
            <a:ext cx="3988525" cy="274320"/>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8" name="Text Placeholder 2">
            <a:extLst>
              <a:ext uri="{FF2B5EF4-FFF2-40B4-BE49-F238E27FC236}">
                <a16:creationId xmlns:a16="http://schemas.microsoft.com/office/drawing/2014/main" id="{EE3773E1-512A-C862-4347-60B6C337E875}"/>
              </a:ext>
            </a:extLst>
          </p:cNvPr>
          <p:cNvSpPr txBox="1"/>
          <p:nvPr/>
        </p:nvSpPr>
        <p:spPr bwMode="auto">
          <a:xfrm>
            <a:off x="2853498" y="4217762"/>
            <a:ext cx="4314732" cy="331788"/>
          </a:xfrm>
          <a:prstGeom prst="rect">
            <a:avLst/>
          </a:prstGeom>
          <a:noFill/>
          <a:ln w="9525" cap="flat" cmpd="sng" algn="ctr">
            <a:noFill/>
            <a:prstDash val="solid"/>
            <a:miter lim="800000"/>
            <a:headEnd type="none" w="med" len="med"/>
            <a:tailEnd type="none" w="med" len="med"/>
          </a:ln>
        </p:spPr>
        <p:txBody>
          <a:bodyPr lIns="254000" tIns="0" rIns="0" bIns="63500"/>
          <a:lstStyle>
            <a:lvl1pPr eaLnBrk="0" hangingPunct="0">
              <a:defRPr>
                <a:solidFill>
                  <a:schemeClr val="tx1"/>
                </a:solidFill>
                <a:latin typeface="Arial" panose="020B0604020202020204" pitchFamily="34" charset="0"/>
                <a:ea typeface="ＭＳ Ｐゴシック" panose="020B0600070205080204" pitchFamily="34" charset="-128"/>
              </a:defRPr>
            </a:lvl1pPr>
            <a:lvl2pPr eaLnBrk="0" hangingPunct="0">
              <a:defRPr>
                <a:solidFill>
                  <a:schemeClr val="tx1"/>
                </a:solidFill>
                <a:latin typeface="Arial" panose="020B0604020202020204" pitchFamily="34" charset="0"/>
                <a:ea typeface="ＭＳ Ｐゴシック" panose="020B0600070205080204" pitchFamily="34" charset="-128"/>
              </a:defRPr>
            </a:lvl2pPr>
            <a:lvl3pPr eaLnBrk="0" hangingPunct="0">
              <a:defRPr>
                <a:solidFill>
                  <a:schemeClr val="tx1"/>
                </a:solidFill>
                <a:latin typeface="Arial" panose="020B0604020202020204" pitchFamily="34" charset="0"/>
                <a:ea typeface="ＭＳ Ｐゴシック" panose="020B0600070205080204" pitchFamily="34" charset="-128"/>
              </a:defRPr>
            </a:lvl3pPr>
            <a:lvl4pPr eaLnBrk="0" hangingPunct="0">
              <a:defRPr>
                <a:solidFill>
                  <a:schemeClr val="tx1"/>
                </a:solidFill>
                <a:latin typeface="Arial" panose="020B0604020202020204" pitchFamily="34" charset="0"/>
                <a:ea typeface="ＭＳ Ｐゴシック" panose="020B0600070205080204" pitchFamily="34" charset="-128"/>
              </a:defRPr>
            </a:lvl4pPr>
            <a:lvl5pPr eaLnBrk="0" hangingPunct="0">
              <a:defRPr>
                <a:solidFill>
                  <a:schemeClr val="tx1"/>
                </a:solidFill>
                <a:latin typeface="Arial" panose="020B0604020202020204" pitchFamily="34" charset="0"/>
                <a:ea typeface="ＭＳ Ｐゴシック" panose="020B0600070205080204" pitchFamily="34" charset="-128"/>
              </a:defRPr>
            </a:lvl5pPr>
            <a:lvl6pPr eaLnBrk="0" fontAlgn="base" hangingPunct="0">
              <a:spcBef>
                <a:spcPct val="0"/>
              </a:spcBef>
              <a:spcAft>
                <a:spcPct val="0"/>
              </a:spcAft>
              <a:buSzPct val="100000"/>
              <a:defRPr>
                <a:solidFill>
                  <a:schemeClr val="tx1"/>
                </a:solidFill>
                <a:latin typeface="Arial" panose="020B0604020202020204" pitchFamily="34" charset="0"/>
                <a:ea typeface="ＭＳ Ｐゴシック" panose="020B0600070205080204" pitchFamily="34" charset="-128"/>
              </a:defRPr>
            </a:lvl6pPr>
            <a:lvl7pPr eaLnBrk="0" fontAlgn="base" hangingPunct="0">
              <a:spcBef>
                <a:spcPct val="0"/>
              </a:spcBef>
              <a:spcAft>
                <a:spcPct val="0"/>
              </a:spcAft>
              <a:buSzPct val="100000"/>
              <a:defRPr>
                <a:solidFill>
                  <a:schemeClr val="tx1"/>
                </a:solidFill>
                <a:latin typeface="Arial" panose="020B0604020202020204" pitchFamily="34" charset="0"/>
                <a:ea typeface="ＭＳ Ｐゴシック" panose="020B0600070205080204" pitchFamily="34" charset="-128"/>
              </a:defRPr>
            </a:lvl7pPr>
            <a:lvl8pPr eaLnBrk="0" fontAlgn="base" hangingPunct="0">
              <a:spcBef>
                <a:spcPct val="0"/>
              </a:spcBef>
              <a:spcAft>
                <a:spcPct val="0"/>
              </a:spcAft>
              <a:buSzPct val="100000"/>
              <a:defRPr>
                <a:solidFill>
                  <a:schemeClr val="tx1"/>
                </a:solidFill>
                <a:latin typeface="Arial" panose="020B0604020202020204" pitchFamily="34" charset="0"/>
                <a:ea typeface="ＭＳ Ｐゴシック" panose="020B0600070205080204" pitchFamily="34" charset="-128"/>
              </a:defRPr>
            </a:lvl8pPr>
            <a:lvl9pPr eaLnBrk="0" fontAlgn="base" hangingPunct="0">
              <a:spcBef>
                <a:spcPct val="0"/>
              </a:spcBef>
              <a:spcAft>
                <a:spcPct val="0"/>
              </a:spcAft>
              <a:buSzPct val="100000"/>
              <a:defRPr>
                <a:solidFill>
                  <a:schemeClr val="tx1"/>
                </a:solidFill>
                <a:latin typeface="Arial" panose="020B0604020202020204" pitchFamily="34" charset="0"/>
                <a:ea typeface="ＭＳ Ｐゴシック" panose="020B0600070205080204" pitchFamily="34" charset="-128"/>
              </a:defRPr>
            </a:lvl9pPr>
          </a:lstStyle>
          <a:p>
            <a:pPr eaLnBrk="1" hangingPunct="1">
              <a:spcBef>
                <a:spcPct val="20000"/>
              </a:spcBef>
            </a:pPr>
            <a:r>
              <a:rPr lang="en-US" sz="1100" b="1" i="1" dirty="0">
                <a:effectLst/>
                <a:latin typeface="+mn-lt"/>
              </a:rPr>
              <a:t>Cortes</a:t>
            </a:r>
            <a:r>
              <a:rPr lang="en-US" sz="1100" b="1" dirty="0">
                <a:effectLst/>
                <a:latin typeface="+mn-lt"/>
              </a:rPr>
              <a:t>, J</a:t>
            </a:r>
            <a:r>
              <a:rPr lang="en-US" altLang="en-US" sz="1100" b="1" dirty="0">
                <a:latin typeface="+mn-lt"/>
                <a:cs typeface="Helvetica" panose="020B0604020202020204" pitchFamily="34" charset="0"/>
              </a:rPr>
              <a:t>., ASH 2023, Abstract 1872</a:t>
            </a:r>
          </a:p>
        </p:txBody>
      </p:sp>
    </p:spTree>
    <p:extLst>
      <p:ext uri="{BB962C8B-B14F-4D97-AF65-F5344CB8AC3E}">
        <p14:creationId xmlns:p14="http://schemas.microsoft.com/office/powerpoint/2010/main" val="425448556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C827BDD-705B-8569-5C9D-C788A933A58A}"/>
              </a:ext>
            </a:extLst>
          </p:cNvPr>
          <p:cNvSpPr>
            <a:spLocks noGrp="1"/>
          </p:cNvSpPr>
          <p:nvPr>
            <p:ph sz="half" idx="1"/>
          </p:nvPr>
        </p:nvSpPr>
        <p:spPr/>
        <p:txBody>
          <a:bodyPr/>
          <a:lstStyle/>
          <a:p>
            <a:r>
              <a:rPr lang="en-US" dirty="0"/>
              <a:t>Low risk MDS</a:t>
            </a:r>
          </a:p>
          <a:p>
            <a:pPr lvl="1"/>
            <a:r>
              <a:rPr lang="en-US" dirty="0" err="1"/>
              <a:t>Luspatercept</a:t>
            </a:r>
            <a:r>
              <a:rPr lang="en-US" dirty="0"/>
              <a:t> in treatment naïve low-risk MDS</a:t>
            </a:r>
          </a:p>
        </p:txBody>
      </p:sp>
      <p:sp>
        <p:nvSpPr>
          <p:cNvPr id="3" name="Content Placeholder 2">
            <a:extLst>
              <a:ext uri="{FF2B5EF4-FFF2-40B4-BE49-F238E27FC236}">
                <a16:creationId xmlns:a16="http://schemas.microsoft.com/office/drawing/2014/main" id="{AA984DC6-0C7D-4872-13FC-B3E71E1BAD1B}"/>
              </a:ext>
            </a:extLst>
          </p:cNvPr>
          <p:cNvSpPr>
            <a:spLocks noGrp="1"/>
          </p:cNvSpPr>
          <p:nvPr>
            <p:ph sz="half" idx="2"/>
          </p:nvPr>
        </p:nvSpPr>
        <p:spPr/>
        <p:txBody>
          <a:bodyPr/>
          <a:lstStyle/>
          <a:p>
            <a:r>
              <a:rPr lang="en-US" dirty="0"/>
              <a:t>High risk MDS</a:t>
            </a:r>
          </a:p>
          <a:p>
            <a:pPr lvl="1"/>
            <a:r>
              <a:rPr lang="en-US" dirty="0" err="1"/>
              <a:t>Allo</a:t>
            </a:r>
            <a:r>
              <a:rPr lang="en-US" dirty="0"/>
              <a:t>-transplant referral</a:t>
            </a:r>
          </a:p>
          <a:p>
            <a:pPr lvl="1"/>
            <a:r>
              <a:rPr lang="en-US" dirty="0"/>
              <a:t>Hypomethylating agent</a:t>
            </a:r>
          </a:p>
          <a:p>
            <a:pPr lvl="2"/>
            <a:r>
              <a:rPr lang="en-US" dirty="0"/>
              <a:t>Combo or single agent IDH inhibitors</a:t>
            </a:r>
          </a:p>
          <a:p>
            <a:pPr lvl="2"/>
            <a:r>
              <a:rPr lang="en-US" dirty="0" err="1"/>
              <a:t>Venetoclax</a:t>
            </a:r>
            <a:r>
              <a:rPr lang="en-US"/>
              <a:t> </a:t>
            </a:r>
            <a:endParaRPr lang="en-US" dirty="0"/>
          </a:p>
        </p:txBody>
      </p:sp>
      <p:sp>
        <p:nvSpPr>
          <p:cNvPr id="4" name="Title 3">
            <a:extLst>
              <a:ext uri="{FF2B5EF4-FFF2-40B4-BE49-F238E27FC236}">
                <a16:creationId xmlns:a16="http://schemas.microsoft.com/office/drawing/2014/main" id="{F5B88958-0522-CD72-B487-00920C5F92B3}"/>
              </a:ext>
            </a:extLst>
          </p:cNvPr>
          <p:cNvSpPr>
            <a:spLocks noGrp="1"/>
          </p:cNvSpPr>
          <p:nvPr>
            <p:ph type="title"/>
          </p:nvPr>
        </p:nvSpPr>
        <p:spPr/>
        <p:txBody>
          <a:bodyPr/>
          <a:lstStyle/>
          <a:p>
            <a:r>
              <a:rPr lang="en-US" dirty="0"/>
              <a:t>Conclusions</a:t>
            </a:r>
          </a:p>
        </p:txBody>
      </p:sp>
    </p:spTree>
    <p:extLst>
      <p:ext uri="{BB962C8B-B14F-4D97-AF65-F5344CB8AC3E}">
        <p14:creationId xmlns:p14="http://schemas.microsoft.com/office/powerpoint/2010/main" val="371924541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764D8A-519B-DD4A-C642-A79DF134912A}"/>
              </a:ext>
            </a:extLst>
          </p:cNvPr>
          <p:cNvSpPr/>
          <p:nvPr/>
        </p:nvSpPr>
        <p:spPr>
          <a:xfrm>
            <a:off x="0" y="2586831"/>
            <a:ext cx="9129925" cy="461665"/>
          </a:xfrm>
          <a:prstGeom prst="rect">
            <a:avLst/>
          </a:prstGeom>
        </p:spPr>
        <p:txBody>
          <a:bodyPr wrap="square">
            <a:spAutoFit/>
          </a:bodyPr>
          <a:lstStyle/>
          <a:p>
            <a:pPr algn="ctr"/>
            <a:r>
              <a:rPr lang="en-US" spc="600" dirty="0">
                <a:solidFill>
                  <a:srgbClr val="FFC82C"/>
                </a:solidFill>
                <a:latin typeface="Corporate A Medium" panose="02000503080000020004" pitchFamily="2" charset="0"/>
              </a:rPr>
              <a:t>Hematologic Malignancies</a:t>
            </a:r>
          </a:p>
        </p:txBody>
      </p:sp>
      <p:sp>
        <p:nvSpPr>
          <p:cNvPr id="3" name="Rectangle 2">
            <a:extLst>
              <a:ext uri="{FF2B5EF4-FFF2-40B4-BE49-F238E27FC236}">
                <a16:creationId xmlns:a16="http://schemas.microsoft.com/office/drawing/2014/main" id="{2CD37E42-E2E3-0CF1-91DF-51880A7249F7}"/>
              </a:ext>
            </a:extLst>
          </p:cNvPr>
          <p:cNvSpPr/>
          <p:nvPr/>
        </p:nvSpPr>
        <p:spPr>
          <a:xfrm>
            <a:off x="14075" y="3073896"/>
            <a:ext cx="9129925" cy="338554"/>
          </a:xfrm>
          <a:prstGeom prst="rect">
            <a:avLst/>
          </a:prstGeom>
        </p:spPr>
        <p:txBody>
          <a:bodyPr wrap="square">
            <a:spAutoFit/>
          </a:bodyPr>
          <a:lstStyle/>
          <a:p>
            <a:pPr algn="ctr"/>
            <a:r>
              <a:rPr lang="en-US" sz="1600" dirty="0">
                <a:solidFill>
                  <a:schemeClr val="bg1"/>
                </a:solidFill>
                <a:latin typeface="Corporate S Demi" panose="02020500000000000000" pitchFamily="18" charset="0"/>
              </a:rPr>
              <a:t>May 9</a:t>
            </a:r>
            <a:r>
              <a:rPr lang="en-US" sz="1600" baseline="30000" dirty="0">
                <a:solidFill>
                  <a:schemeClr val="bg1"/>
                </a:solidFill>
                <a:latin typeface="Corporate S Demi" panose="02020500000000000000" pitchFamily="18" charset="0"/>
              </a:rPr>
              <a:t>th</a:t>
            </a:r>
            <a:r>
              <a:rPr lang="en-US" sz="1600" dirty="0">
                <a:solidFill>
                  <a:schemeClr val="bg1"/>
                </a:solidFill>
                <a:latin typeface="Corporate S Demi" panose="02020500000000000000" pitchFamily="18" charset="0"/>
              </a:rPr>
              <a:t>, 2024</a:t>
            </a:r>
          </a:p>
        </p:txBody>
      </p:sp>
    </p:spTree>
    <p:extLst>
      <p:ext uri="{BB962C8B-B14F-4D97-AF65-F5344CB8AC3E}">
        <p14:creationId xmlns:p14="http://schemas.microsoft.com/office/powerpoint/2010/main" val="16023590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6848280A-52CF-14A2-72C8-A76D653B1539}"/>
              </a:ext>
            </a:extLst>
          </p:cNvPr>
          <p:cNvSpPr txBox="1">
            <a:spLocks/>
          </p:cNvSpPr>
          <p:nvPr/>
        </p:nvSpPr>
        <p:spPr>
          <a:xfrm>
            <a:off x="386694" y="1981404"/>
            <a:ext cx="3479104" cy="1241822"/>
          </a:xfrm>
          <a:prstGeom prst="rect">
            <a:avLst/>
          </a:prstGeom>
        </p:spPr>
        <p:txBody>
          <a:bodyPr vert="horz" lIns="68580" tIns="34290" rIns="68580" bIns="3429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1500" b="1" i="1" dirty="0">
                <a:solidFill>
                  <a:srgbClr val="E6A513"/>
                </a:solidFill>
                <a:latin typeface="Arial" panose="020B0604020202020204" pitchFamily="34" charset="0"/>
                <a:cs typeface="Arial" panose="020B0604020202020204" pitchFamily="34" charset="0"/>
              </a:rPr>
              <a:t>2024 Events</a:t>
            </a:r>
            <a:endParaRPr lang="en-US" sz="1500" b="1" dirty="0">
              <a:solidFill>
                <a:srgbClr val="E6A513"/>
              </a:solidFill>
              <a:latin typeface="Arial" panose="020B0604020202020204" pitchFamily="34" charset="0"/>
              <a:cs typeface="Arial" panose="020B0604020202020204" pitchFamily="34" charset="0"/>
            </a:endParaRPr>
          </a:p>
          <a:p>
            <a:pPr algn="l">
              <a:lnSpc>
                <a:spcPct val="100000"/>
              </a:lnSpc>
              <a:spcBef>
                <a:spcPts val="300"/>
              </a:spcBef>
            </a:pPr>
            <a:r>
              <a:rPr lang="en-US" sz="1050" b="1" dirty="0">
                <a:solidFill>
                  <a:schemeClr val="bg1"/>
                </a:solidFill>
                <a:latin typeface="Arial" panose="020B0604020202020204" pitchFamily="34" charset="0"/>
                <a:cs typeface="Arial" panose="020B0604020202020204" pitchFamily="34" charset="0"/>
              </a:rPr>
              <a:t>Lung: </a:t>
            </a:r>
            <a:r>
              <a:rPr lang="en-US" sz="1050" dirty="0">
                <a:solidFill>
                  <a:schemeClr val="bg1"/>
                </a:solidFill>
                <a:latin typeface="Arial" panose="020B0604020202020204" pitchFamily="34" charset="0"/>
                <a:cs typeface="Arial" panose="020B0604020202020204" pitchFamily="34" charset="0"/>
              </a:rPr>
              <a:t>June, Chicago, IL</a:t>
            </a:r>
          </a:p>
          <a:p>
            <a:pPr algn="l">
              <a:lnSpc>
                <a:spcPct val="100000"/>
              </a:lnSpc>
              <a:spcBef>
                <a:spcPts val="300"/>
              </a:spcBef>
            </a:pPr>
            <a:r>
              <a:rPr lang="en-US" sz="1050" b="1" dirty="0">
                <a:solidFill>
                  <a:schemeClr val="bg1"/>
                </a:solidFill>
                <a:latin typeface="Arial" panose="020B0604020202020204" pitchFamily="34" charset="0"/>
                <a:cs typeface="Arial" panose="020B0604020202020204" pitchFamily="34" charset="0"/>
              </a:rPr>
              <a:t>Pan Tumor: </a:t>
            </a:r>
            <a:r>
              <a:rPr lang="en-US" sz="1050" dirty="0">
                <a:solidFill>
                  <a:schemeClr val="bg1"/>
                </a:solidFill>
                <a:latin typeface="Arial" panose="020B0604020202020204" pitchFamily="34" charset="0"/>
                <a:cs typeface="Arial" panose="020B0604020202020204" pitchFamily="34" charset="0"/>
              </a:rPr>
              <a:t>October, Miami, FL</a:t>
            </a:r>
          </a:p>
          <a:p>
            <a:pPr algn="l">
              <a:lnSpc>
                <a:spcPct val="100000"/>
              </a:lnSpc>
              <a:spcBef>
                <a:spcPts val="300"/>
              </a:spcBef>
            </a:pPr>
            <a:r>
              <a:rPr lang="en-US" sz="1050" b="1" dirty="0">
                <a:solidFill>
                  <a:schemeClr val="bg1"/>
                </a:solidFill>
                <a:latin typeface="Arial" panose="020B0604020202020204" pitchFamily="34" charset="0"/>
                <a:cs typeface="Arial" panose="020B0604020202020204" pitchFamily="34" charset="0"/>
              </a:rPr>
              <a:t>Gastrointestinal: </a:t>
            </a:r>
            <a:r>
              <a:rPr lang="en-US" sz="1050" dirty="0">
                <a:solidFill>
                  <a:schemeClr val="bg1"/>
                </a:solidFill>
                <a:latin typeface="Arial" panose="020B0604020202020204" pitchFamily="34" charset="0"/>
                <a:cs typeface="Arial" panose="020B0604020202020204" pitchFamily="34" charset="0"/>
              </a:rPr>
              <a:t>November, Washington, DC</a:t>
            </a:r>
          </a:p>
          <a:p>
            <a:pPr algn="l">
              <a:lnSpc>
                <a:spcPct val="100000"/>
              </a:lnSpc>
              <a:spcBef>
                <a:spcPts val="300"/>
              </a:spcBef>
            </a:pPr>
            <a:r>
              <a:rPr lang="en-US" sz="1050" b="1" dirty="0">
                <a:solidFill>
                  <a:schemeClr val="bg1"/>
                </a:solidFill>
                <a:latin typeface="Arial" panose="020B0604020202020204" pitchFamily="34" charset="0"/>
                <a:cs typeface="Arial" panose="020B0604020202020204" pitchFamily="34" charset="0"/>
              </a:rPr>
              <a:t>Breast: </a:t>
            </a:r>
            <a:r>
              <a:rPr lang="en-US" sz="1050" dirty="0">
                <a:solidFill>
                  <a:schemeClr val="bg1"/>
                </a:solidFill>
                <a:latin typeface="Arial" panose="020B0604020202020204" pitchFamily="34" charset="0"/>
                <a:cs typeface="Arial" panose="020B0604020202020204" pitchFamily="34" charset="0"/>
              </a:rPr>
              <a:t>December, San Antonio, TX</a:t>
            </a:r>
          </a:p>
        </p:txBody>
      </p:sp>
    </p:spTree>
    <p:extLst>
      <p:ext uri="{BB962C8B-B14F-4D97-AF65-F5344CB8AC3E}">
        <p14:creationId xmlns:p14="http://schemas.microsoft.com/office/powerpoint/2010/main" val="83848670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1371600" y="1798064"/>
            <a:ext cx="6400800" cy="2204975"/>
          </a:xfrm>
        </p:spPr>
        <p:txBody>
          <a:bodyPr/>
          <a:lstStyle/>
          <a:p>
            <a:r>
              <a:rPr lang="en-US" b="1" dirty="0">
                <a:solidFill>
                  <a:srgbClr val="002E51"/>
                </a:solidFill>
              </a:rPr>
              <a:t>Emily Geramita, MD PhD</a:t>
            </a:r>
          </a:p>
          <a:p>
            <a:r>
              <a:rPr lang="en-US" dirty="0">
                <a:solidFill>
                  <a:srgbClr val="002E51"/>
                </a:solidFill>
              </a:rPr>
              <a:t>Clinical Instructor</a:t>
            </a:r>
          </a:p>
          <a:p>
            <a:r>
              <a:rPr lang="en-US" dirty="0">
                <a:solidFill>
                  <a:srgbClr val="002E51"/>
                </a:solidFill>
              </a:rPr>
              <a:t>UPMC Hillman Cancer Center</a:t>
            </a:r>
          </a:p>
          <a:p>
            <a:r>
              <a:rPr lang="en-US" dirty="0">
                <a:solidFill>
                  <a:srgbClr val="002E51"/>
                </a:solidFill>
              </a:rPr>
              <a:t>Pittsburgh, PA</a:t>
            </a:r>
          </a:p>
        </p:txBody>
      </p:sp>
      <p:sp>
        <p:nvSpPr>
          <p:cNvPr id="4" name="Title 3"/>
          <p:cNvSpPr>
            <a:spLocks noGrp="1"/>
          </p:cNvSpPr>
          <p:nvPr>
            <p:ph type="title"/>
          </p:nvPr>
        </p:nvSpPr>
        <p:spPr>
          <a:xfrm>
            <a:off x="0" y="127465"/>
            <a:ext cx="9144000" cy="786936"/>
          </a:xfrm>
        </p:spPr>
        <p:txBody>
          <a:bodyPr/>
          <a:lstStyle/>
          <a:p>
            <a:r>
              <a:rPr lang="en-US" b="1" dirty="0">
                <a:solidFill>
                  <a:srgbClr val="002E51"/>
                </a:solidFill>
              </a:rPr>
              <a:t>Case Presentation:</a:t>
            </a:r>
            <a:br>
              <a:rPr lang="en-US" b="1" dirty="0">
                <a:solidFill>
                  <a:srgbClr val="002E51"/>
                </a:solidFill>
              </a:rPr>
            </a:br>
            <a:r>
              <a:rPr lang="en-US" b="1" dirty="0">
                <a:solidFill>
                  <a:srgbClr val="002E51"/>
                </a:solidFill>
              </a:rPr>
              <a:t>Low Risk MDS</a:t>
            </a:r>
          </a:p>
        </p:txBody>
      </p:sp>
    </p:spTree>
    <p:extLst>
      <p:ext uri="{BB962C8B-B14F-4D97-AF65-F5344CB8AC3E}">
        <p14:creationId xmlns:p14="http://schemas.microsoft.com/office/powerpoint/2010/main" val="355645458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298173" y="790714"/>
            <a:ext cx="8205747" cy="2915920"/>
          </a:xfrm>
        </p:spPr>
        <p:txBody>
          <a:bodyPr/>
          <a:lstStyle/>
          <a:p>
            <a:pPr algn="l"/>
            <a:r>
              <a:rPr lang="en-US" sz="2200" b="1" dirty="0">
                <a:solidFill>
                  <a:srgbClr val="002E51"/>
                </a:solidFill>
              </a:rPr>
              <a:t>October 2022</a:t>
            </a:r>
          </a:p>
          <a:p>
            <a:pPr algn="l"/>
            <a:r>
              <a:rPr lang="en-US" sz="2200" dirty="0">
                <a:solidFill>
                  <a:srgbClr val="002E51"/>
                </a:solidFill>
              </a:rPr>
              <a:t>61-year-old woman presents with fatigue, dyspnea, hypotension</a:t>
            </a:r>
            <a:endParaRPr lang="en-US" sz="2200" dirty="0">
              <a:solidFill>
                <a:srgbClr val="002E51"/>
              </a:solidFill>
              <a:sym typeface="Wingdings" pitchFamily="2" charset="2"/>
            </a:endParaRPr>
          </a:p>
          <a:p>
            <a:pPr algn="l"/>
            <a:endParaRPr lang="en-US" sz="2200" dirty="0">
              <a:solidFill>
                <a:srgbClr val="002E51"/>
              </a:solidFill>
              <a:sym typeface="Wingdings" pitchFamily="2" charset="2"/>
            </a:endParaRPr>
          </a:p>
          <a:p>
            <a:pPr algn="l"/>
            <a:endParaRPr lang="en-US" sz="2200" dirty="0">
              <a:solidFill>
                <a:srgbClr val="002E51"/>
              </a:solidFill>
              <a:sym typeface="Wingdings" pitchFamily="2" charset="2"/>
            </a:endParaRPr>
          </a:p>
          <a:p>
            <a:pPr algn="l"/>
            <a:endParaRPr lang="en-US" sz="2200" dirty="0">
              <a:solidFill>
                <a:srgbClr val="002E51"/>
              </a:solidFill>
              <a:sym typeface="Wingdings" pitchFamily="2" charset="2"/>
            </a:endParaRPr>
          </a:p>
          <a:p>
            <a:pPr algn="l"/>
            <a:endParaRPr lang="en-US" sz="2200" dirty="0">
              <a:solidFill>
                <a:srgbClr val="002E51"/>
              </a:solidFill>
              <a:sym typeface="Wingdings" pitchFamily="2" charset="2"/>
            </a:endParaRPr>
          </a:p>
        </p:txBody>
      </p:sp>
      <p:sp>
        <p:nvSpPr>
          <p:cNvPr id="4" name="Title 3"/>
          <p:cNvSpPr>
            <a:spLocks noGrp="1"/>
          </p:cNvSpPr>
          <p:nvPr>
            <p:ph type="title"/>
          </p:nvPr>
        </p:nvSpPr>
        <p:spPr>
          <a:xfrm>
            <a:off x="0" y="127465"/>
            <a:ext cx="9144000" cy="807256"/>
          </a:xfrm>
        </p:spPr>
        <p:txBody>
          <a:bodyPr/>
          <a:lstStyle/>
          <a:p>
            <a:r>
              <a:rPr lang="en-US" sz="3200" b="1" dirty="0"/>
              <a:t>Initial presentation</a:t>
            </a:r>
          </a:p>
        </p:txBody>
      </p:sp>
      <p:sp>
        <p:nvSpPr>
          <p:cNvPr id="13" name="TextBox 12">
            <a:extLst>
              <a:ext uri="{FF2B5EF4-FFF2-40B4-BE49-F238E27FC236}">
                <a16:creationId xmlns:a16="http://schemas.microsoft.com/office/drawing/2014/main" id="{CE25C9B0-1C70-3943-03B1-E7D817F7C9B2}"/>
              </a:ext>
            </a:extLst>
          </p:cNvPr>
          <p:cNvSpPr txBox="1"/>
          <p:nvPr/>
        </p:nvSpPr>
        <p:spPr>
          <a:xfrm>
            <a:off x="6125488" y="1657970"/>
            <a:ext cx="2481799" cy="1754326"/>
          </a:xfrm>
          <a:prstGeom prst="rect">
            <a:avLst/>
          </a:prstGeom>
          <a:noFill/>
        </p:spPr>
        <p:txBody>
          <a:bodyPr wrap="square">
            <a:spAutoFit/>
          </a:bodyPr>
          <a:lstStyle/>
          <a:p>
            <a:pPr algn="l"/>
            <a:r>
              <a:rPr lang="en-US" sz="1800" b="1" dirty="0">
                <a:solidFill>
                  <a:srgbClr val="002E51"/>
                </a:solidFill>
                <a:effectLst/>
                <a:latin typeface="+mn-lt"/>
              </a:rPr>
              <a:t>Peripheral smear:</a:t>
            </a:r>
            <a:endParaRPr lang="en-US" sz="1800" b="1" dirty="0">
              <a:solidFill>
                <a:srgbClr val="002E51"/>
              </a:solidFill>
              <a:latin typeface="+mn-lt"/>
            </a:endParaRPr>
          </a:p>
          <a:p>
            <a:pPr marL="176213" indent="-176213" algn="l">
              <a:buFont typeface="Arial" panose="020B0604020202020204" pitchFamily="34" charset="0"/>
              <a:buChar char="•"/>
            </a:pPr>
            <a:r>
              <a:rPr lang="en-US" sz="1800" dirty="0" err="1">
                <a:solidFill>
                  <a:srgbClr val="002E51"/>
                </a:solidFill>
                <a:latin typeface="+mn-lt"/>
              </a:rPr>
              <a:t>A</a:t>
            </a:r>
            <a:r>
              <a:rPr lang="en-US" sz="1800" dirty="0" err="1">
                <a:solidFill>
                  <a:srgbClr val="002E51"/>
                </a:solidFill>
                <a:effectLst/>
                <a:latin typeface="+mn-lt"/>
              </a:rPr>
              <a:t>nisopoikilocytosis</a:t>
            </a:r>
            <a:r>
              <a:rPr lang="en-US" sz="1800" dirty="0">
                <a:solidFill>
                  <a:srgbClr val="002E51"/>
                </a:solidFill>
                <a:effectLst/>
                <a:latin typeface="+mn-lt"/>
              </a:rPr>
              <a:t> with microcytosis</a:t>
            </a:r>
            <a:endParaRPr lang="en-US" sz="1800" dirty="0">
              <a:solidFill>
                <a:srgbClr val="002E51"/>
              </a:solidFill>
              <a:latin typeface="+mn-lt"/>
            </a:endParaRPr>
          </a:p>
          <a:p>
            <a:pPr marL="176213" indent="-176213" algn="l">
              <a:buFont typeface="Arial" panose="020B0604020202020204" pitchFamily="34" charset="0"/>
              <a:buChar char="•"/>
            </a:pPr>
            <a:r>
              <a:rPr lang="en-US" sz="1800" dirty="0">
                <a:solidFill>
                  <a:srgbClr val="FF0000"/>
                </a:solidFill>
                <a:effectLst/>
                <a:latin typeface="+mn-lt"/>
              </a:rPr>
              <a:t>Teardrop cells</a:t>
            </a:r>
            <a:endParaRPr lang="en-US" sz="1800" dirty="0">
              <a:solidFill>
                <a:srgbClr val="FF0000"/>
              </a:solidFill>
              <a:latin typeface="+mn-lt"/>
            </a:endParaRPr>
          </a:p>
          <a:p>
            <a:pPr marL="176213" indent="-176213" algn="l">
              <a:buFont typeface="Arial" panose="020B0604020202020204" pitchFamily="34" charset="0"/>
              <a:buChar char="•"/>
            </a:pPr>
            <a:r>
              <a:rPr lang="en-US" sz="1800" dirty="0">
                <a:solidFill>
                  <a:srgbClr val="FF0000"/>
                </a:solidFill>
                <a:effectLst/>
                <a:latin typeface="+mn-lt"/>
              </a:rPr>
              <a:t>Basophilic stippling </a:t>
            </a:r>
            <a:r>
              <a:rPr lang="en-US" sz="1800" dirty="0">
                <a:solidFill>
                  <a:srgbClr val="002E51"/>
                </a:solidFill>
                <a:effectLst/>
                <a:latin typeface="+mn-lt"/>
              </a:rPr>
              <a:t>in reticulocytes</a:t>
            </a:r>
            <a:endParaRPr lang="en-US" sz="1800" dirty="0">
              <a:solidFill>
                <a:srgbClr val="002E51"/>
              </a:solidFill>
              <a:latin typeface="+mn-lt"/>
              <a:sym typeface="Wingdings" pitchFamily="2" charset="2"/>
            </a:endParaRPr>
          </a:p>
        </p:txBody>
      </p:sp>
      <p:grpSp>
        <p:nvGrpSpPr>
          <p:cNvPr id="17" name="Group 16">
            <a:extLst>
              <a:ext uri="{FF2B5EF4-FFF2-40B4-BE49-F238E27FC236}">
                <a16:creationId xmlns:a16="http://schemas.microsoft.com/office/drawing/2014/main" id="{54919856-B479-909E-362F-B835AABAEDF5}"/>
              </a:ext>
            </a:extLst>
          </p:cNvPr>
          <p:cNvGrpSpPr/>
          <p:nvPr/>
        </p:nvGrpSpPr>
        <p:grpSpPr>
          <a:xfrm>
            <a:off x="300278" y="1749657"/>
            <a:ext cx="2442162" cy="1704966"/>
            <a:chOff x="210827" y="1749657"/>
            <a:chExt cx="2442162" cy="1704966"/>
          </a:xfrm>
        </p:grpSpPr>
        <p:grpSp>
          <p:nvGrpSpPr>
            <p:cNvPr id="11" name="Group 10">
              <a:extLst>
                <a:ext uri="{FF2B5EF4-FFF2-40B4-BE49-F238E27FC236}">
                  <a16:creationId xmlns:a16="http://schemas.microsoft.com/office/drawing/2014/main" id="{4592EA7A-F070-EC4A-A732-857725BD3D73}"/>
                </a:ext>
              </a:extLst>
            </p:cNvPr>
            <p:cNvGrpSpPr/>
            <p:nvPr/>
          </p:nvGrpSpPr>
          <p:grpSpPr>
            <a:xfrm>
              <a:off x="290339" y="1749657"/>
              <a:ext cx="1836635" cy="1241255"/>
              <a:chOff x="3530496" y="2738607"/>
              <a:chExt cx="1836635" cy="1241255"/>
            </a:xfrm>
          </p:grpSpPr>
          <p:cxnSp>
            <p:nvCxnSpPr>
              <p:cNvPr id="5" name="Straight Connector 4">
                <a:extLst>
                  <a:ext uri="{FF2B5EF4-FFF2-40B4-BE49-F238E27FC236}">
                    <a16:creationId xmlns:a16="http://schemas.microsoft.com/office/drawing/2014/main" id="{083F37CB-9435-1436-AA0C-74E58057E266}"/>
                  </a:ext>
                </a:extLst>
              </p:cNvPr>
              <p:cNvCxnSpPr/>
              <p:nvPr/>
            </p:nvCxnSpPr>
            <p:spPr bwMode="auto">
              <a:xfrm>
                <a:off x="3776870" y="2882348"/>
                <a:ext cx="1097514" cy="1097514"/>
              </a:xfrm>
              <a:prstGeom prst="line">
                <a:avLst/>
              </a:prstGeom>
              <a:ln w="19050">
                <a:solidFill>
                  <a:srgbClr val="002E51"/>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6" name="Straight Connector 5">
                <a:extLst>
                  <a:ext uri="{FF2B5EF4-FFF2-40B4-BE49-F238E27FC236}">
                    <a16:creationId xmlns:a16="http://schemas.microsoft.com/office/drawing/2014/main" id="{93CAA6E5-29D0-8CF2-4F16-7D0CFFD3C54B}"/>
                  </a:ext>
                </a:extLst>
              </p:cNvPr>
              <p:cNvCxnSpPr>
                <a:cxnSpLocks/>
              </p:cNvCxnSpPr>
              <p:nvPr/>
            </p:nvCxnSpPr>
            <p:spPr bwMode="auto">
              <a:xfrm flipH="1">
                <a:off x="3776870" y="2882348"/>
                <a:ext cx="1097514" cy="1097514"/>
              </a:xfrm>
              <a:prstGeom prst="line">
                <a:avLst/>
              </a:prstGeom>
              <a:ln w="19050">
                <a:solidFill>
                  <a:srgbClr val="002E51"/>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7" name="TextBox 6">
                <a:extLst>
                  <a:ext uri="{FF2B5EF4-FFF2-40B4-BE49-F238E27FC236}">
                    <a16:creationId xmlns:a16="http://schemas.microsoft.com/office/drawing/2014/main" id="{3821584D-6B24-B722-DDC3-2D9B6D54D31E}"/>
                  </a:ext>
                </a:extLst>
              </p:cNvPr>
              <p:cNvSpPr txBox="1"/>
              <p:nvPr/>
            </p:nvSpPr>
            <p:spPr>
              <a:xfrm>
                <a:off x="3530496" y="3200272"/>
                <a:ext cx="795131" cy="430887"/>
              </a:xfrm>
              <a:prstGeom prst="rect">
                <a:avLst/>
              </a:prstGeom>
              <a:noFill/>
            </p:spPr>
            <p:txBody>
              <a:bodyPr wrap="square" rtlCol="0">
                <a:spAutoFit/>
              </a:bodyPr>
              <a:lstStyle/>
              <a:p>
                <a:r>
                  <a:rPr kumimoji="0" lang="en-US" sz="2200" b="0" i="0" u="none" strike="noStrike" kern="0" cap="none" spc="0" normalizeH="0" baseline="0" noProof="0" dirty="0">
                    <a:ln>
                      <a:noFill/>
                    </a:ln>
                    <a:solidFill>
                      <a:srgbClr val="002E51"/>
                    </a:solidFill>
                    <a:effectLst/>
                    <a:uLnTx/>
                    <a:uFillTx/>
                    <a:latin typeface="Arial"/>
                    <a:ea typeface="ＭＳ Ｐゴシック"/>
                    <a:sym typeface="Wingdings" pitchFamily="2" charset="2"/>
                  </a:rPr>
                  <a:t>5.1</a:t>
                </a:r>
                <a:endParaRPr lang="en-US" sz="2200" dirty="0">
                  <a:solidFill>
                    <a:srgbClr val="002E51"/>
                  </a:solidFill>
                </a:endParaRPr>
              </a:p>
            </p:txBody>
          </p:sp>
          <p:sp>
            <p:nvSpPr>
              <p:cNvPr id="8" name="TextBox 7">
                <a:extLst>
                  <a:ext uri="{FF2B5EF4-FFF2-40B4-BE49-F238E27FC236}">
                    <a16:creationId xmlns:a16="http://schemas.microsoft.com/office/drawing/2014/main" id="{065824B5-38C4-747B-3F75-99AA279B5BC3}"/>
                  </a:ext>
                </a:extLst>
              </p:cNvPr>
              <p:cNvSpPr txBox="1"/>
              <p:nvPr/>
            </p:nvSpPr>
            <p:spPr>
              <a:xfrm>
                <a:off x="4030317" y="2738607"/>
                <a:ext cx="795131" cy="430887"/>
              </a:xfrm>
              <a:prstGeom prst="rect">
                <a:avLst/>
              </a:prstGeom>
              <a:noFill/>
            </p:spPr>
            <p:txBody>
              <a:bodyPr wrap="square" rtlCol="0">
                <a:spAutoFit/>
              </a:bodyPr>
              <a:lstStyle/>
              <a:p>
                <a:r>
                  <a:rPr lang="en-US" sz="2200" kern="0" dirty="0">
                    <a:solidFill>
                      <a:srgbClr val="FF0000"/>
                    </a:solidFill>
                    <a:latin typeface="Arial"/>
                    <a:ea typeface="ＭＳ Ｐゴシック"/>
                    <a:sym typeface="Wingdings" pitchFamily="2" charset="2"/>
                  </a:rPr>
                  <a:t>7.4</a:t>
                </a:r>
                <a:endParaRPr lang="en-US" sz="2200" dirty="0">
                  <a:solidFill>
                    <a:srgbClr val="FF0000"/>
                  </a:solidFill>
                </a:endParaRPr>
              </a:p>
            </p:txBody>
          </p:sp>
          <p:sp>
            <p:nvSpPr>
              <p:cNvPr id="9" name="TextBox 8">
                <a:extLst>
                  <a:ext uri="{FF2B5EF4-FFF2-40B4-BE49-F238E27FC236}">
                    <a16:creationId xmlns:a16="http://schemas.microsoft.com/office/drawing/2014/main" id="{9FBF0177-3C60-BFA8-0026-52E45475B37B}"/>
                  </a:ext>
                </a:extLst>
              </p:cNvPr>
              <p:cNvSpPr txBox="1"/>
              <p:nvPr/>
            </p:nvSpPr>
            <p:spPr>
              <a:xfrm>
                <a:off x="4572000" y="3200271"/>
                <a:ext cx="795131" cy="430887"/>
              </a:xfrm>
              <a:prstGeom prst="rect">
                <a:avLst/>
              </a:prstGeom>
              <a:noFill/>
            </p:spPr>
            <p:txBody>
              <a:bodyPr wrap="square" rtlCol="0">
                <a:spAutoFit/>
              </a:bodyPr>
              <a:lstStyle/>
              <a:p>
                <a:r>
                  <a:rPr lang="en-US" sz="2200" kern="0" dirty="0">
                    <a:solidFill>
                      <a:srgbClr val="002E51"/>
                    </a:solidFill>
                    <a:latin typeface="Arial"/>
                    <a:ea typeface="ＭＳ Ｐゴシック"/>
                    <a:sym typeface="Wingdings" pitchFamily="2" charset="2"/>
                  </a:rPr>
                  <a:t>360</a:t>
                </a:r>
                <a:endParaRPr lang="en-US" sz="2200" dirty="0">
                  <a:solidFill>
                    <a:srgbClr val="002E51"/>
                  </a:solidFill>
                </a:endParaRPr>
              </a:p>
            </p:txBody>
          </p:sp>
        </p:grpSp>
        <p:sp>
          <p:nvSpPr>
            <p:cNvPr id="15" name="TextBox 14">
              <a:extLst>
                <a:ext uri="{FF2B5EF4-FFF2-40B4-BE49-F238E27FC236}">
                  <a16:creationId xmlns:a16="http://schemas.microsoft.com/office/drawing/2014/main" id="{02E6D212-1636-7162-BA20-86D28C2AC1CC}"/>
                </a:ext>
              </a:extLst>
            </p:cNvPr>
            <p:cNvSpPr txBox="1"/>
            <p:nvPr/>
          </p:nvSpPr>
          <p:spPr>
            <a:xfrm>
              <a:off x="210827" y="3054513"/>
              <a:ext cx="2442162" cy="400110"/>
            </a:xfrm>
            <a:prstGeom prst="rect">
              <a:avLst/>
            </a:prstGeom>
            <a:noFill/>
          </p:spPr>
          <p:txBody>
            <a:bodyPr wrap="square">
              <a:spAutoFit/>
            </a:bodyPr>
            <a:lstStyle/>
            <a:p>
              <a:r>
                <a:rPr lang="en-US" sz="2000" dirty="0">
                  <a:solidFill>
                    <a:srgbClr val="002E51"/>
                  </a:solidFill>
                  <a:sym typeface="Wingdings" pitchFamily="2" charset="2"/>
                </a:rPr>
                <a:t>MCV 89</a:t>
              </a:r>
            </a:p>
          </p:txBody>
        </p:sp>
      </p:grpSp>
      <p:sp>
        <p:nvSpPr>
          <p:cNvPr id="16" name="TextBox 15">
            <a:extLst>
              <a:ext uri="{FF2B5EF4-FFF2-40B4-BE49-F238E27FC236}">
                <a16:creationId xmlns:a16="http://schemas.microsoft.com/office/drawing/2014/main" id="{094ECF6D-68E4-409B-7968-7076B34DC93E}"/>
              </a:ext>
            </a:extLst>
          </p:cNvPr>
          <p:cNvSpPr txBox="1"/>
          <p:nvPr/>
        </p:nvSpPr>
        <p:spPr>
          <a:xfrm>
            <a:off x="4173206" y="1719525"/>
            <a:ext cx="1869783" cy="1631216"/>
          </a:xfrm>
          <a:prstGeom prst="rect">
            <a:avLst/>
          </a:prstGeom>
          <a:noFill/>
        </p:spPr>
        <p:txBody>
          <a:bodyPr wrap="square">
            <a:spAutoFit/>
          </a:bodyPr>
          <a:lstStyle/>
          <a:p>
            <a:pPr algn="l"/>
            <a:r>
              <a:rPr lang="en-US" sz="2000" dirty="0">
                <a:solidFill>
                  <a:srgbClr val="002E51"/>
                </a:solidFill>
                <a:effectLst/>
                <a:latin typeface="+mn-lt"/>
              </a:rPr>
              <a:t>EGD/</a:t>
            </a:r>
            <a:r>
              <a:rPr lang="en-US" sz="2000" dirty="0" err="1">
                <a:solidFill>
                  <a:srgbClr val="002E51"/>
                </a:solidFill>
                <a:effectLst/>
                <a:latin typeface="+mn-lt"/>
              </a:rPr>
              <a:t>colo</a:t>
            </a:r>
            <a:r>
              <a:rPr lang="en-US" sz="2000" dirty="0">
                <a:solidFill>
                  <a:srgbClr val="002E51"/>
                </a:solidFill>
                <a:effectLst/>
                <a:latin typeface="+mn-lt"/>
              </a:rPr>
              <a:t>: </a:t>
            </a:r>
            <a:r>
              <a:rPr lang="en-US" sz="2000" dirty="0">
                <a:solidFill>
                  <a:srgbClr val="002E51"/>
                </a:solidFill>
                <a:latin typeface="+mn-lt"/>
              </a:rPr>
              <a:t>unremarkable</a:t>
            </a:r>
            <a:endParaRPr lang="en-US" sz="2000" dirty="0">
              <a:solidFill>
                <a:srgbClr val="002E51"/>
              </a:solidFill>
              <a:effectLst/>
              <a:latin typeface="+mn-lt"/>
            </a:endParaRPr>
          </a:p>
          <a:p>
            <a:pPr algn="l"/>
            <a:endParaRPr lang="en-US" sz="2000" dirty="0">
              <a:solidFill>
                <a:srgbClr val="002E51"/>
              </a:solidFill>
              <a:latin typeface="+mn-lt"/>
              <a:sym typeface="Wingdings" pitchFamily="2" charset="2"/>
            </a:endParaRPr>
          </a:p>
          <a:p>
            <a:pPr algn="l"/>
            <a:r>
              <a:rPr lang="en-US" sz="2000" dirty="0">
                <a:solidFill>
                  <a:srgbClr val="002E51"/>
                </a:solidFill>
                <a:latin typeface="+mn-lt"/>
                <a:sym typeface="Wingdings" pitchFamily="2" charset="2"/>
              </a:rPr>
              <a:t>CTAP:</a:t>
            </a:r>
            <a:r>
              <a:rPr lang="en-US" sz="2000" dirty="0">
                <a:solidFill>
                  <a:srgbClr val="002E51"/>
                </a:solidFill>
                <a:effectLst/>
                <a:latin typeface="+mn-lt"/>
              </a:rPr>
              <a:t> known fatty liver</a:t>
            </a:r>
            <a:endParaRPr lang="en-US" sz="2000" dirty="0">
              <a:solidFill>
                <a:srgbClr val="002E51"/>
              </a:solidFill>
              <a:latin typeface="+mn-lt"/>
              <a:sym typeface="Wingdings" pitchFamily="2" charset="2"/>
            </a:endParaRPr>
          </a:p>
        </p:txBody>
      </p:sp>
      <p:grpSp>
        <p:nvGrpSpPr>
          <p:cNvPr id="12" name="Group 11">
            <a:extLst>
              <a:ext uri="{FF2B5EF4-FFF2-40B4-BE49-F238E27FC236}">
                <a16:creationId xmlns:a16="http://schemas.microsoft.com/office/drawing/2014/main" id="{1710E2A7-786B-C55F-D661-0A7B05B7D847}"/>
              </a:ext>
            </a:extLst>
          </p:cNvPr>
          <p:cNvGrpSpPr/>
          <p:nvPr/>
        </p:nvGrpSpPr>
        <p:grpSpPr>
          <a:xfrm>
            <a:off x="300278" y="1719525"/>
            <a:ext cx="4892156" cy="2628945"/>
            <a:chOff x="300278" y="1719525"/>
            <a:chExt cx="4892156" cy="2628945"/>
          </a:xfrm>
        </p:grpSpPr>
        <p:sp>
          <p:nvSpPr>
            <p:cNvPr id="10" name="TextBox 9">
              <a:extLst>
                <a:ext uri="{FF2B5EF4-FFF2-40B4-BE49-F238E27FC236}">
                  <a16:creationId xmlns:a16="http://schemas.microsoft.com/office/drawing/2014/main" id="{2158D59B-5D52-F039-F8DE-7FB79B53A16A}"/>
                </a:ext>
              </a:extLst>
            </p:cNvPr>
            <p:cNvSpPr txBox="1"/>
            <p:nvPr/>
          </p:nvSpPr>
          <p:spPr>
            <a:xfrm>
              <a:off x="2594111" y="1719525"/>
              <a:ext cx="2598323" cy="2554545"/>
            </a:xfrm>
            <a:prstGeom prst="rect">
              <a:avLst/>
            </a:prstGeom>
            <a:noFill/>
          </p:spPr>
          <p:txBody>
            <a:bodyPr wrap="square" rtlCol="0">
              <a:spAutoFit/>
            </a:bodyPr>
            <a:lstStyle/>
            <a:p>
              <a:r>
                <a:rPr lang="en-US" sz="2000" dirty="0">
                  <a:solidFill>
                    <a:srgbClr val="FF0000"/>
                  </a:solidFill>
                </a:rPr>
                <a:t>B12 281</a:t>
              </a:r>
            </a:p>
            <a:p>
              <a:r>
                <a:rPr lang="en-US" sz="2000" dirty="0">
                  <a:solidFill>
                    <a:srgbClr val="002E51"/>
                  </a:solidFill>
                </a:rPr>
                <a:t>Folate 7.5</a:t>
              </a:r>
            </a:p>
            <a:p>
              <a:r>
                <a:rPr lang="en-US" sz="2000" dirty="0">
                  <a:solidFill>
                    <a:srgbClr val="002E51"/>
                  </a:solidFill>
                </a:rPr>
                <a:t>Zn 0.98</a:t>
              </a:r>
            </a:p>
            <a:p>
              <a:r>
                <a:rPr lang="en-US" sz="2000" dirty="0">
                  <a:solidFill>
                    <a:srgbClr val="002E51"/>
                  </a:solidFill>
                </a:rPr>
                <a:t>Cu 121</a:t>
              </a:r>
            </a:p>
            <a:p>
              <a:r>
                <a:rPr lang="en-US" sz="2000" dirty="0">
                  <a:solidFill>
                    <a:srgbClr val="002E51"/>
                  </a:solidFill>
                </a:rPr>
                <a:t>Lead &lt;1.0</a:t>
              </a:r>
            </a:p>
            <a:p>
              <a:r>
                <a:rPr lang="en-US" sz="2000" dirty="0">
                  <a:solidFill>
                    <a:srgbClr val="FF0000"/>
                  </a:solidFill>
                </a:rPr>
                <a:t>B1 61</a:t>
              </a:r>
            </a:p>
            <a:p>
              <a:r>
                <a:rPr lang="en-US" sz="2000" dirty="0">
                  <a:solidFill>
                    <a:srgbClr val="FF0000"/>
                  </a:solidFill>
                </a:rPr>
                <a:t>B6 &lt;2.0</a:t>
              </a:r>
            </a:p>
            <a:p>
              <a:r>
                <a:rPr lang="en-US" sz="2000" dirty="0">
                  <a:solidFill>
                    <a:srgbClr val="002E51"/>
                  </a:solidFill>
                </a:rPr>
                <a:t>TSH 3.2</a:t>
              </a:r>
            </a:p>
          </p:txBody>
        </p:sp>
        <p:sp>
          <p:nvSpPr>
            <p:cNvPr id="3" name="TextBox 2">
              <a:extLst>
                <a:ext uri="{FF2B5EF4-FFF2-40B4-BE49-F238E27FC236}">
                  <a16:creationId xmlns:a16="http://schemas.microsoft.com/office/drawing/2014/main" id="{3D0D11D3-A53E-B63D-68EF-01A106A2F0D4}"/>
                </a:ext>
              </a:extLst>
            </p:cNvPr>
            <p:cNvSpPr txBox="1"/>
            <p:nvPr/>
          </p:nvSpPr>
          <p:spPr>
            <a:xfrm>
              <a:off x="300278" y="3332807"/>
              <a:ext cx="2442162" cy="1015663"/>
            </a:xfrm>
            <a:prstGeom prst="rect">
              <a:avLst/>
            </a:prstGeom>
            <a:noFill/>
          </p:spPr>
          <p:txBody>
            <a:bodyPr wrap="square">
              <a:spAutoFit/>
            </a:bodyPr>
            <a:lstStyle/>
            <a:p>
              <a:r>
                <a:rPr lang="en-US" sz="2000" dirty="0">
                  <a:solidFill>
                    <a:srgbClr val="FF0000"/>
                  </a:solidFill>
                  <a:sym typeface="Wingdings" pitchFamily="2" charset="2"/>
                </a:rPr>
                <a:t>Retic count 40K</a:t>
              </a:r>
            </a:p>
            <a:p>
              <a:r>
                <a:rPr lang="en-US" sz="2000" dirty="0">
                  <a:solidFill>
                    <a:srgbClr val="002E51"/>
                  </a:solidFill>
                </a:rPr>
                <a:t>LDH 187</a:t>
              </a:r>
            </a:p>
            <a:p>
              <a:r>
                <a:rPr lang="en-US" sz="2000" dirty="0">
                  <a:solidFill>
                    <a:srgbClr val="002E51"/>
                  </a:solidFill>
                </a:rPr>
                <a:t>Haptoglobin 208</a:t>
              </a:r>
              <a:endParaRPr lang="en-US" sz="2000" dirty="0">
                <a:solidFill>
                  <a:srgbClr val="FF0000"/>
                </a:solidFill>
                <a:sym typeface="Wingdings" pitchFamily="2" charset="2"/>
              </a:endParaRPr>
            </a:p>
          </p:txBody>
        </p:sp>
      </p:grpSp>
    </p:spTree>
    <p:extLst>
      <p:ext uri="{BB962C8B-B14F-4D97-AF65-F5344CB8AC3E}">
        <p14:creationId xmlns:p14="http://schemas.microsoft.com/office/powerpoint/2010/main" val="1258030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6"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685800" y="212378"/>
            <a:ext cx="3190461" cy="4210534"/>
          </a:xfrm>
        </p:spPr>
        <p:txBody>
          <a:bodyPr/>
          <a:lstStyle/>
          <a:p>
            <a:pPr marL="0" indent="0">
              <a:buNone/>
            </a:pPr>
            <a:r>
              <a:rPr lang="en-US" sz="1800" b="1" u="sng" dirty="0">
                <a:solidFill>
                  <a:srgbClr val="002E51"/>
                </a:solidFill>
              </a:rPr>
              <a:t>Past Medical History</a:t>
            </a:r>
          </a:p>
          <a:p>
            <a:pPr marL="176213" indent="-176213"/>
            <a:r>
              <a:rPr lang="en-US" sz="1800" b="1" dirty="0">
                <a:solidFill>
                  <a:srgbClr val="002E51"/>
                </a:solidFill>
              </a:rPr>
              <a:t>Covid 9/2022</a:t>
            </a:r>
          </a:p>
          <a:p>
            <a:pPr marL="176213" indent="-176213"/>
            <a:r>
              <a:rPr lang="en-US" sz="1800" dirty="0">
                <a:solidFill>
                  <a:srgbClr val="002E51"/>
                </a:solidFill>
              </a:rPr>
              <a:t>HTN</a:t>
            </a:r>
          </a:p>
          <a:p>
            <a:pPr marL="176213" indent="-176213"/>
            <a:r>
              <a:rPr lang="en-US" sz="1800" dirty="0">
                <a:solidFill>
                  <a:srgbClr val="002E51"/>
                </a:solidFill>
              </a:rPr>
              <a:t>NAFLD</a:t>
            </a:r>
          </a:p>
          <a:p>
            <a:pPr marL="176213" indent="-176213"/>
            <a:r>
              <a:rPr lang="en-US" sz="1800" dirty="0" err="1">
                <a:solidFill>
                  <a:srgbClr val="002E51"/>
                </a:solidFill>
              </a:rPr>
              <a:t>Hypothryoidism</a:t>
            </a:r>
            <a:endParaRPr lang="en-US" sz="1800" dirty="0">
              <a:solidFill>
                <a:srgbClr val="002E51"/>
              </a:solidFill>
            </a:endParaRPr>
          </a:p>
          <a:p>
            <a:endParaRPr lang="en-US" sz="1200" dirty="0">
              <a:solidFill>
                <a:srgbClr val="002E51"/>
              </a:solidFill>
            </a:endParaRPr>
          </a:p>
          <a:p>
            <a:pPr marL="0" indent="0">
              <a:buNone/>
            </a:pPr>
            <a:r>
              <a:rPr lang="en-US" sz="1800" b="1" u="sng" dirty="0">
                <a:solidFill>
                  <a:srgbClr val="002E51"/>
                </a:solidFill>
              </a:rPr>
              <a:t>Past Surgical History</a:t>
            </a:r>
          </a:p>
          <a:p>
            <a:pPr marL="176213" indent="-176213"/>
            <a:r>
              <a:rPr lang="en-US" sz="1800" dirty="0">
                <a:solidFill>
                  <a:srgbClr val="002E51"/>
                </a:solidFill>
              </a:rPr>
              <a:t>None</a:t>
            </a:r>
          </a:p>
          <a:p>
            <a:endParaRPr lang="en-US" sz="1200" dirty="0">
              <a:solidFill>
                <a:srgbClr val="002E51"/>
              </a:solidFill>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800" b="1" i="0" u="sng" strike="noStrike" kern="0" cap="none" spc="0" normalizeH="0" baseline="0" noProof="0" dirty="0">
                <a:ln>
                  <a:noFill/>
                </a:ln>
                <a:solidFill>
                  <a:srgbClr val="002E51"/>
                </a:solidFill>
                <a:effectLst/>
                <a:uLnTx/>
                <a:uFillTx/>
                <a:latin typeface="Arial"/>
                <a:ea typeface="ＭＳ Ｐゴシック"/>
              </a:rPr>
              <a:t>Family History</a:t>
            </a:r>
          </a:p>
          <a:p>
            <a:pPr marL="176213" marR="0" lvl="0" indent="-176213" algn="l" defTabSz="914400" rtl="0" eaLnBrk="1" fontAlgn="base" latinLnBrk="0" hangingPunct="1">
              <a:lnSpc>
                <a:spcPct val="100000"/>
              </a:lnSpc>
              <a:spcBef>
                <a:spcPct val="20000"/>
              </a:spcBef>
              <a:spcAft>
                <a:spcPct val="0"/>
              </a:spcAft>
              <a:buClrTx/>
              <a:buSzTx/>
              <a:buFontTx/>
              <a:buChar char="•"/>
              <a:defRPr/>
            </a:pPr>
            <a:r>
              <a:rPr kumimoji="0" lang="en-US" sz="1800" b="0" i="0" u="none" strike="noStrike" kern="0" cap="none" spc="0" normalizeH="0" baseline="0" noProof="0" dirty="0">
                <a:ln>
                  <a:noFill/>
                </a:ln>
                <a:solidFill>
                  <a:srgbClr val="002E51"/>
                </a:solidFill>
                <a:effectLst/>
                <a:uLnTx/>
                <a:uFillTx/>
                <a:latin typeface="Arial"/>
                <a:ea typeface="ＭＳ Ｐゴシック"/>
              </a:rPr>
              <a:t>Skin cancer, sarcoma, colon cancer, breast cancer – all in 2</a:t>
            </a:r>
            <a:r>
              <a:rPr kumimoji="0" lang="en-US" sz="1800" b="0" i="0" u="none" strike="noStrike" kern="0" cap="none" spc="0" normalizeH="0" baseline="30000" noProof="0" dirty="0">
                <a:ln>
                  <a:noFill/>
                </a:ln>
                <a:solidFill>
                  <a:srgbClr val="002E51"/>
                </a:solidFill>
                <a:effectLst/>
                <a:uLnTx/>
                <a:uFillTx/>
                <a:latin typeface="Arial"/>
                <a:ea typeface="ＭＳ Ｐゴシック"/>
              </a:rPr>
              <a:t>nd</a:t>
            </a:r>
            <a:r>
              <a:rPr kumimoji="0" lang="en-US" sz="1800" b="0" i="0" u="none" strike="noStrike" kern="0" cap="none" spc="0" normalizeH="0" baseline="0" noProof="0" dirty="0">
                <a:ln>
                  <a:noFill/>
                </a:ln>
                <a:solidFill>
                  <a:srgbClr val="002E51"/>
                </a:solidFill>
                <a:effectLst/>
                <a:uLnTx/>
                <a:uFillTx/>
                <a:latin typeface="Arial"/>
                <a:ea typeface="ＭＳ Ｐゴシック"/>
              </a:rPr>
              <a:t> degree relatives</a:t>
            </a:r>
          </a:p>
        </p:txBody>
      </p:sp>
      <p:sp>
        <p:nvSpPr>
          <p:cNvPr id="3" name="Content Placeholder 2"/>
          <p:cNvSpPr>
            <a:spLocks noGrp="1"/>
          </p:cNvSpPr>
          <p:nvPr>
            <p:ph sz="half" idx="2"/>
          </p:nvPr>
        </p:nvSpPr>
        <p:spPr>
          <a:xfrm>
            <a:off x="4311908" y="212378"/>
            <a:ext cx="3768603" cy="4210534"/>
          </a:xfrm>
        </p:spPr>
        <p:txBody>
          <a:bodyPr/>
          <a:lstStyle/>
          <a:p>
            <a:pPr marL="0" indent="0">
              <a:buNone/>
            </a:pPr>
            <a:r>
              <a:rPr lang="en-US" sz="1800" b="1" u="sng" dirty="0">
                <a:solidFill>
                  <a:srgbClr val="002E51"/>
                </a:solidFill>
              </a:rPr>
              <a:t>Social History</a:t>
            </a:r>
          </a:p>
          <a:p>
            <a:pPr marL="176213" indent="-176213"/>
            <a:r>
              <a:rPr lang="en-US" sz="1800" b="1" dirty="0">
                <a:solidFill>
                  <a:srgbClr val="002E51"/>
                </a:solidFill>
              </a:rPr>
              <a:t>Alcohol</a:t>
            </a:r>
            <a:r>
              <a:rPr lang="en-US" sz="1800" dirty="0">
                <a:solidFill>
                  <a:srgbClr val="002E51"/>
                </a:solidFill>
              </a:rPr>
              <a:t>: 3-4 shots per week, multiple hospitalizations for complications related to intoxication (e.g., falls, syncope)</a:t>
            </a:r>
          </a:p>
          <a:p>
            <a:pPr marL="176213" indent="-176213"/>
            <a:r>
              <a:rPr lang="en-US" sz="1800" dirty="0">
                <a:solidFill>
                  <a:srgbClr val="002E51"/>
                </a:solidFill>
              </a:rPr>
              <a:t>No tobacco or </a:t>
            </a:r>
            <a:r>
              <a:rPr lang="en-US" sz="1800" dirty="0" err="1">
                <a:solidFill>
                  <a:srgbClr val="002E51"/>
                </a:solidFill>
              </a:rPr>
              <a:t>illicits</a:t>
            </a:r>
            <a:endParaRPr lang="en-US" sz="1800" dirty="0">
              <a:solidFill>
                <a:srgbClr val="002E51"/>
              </a:solidFill>
            </a:endParaRPr>
          </a:p>
          <a:p>
            <a:endParaRPr lang="en-US" sz="1200" dirty="0">
              <a:solidFill>
                <a:srgbClr val="002E51"/>
              </a:solidFill>
            </a:endParaRPr>
          </a:p>
          <a:p>
            <a:pPr marL="0" indent="0">
              <a:buNone/>
            </a:pPr>
            <a:r>
              <a:rPr lang="en-US" sz="1800" b="1" u="sng" dirty="0">
                <a:solidFill>
                  <a:srgbClr val="002E51"/>
                </a:solidFill>
              </a:rPr>
              <a:t>Medications</a:t>
            </a:r>
          </a:p>
          <a:p>
            <a:pPr marL="176213" indent="-176213"/>
            <a:r>
              <a:rPr lang="en-US" sz="1800" dirty="0">
                <a:solidFill>
                  <a:srgbClr val="002E51"/>
                </a:solidFill>
              </a:rPr>
              <a:t>Amlodipine</a:t>
            </a:r>
          </a:p>
          <a:p>
            <a:pPr marL="176213" indent="-176213"/>
            <a:r>
              <a:rPr lang="en-US" sz="1800" dirty="0">
                <a:solidFill>
                  <a:srgbClr val="002E51"/>
                </a:solidFill>
              </a:rPr>
              <a:t>Atorvastatin</a:t>
            </a:r>
          </a:p>
          <a:p>
            <a:pPr marL="176213" indent="-176213"/>
            <a:r>
              <a:rPr lang="en-US" sz="1800" dirty="0">
                <a:solidFill>
                  <a:srgbClr val="002E51"/>
                </a:solidFill>
              </a:rPr>
              <a:t>Metoprolol tartrate</a:t>
            </a:r>
          </a:p>
          <a:p>
            <a:pPr marL="176213" indent="-176213"/>
            <a:r>
              <a:rPr lang="en-US" sz="1800" dirty="0">
                <a:solidFill>
                  <a:srgbClr val="002E51"/>
                </a:solidFill>
              </a:rPr>
              <a:t>Levothyroxine</a:t>
            </a:r>
          </a:p>
          <a:p>
            <a:endParaRPr lang="en-US" sz="1800" dirty="0">
              <a:solidFill>
                <a:srgbClr val="002E51"/>
              </a:solidFill>
            </a:endParaRPr>
          </a:p>
        </p:txBody>
      </p:sp>
    </p:spTree>
    <p:extLst>
      <p:ext uri="{BB962C8B-B14F-4D97-AF65-F5344CB8AC3E}">
        <p14:creationId xmlns:p14="http://schemas.microsoft.com/office/powerpoint/2010/main" val="25941910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E34713-0ACB-11AE-DC3C-BDB9955AD9CB}"/>
            </a:ext>
          </a:extLst>
        </p:cNvPr>
        <p:cNvGrpSpPr/>
        <p:nvPr/>
      </p:nvGrpSpPr>
      <p:grpSpPr>
        <a:xfrm>
          <a:off x="0" y="0"/>
          <a:ext cx="0" cy="0"/>
          <a:chOff x="0" y="0"/>
          <a:chExt cx="0" cy="0"/>
        </a:xfrm>
      </p:grpSpPr>
      <p:sp>
        <p:nvSpPr>
          <p:cNvPr id="2" name="Subtitle 1">
            <a:extLst>
              <a:ext uri="{FF2B5EF4-FFF2-40B4-BE49-F238E27FC236}">
                <a16:creationId xmlns:a16="http://schemas.microsoft.com/office/drawing/2014/main" id="{D403AA01-6D2C-C082-5AFD-44D577E6856A}"/>
              </a:ext>
            </a:extLst>
          </p:cNvPr>
          <p:cNvSpPr>
            <a:spLocks noGrp="1"/>
          </p:cNvSpPr>
          <p:nvPr>
            <p:ph type="subTitle" idx="1"/>
          </p:nvPr>
        </p:nvSpPr>
        <p:spPr>
          <a:xfrm>
            <a:off x="288234" y="227158"/>
            <a:ext cx="7679179" cy="1174259"/>
          </a:xfrm>
        </p:spPr>
        <p:txBody>
          <a:bodyPr/>
          <a:lstStyle/>
          <a:p>
            <a:pPr algn="l"/>
            <a:r>
              <a:rPr lang="en-US" sz="2200" b="1" dirty="0">
                <a:solidFill>
                  <a:srgbClr val="002E51"/>
                </a:solidFill>
              </a:rPr>
              <a:t>Working diagnosis:</a:t>
            </a:r>
          </a:p>
          <a:p>
            <a:pPr algn="l"/>
            <a:r>
              <a:rPr lang="en-US" sz="2200" dirty="0">
                <a:solidFill>
                  <a:srgbClr val="002E51"/>
                </a:solidFill>
              </a:rPr>
              <a:t>Anemia 2/2 bone marrow suppression due to recent Covid +/- nutritional deficiencies +/- alcohol</a:t>
            </a:r>
          </a:p>
        </p:txBody>
      </p:sp>
      <p:grpSp>
        <p:nvGrpSpPr>
          <p:cNvPr id="27" name="Group 26">
            <a:extLst>
              <a:ext uri="{FF2B5EF4-FFF2-40B4-BE49-F238E27FC236}">
                <a16:creationId xmlns:a16="http://schemas.microsoft.com/office/drawing/2014/main" id="{A9CD5683-552C-DA84-DEEF-70AF32B0C8E2}"/>
              </a:ext>
            </a:extLst>
          </p:cNvPr>
          <p:cNvGrpSpPr/>
          <p:nvPr/>
        </p:nvGrpSpPr>
        <p:grpSpPr>
          <a:xfrm>
            <a:off x="288236" y="1401417"/>
            <a:ext cx="8109755" cy="2961889"/>
            <a:chOff x="288236" y="1401417"/>
            <a:chExt cx="8109755" cy="2961889"/>
          </a:xfrm>
        </p:grpSpPr>
        <p:sp>
          <p:nvSpPr>
            <p:cNvPr id="4" name="Subtitle 1">
              <a:extLst>
                <a:ext uri="{FF2B5EF4-FFF2-40B4-BE49-F238E27FC236}">
                  <a16:creationId xmlns:a16="http://schemas.microsoft.com/office/drawing/2014/main" id="{5FDCB167-BDC1-ED50-179F-8FB3B96838D3}"/>
                </a:ext>
              </a:extLst>
            </p:cNvPr>
            <p:cNvSpPr txBox="1">
              <a:spLocks/>
            </p:cNvSpPr>
            <p:nvPr/>
          </p:nvSpPr>
          <p:spPr bwMode="auto">
            <a:xfrm>
              <a:off x="288236" y="1651767"/>
              <a:ext cx="3047640" cy="1174259"/>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eaLnBrk="1" fontAlgn="base" hangingPunct="1">
                <a:spcBef>
                  <a:spcPct val="20000"/>
                </a:spcBef>
                <a:spcAft>
                  <a:spcPct val="0"/>
                </a:spcAft>
                <a:buNone/>
                <a:defRPr sz="2400">
                  <a:solidFill>
                    <a:schemeClr val="tx1"/>
                  </a:solidFill>
                  <a:latin typeface="+mn-lt"/>
                  <a:ea typeface="+mn-ea"/>
                  <a:cs typeface="+mn-cs"/>
                </a:defRPr>
              </a:lvl1pPr>
              <a:lvl2pPr marL="457200" indent="0" algn="ctr" rtl="0" eaLnBrk="1" fontAlgn="base" hangingPunct="1">
                <a:spcBef>
                  <a:spcPct val="20000"/>
                </a:spcBef>
                <a:spcAft>
                  <a:spcPct val="0"/>
                </a:spcAft>
                <a:buNone/>
                <a:defRPr sz="2000">
                  <a:solidFill>
                    <a:schemeClr val="tx1"/>
                  </a:solidFill>
                  <a:latin typeface="+mn-lt"/>
                  <a:ea typeface="+mn-ea"/>
                </a:defRPr>
              </a:lvl2pPr>
              <a:lvl3pPr marL="914400" indent="0" algn="ctr" rtl="0" eaLnBrk="1" fontAlgn="base" hangingPunct="1">
                <a:spcBef>
                  <a:spcPct val="20000"/>
                </a:spcBef>
                <a:spcAft>
                  <a:spcPct val="0"/>
                </a:spcAft>
                <a:buNone/>
                <a:defRPr>
                  <a:solidFill>
                    <a:schemeClr val="tx1"/>
                  </a:solidFill>
                  <a:latin typeface="+mn-lt"/>
                  <a:ea typeface="+mn-ea"/>
                </a:defRPr>
              </a:lvl3pPr>
              <a:lvl4pPr marL="1371600" indent="0" algn="ctr" rtl="0" eaLnBrk="1" fontAlgn="base" hangingPunct="1">
                <a:spcBef>
                  <a:spcPct val="20000"/>
                </a:spcBef>
                <a:spcAft>
                  <a:spcPct val="0"/>
                </a:spcAft>
                <a:buNone/>
                <a:defRPr sz="2000">
                  <a:solidFill>
                    <a:schemeClr val="tx1"/>
                  </a:solidFill>
                  <a:latin typeface="+mn-lt"/>
                  <a:ea typeface="+mn-ea"/>
                </a:defRPr>
              </a:lvl4pPr>
              <a:lvl5pPr marL="1828800" indent="0" algn="ctr" rtl="0" eaLnBrk="1" fontAlgn="base" hangingPunct="1">
                <a:spcBef>
                  <a:spcPct val="20000"/>
                </a:spcBef>
                <a:spcAft>
                  <a:spcPct val="0"/>
                </a:spcAft>
                <a:buNone/>
                <a:defRPr sz="2000">
                  <a:solidFill>
                    <a:schemeClr val="tx1"/>
                  </a:solidFill>
                  <a:latin typeface="+mn-lt"/>
                  <a:ea typeface="+mn-ea"/>
                </a:defRPr>
              </a:lvl5pPr>
              <a:lvl6pPr marL="2286000" indent="0" algn="ctr" rtl="0" eaLnBrk="1" fontAlgn="base" hangingPunct="1">
                <a:spcBef>
                  <a:spcPct val="20000"/>
                </a:spcBef>
                <a:spcAft>
                  <a:spcPct val="0"/>
                </a:spcAft>
                <a:buNone/>
                <a:defRPr sz="2000">
                  <a:solidFill>
                    <a:schemeClr val="tx1"/>
                  </a:solidFill>
                  <a:latin typeface="+mn-lt"/>
                  <a:ea typeface="+mn-ea"/>
                </a:defRPr>
              </a:lvl6pPr>
              <a:lvl7pPr marL="2743200" indent="0" algn="ctr" rtl="0" eaLnBrk="1" fontAlgn="base" hangingPunct="1">
                <a:spcBef>
                  <a:spcPct val="20000"/>
                </a:spcBef>
                <a:spcAft>
                  <a:spcPct val="0"/>
                </a:spcAft>
                <a:buNone/>
                <a:defRPr sz="2000">
                  <a:solidFill>
                    <a:schemeClr val="tx1"/>
                  </a:solidFill>
                  <a:latin typeface="+mn-lt"/>
                  <a:ea typeface="+mn-ea"/>
                </a:defRPr>
              </a:lvl7pPr>
              <a:lvl8pPr marL="3200400" indent="0" algn="ctr" rtl="0" eaLnBrk="1" fontAlgn="base" hangingPunct="1">
                <a:spcBef>
                  <a:spcPct val="20000"/>
                </a:spcBef>
                <a:spcAft>
                  <a:spcPct val="0"/>
                </a:spcAft>
                <a:buNone/>
                <a:defRPr sz="2000">
                  <a:solidFill>
                    <a:schemeClr val="tx1"/>
                  </a:solidFill>
                  <a:latin typeface="+mn-lt"/>
                  <a:ea typeface="+mn-ea"/>
                </a:defRPr>
              </a:lvl8pPr>
              <a:lvl9pPr marL="3657600" indent="0" algn="ctr" rtl="0" eaLnBrk="1" fontAlgn="base" hangingPunct="1">
                <a:spcBef>
                  <a:spcPct val="20000"/>
                </a:spcBef>
                <a:spcAft>
                  <a:spcPct val="0"/>
                </a:spcAft>
                <a:buNone/>
                <a:defRPr sz="2000">
                  <a:solidFill>
                    <a:schemeClr val="tx1"/>
                  </a:solidFill>
                  <a:latin typeface="+mn-lt"/>
                  <a:ea typeface="+mn-ea"/>
                </a:defRPr>
              </a:lvl9pPr>
            </a:lstStyle>
            <a:p>
              <a:pPr algn="l"/>
              <a:r>
                <a:rPr lang="en-US" sz="2200" b="1" kern="0" dirty="0">
                  <a:solidFill>
                    <a:srgbClr val="002E51"/>
                  </a:solidFill>
                </a:rPr>
                <a:t>May 2023</a:t>
              </a:r>
              <a:endParaRPr lang="en-US" sz="2200" kern="0" dirty="0">
                <a:solidFill>
                  <a:srgbClr val="002E51"/>
                </a:solidFill>
              </a:endParaRPr>
            </a:p>
            <a:p>
              <a:pPr marL="177800" indent="-177800" algn="l">
                <a:buFont typeface="Arial" panose="020B0604020202020204" pitchFamily="34" charset="0"/>
                <a:buChar char="•"/>
              </a:pPr>
              <a:r>
                <a:rPr lang="en-US" sz="2200" kern="0" dirty="0">
                  <a:solidFill>
                    <a:srgbClr val="002E51"/>
                  </a:solidFill>
                </a:rPr>
                <a:t>Repleting B vitamins</a:t>
              </a:r>
            </a:p>
            <a:p>
              <a:pPr marL="177800" indent="-177800" algn="l">
                <a:buFont typeface="Arial" panose="020B0604020202020204" pitchFamily="34" charset="0"/>
                <a:buChar char="•"/>
              </a:pPr>
              <a:r>
                <a:rPr lang="en-US" sz="2200" kern="0" dirty="0">
                  <a:solidFill>
                    <a:srgbClr val="002E51"/>
                  </a:solidFill>
                </a:rPr>
                <a:t>Symptomatic when </a:t>
              </a:r>
              <a:r>
                <a:rPr lang="en-US" sz="2200" kern="0" dirty="0" err="1">
                  <a:solidFill>
                    <a:srgbClr val="002E51"/>
                  </a:solidFill>
                </a:rPr>
                <a:t>hgb</a:t>
              </a:r>
              <a:r>
                <a:rPr lang="en-US" sz="2200" kern="0" dirty="0">
                  <a:solidFill>
                    <a:srgbClr val="002E51"/>
                  </a:solidFill>
                </a:rPr>
                <a:t> &lt;9 g/dL</a:t>
              </a:r>
              <a:endParaRPr lang="en-US" sz="2200" b="1" kern="0" dirty="0">
                <a:solidFill>
                  <a:srgbClr val="002E51"/>
                </a:solidFill>
              </a:endParaRPr>
            </a:p>
            <a:p>
              <a:pPr marL="177800" indent="-177800" algn="l">
                <a:buFont typeface="Arial" panose="020B0604020202020204" pitchFamily="34" charset="0"/>
                <a:buChar char="•"/>
              </a:pPr>
              <a:r>
                <a:rPr lang="en-US" sz="2200" kern="0" dirty="0">
                  <a:solidFill>
                    <a:srgbClr val="002E51"/>
                  </a:solidFill>
                </a:rPr>
                <a:t>Transfusions every 1-6 weeks</a:t>
              </a:r>
            </a:p>
          </p:txBody>
        </p:sp>
        <p:grpSp>
          <p:nvGrpSpPr>
            <p:cNvPr id="26" name="Group 25">
              <a:extLst>
                <a:ext uri="{FF2B5EF4-FFF2-40B4-BE49-F238E27FC236}">
                  <a16:creationId xmlns:a16="http://schemas.microsoft.com/office/drawing/2014/main" id="{98161266-D7DC-12C8-C6E8-FB7300A24E51}"/>
                </a:ext>
              </a:extLst>
            </p:cNvPr>
            <p:cNvGrpSpPr/>
            <p:nvPr/>
          </p:nvGrpSpPr>
          <p:grpSpPr>
            <a:xfrm>
              <a:off x="3337797" y="1401417"/>
              <a:ext cx="5060194" cy="2961889"/>
              <a:chOff x="3337797" y="1401417"/>
              <a:chExt cx="5060194" cy="2961889"/>
            </a:xfrm>
          </p:grpSpPr>
          <p:grpSp>
            <p:nvGrpSpPr>
              <p:cNvPr id="16" name="Group 15">
                <a:extLst>
                  <a:ext uri="{FF2B5EF4-FFF2-40B4-BE49-F238E27FC236}">
                    <a16:creationId xmlns:a16="http://schemas.microsoft.com/office/drawing/2014/main" id="{F9868257-DEF9-DA39-4396-215A43A2472B}"/>
                  </a:ext>
                </a:extLst>
              </p:cNvPr>
              <p:cNvGrpSpPr/>
              <p:nvPr/>
            </p:nvGrpSpPr>
            <p:grpSpPr>
              <a:xfrm>
                <a:off x="3337797" y="1401417"/>
                <a:ext cx="5060194" cy="2961889"/>
                <a:chOff x="3758342" y="1369887"/>
                <a:chExt cx="5060194" cy="2961889"/>
              </a:xfrm>
            </p:grpSpPr>
            <p:pic>
              <p:nvPicPr>
                <p:cNvPr id="3" name="Picture 2">
                  <a:extLst>
                    <a:ext uri="{FF2B5EF4-FFF2-40B4-BE49-F238E27FC236}">
                      <a16:creationId xmlns:a16="http://schemas.microsoft.com/office/drawing/2014/main" id="{50DF9F02-A93C-793C-1142-D36B355A59E8}"/>
                    </a:ext>
                  </a:extLst>
                </p:cNvPr>
                <p:cNvPicPr>
                  <a:picLocks noChangeAspect="1"/>
                </p:cNvPicPr>
                <p:nvPr/>
              </p:nvPicPr>
              <p:blipFill rotWithShape="1">
                <a:blip r:embed="rId3"/>
                <a:srcRect l="3000" t="5909" r="1559" b="2460"/>
                <a:stretch/>
              </p:blipFill>
              <p:spPr>
                <a:xfrm>
                  <a:off x="4029559" y="1651766"/>
                  <a:ext cx="4719234" cy="2618017"/>
                </a:xfrm>
                <a:prstGeom prst="rect">
                  <a:avLst/>
                </a:prstGeom>
              </p:spPr>
            </p:pic>
            <p:sp>
              <p:nvSpPr>
                <p:cNvPr id="12" name="Subtitle 1">
                  <a:extLst>
                    <a:ext uri="{FF2B5EF4-FFF2-40B4-BE49-F238E27FC236}">
                      <a16:creationId xmlns:a16="http://schemas.microsoft.com/office/drawing/2014/main" id="{F3C65647-45FB-C945-5A4D-F3796C95A33D}"/>
                    </a:ext>
                  </a:extLst>
                </p:cNvPr>
                <p:cNvSpPr txBox="1">
                  <a:spLocks/>
                </p:cNvSpPr>
                <p:nvPr/>
              </p:nvSpPr>
              <p:spPr bwMode="auto">
                <a:xfrm>
                  <a:off x="4012995" y="4113376"/>
                  <a:ext cx="4805541" cy="218400"/>
                </a:xfrm>
                <a:prstGeom prst="rect">
                  <a:avLst/>
                </a:prstGeom>
                <a:solidFill>
                  <a:schemeClr val="bg1"/>
                </a:solid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eaLnBrk="1" fontAlgn="base" hangingPunct="1">
                    <a:spcBef>
                      <a:spcPct val="20000"/>
                    </a:spcBef>
                    <a:spcAft>
                      <a:spcPct val="0"/>
                    </a:spcAft>
                    <a:buNone/>
                    <a:defRPr sz="2400">
                      <a:solidFill>
                        <a:schemeClr val="tx1"/>
                      </a:solidFill>
                      <a:latin typeface="+mn-lt"/>
                      <a:ea typeface="+mn-ea"/>
                      <a:cs typeface="+mn-cs"/>
                    </a:defRPr>
                  </a:lvl1pPr>
                  <a:lvl2pPr marL="457200" indent="0" algn="ctr" rtl="0" eaLnBrk="1" fontAlgn="base" hangingPunct="1">
                    <a:spcBef>
                      <a:spcPct val="20000"/>
                    </a:spcBef>
                    <a:spcAft>
                      <a:spcPct val="0"/>
                    </a:spcAft>
                    <a:buNone/>
                    <a:defRPr sz="2000">
                      <a:solidFill>
                        <a:schemeClr val="tx1"/>
                      </a:solidFill>
                      <a:latin typeface="+mn-lt"/>
                      <a:ea typeface="+mn-ea"/>
                    </a:defRPr>
                  </a:lvl2pPr>
                  <a:lvl3pPr marL="914400" indent="0" algn="ctr" rtl="0" eaLnBrk="1" fontAlgn="base" hangingPunct="1">
                    <a:spcBef>
                      <a:spcPct val="20000"/>
                    </a:spcBef>
                    <a:spcAft>
                      <a:spcPct val="0"/>
                    </a:spcAft>
                    <a:buNone/>
                    <a:defRPr>
                      <a:solidFill>
                        <a:schemeClr val="tx1"/>
                      </a:solidFill>
                      <a:latin typeface="+mn-lt"/>
                      <a:ea typeface="+mn-ea"/>
                    </a:defRPr>
                  </a:lvl3pPr>
                  <a:lvl4pPr marL="1371600" indent="0" algn="ctr" rtl="0" eaLnBrk="1" fontAlgn="base" hangingPunct="1">
                    <a:spcBef>
                      <a:spcPct val="20000"/>
                    </a:spcBef>
                    <a:spcAft>
                      <a:spcPct val="0"/>
                    </a:spcAft>
                    <a:buNone/>
                    <a:defRPr sz="2000">
                      <a:solidFill>
                        <a:schemeClr val="tx1"/>
                      </a:solidFill>
                      <a:latin typeface="+mn-lt"/>
                      <a:ea typeface="+mn-ea"/>
                    </a:defRPr>
                  </a:lvl4pPr>
                  <a:lvl5pPr marL="1828800" indent="0" algn="ctr" rtl="0" eaLnBrk="1" fontAlgn="base" hangingPunct="1">
                    <a:spcBef>
                      <a:spcPct val="20000"/>
                    </a:spcBef>
                    <a:spcAft>
                      <a:spcPct val="0"/>
                    </a:spcAft>
                    <a:buNone/>
                    <a:defRPr sz="2000">
                      <a:solidFill>
                        <a:schemeClr val="tx1"/>
                      </a:solidFill>
                      <a:latin typeface="+mn-lt"/>
                      <a:ea typeface="+mn-ea"/>
                    </a:defRPr>
                  </a:lvl5pPr>
                  <a:lvl6pPr marL="2286000" indent="0" algn="ctr" rtl="0" eaLnBrk="1" fontAlgn="base" hangingPunct="1">
                    <a:spcBef>
                      <a:spcPct val="20000"/>
                    </a:spcBef>
                    <a:spcAft>
                      <a:spcPct val="0"/>
                    </a:spcAft>
                    <a:buNone/>
                    <a:defRPr sz="2000">
                      <a:solidFill>
                        <a:schemeClr val="tx1"/>
                      </a:solidFill>
                      <a:latin typeface="+mn-lt"/>
                      <a:ea typeface="+mn-ea"/>
                    </a:defRPr>
                  </a:lvl6pPr>
                  <a:lvl7pPr marL="2743200" indent="0" algn="ctr" rtl="0" eaLnBrk="1" fontAlgn="base" hangingPunct="1">
                    <a:spcBef>
                      <a:spcPct val="20000"/>
                    </a:spcBef>
                    <a:spcAft>
                      <a:spcPct val="0"/>
                    </a:spcAft>
                    <a:buNone/>
                    <a:defRPr sz="2000">
                      <a:solidFill>
                        <a:schemeClr val="tx1"/>
                      </a:solidFill>
                      <a:latin typeface="+mn-lt"/>
                      <a:ea typeface="+mn-ea"/>
                    </a:defRPr>
                  </a:lvl7pPr>
                  <a:lvl8pPr marL="3200400" indent="0" algn="ctr" rtl="0" eaLnBrk="1" fontAlgn="base" hangingPunct="1">
                    <a:spcBef>
                      <a:spcPct val="20000"/>
                    </a:spcBef>
                    <a:spcAft>
                      <a:spcPct val="0"/>
                    </a:spcAft>
                    <a:buNone/>
                    <a:defRPr sz="2000">
                      <a:solidFill>
                        <a:schemeClr val="tx1"/>
                      </a:solidFill>
                      <a:latin typeface="+mn-lt"/>
                      <a:ea typeface="+mn-ea"/>
                    </a:defRPr>
                  </a:lvl8pPr>
                  <a:lvl9pPr marL="3657600" indent="0" algn="ctr" rtl="0" eaLnBrk="1" fontAlgn="base" hangingPunct="1">
                    <a:spcBef>
                      <a:spcPct val="20000"/>
                    </a:spcBef>
                    <a:spcAft>
                      <a:spcPct val="0"/>
                    </a:spcAft>
                    <a:buNone/>
                    <a:defRPr sz="2000">
                      <a:solidFill>
                        <a:schemeClr val="tx1"/>
                      </a:solidFill>
                      <a:latin typeface="+mn-lt"/>
                      <a:ea typeface="+mn-ea"/>
                    </a:defRPr>
                  </a:lvl9pPr>
                </a:lstStyle>
                <a:p>
                  <a:pPr algn="l"/>
                  <a:r>
                    <a:rPr lang="en-US" sz="1000" kern="0" dirty="0"/>
                    <a:t>SEPT      OCT       NOV        DEC        JAN         FEB        MAR        APR       MAY</a:t>
                  </a:r>
                </a:p>
              </p:txBody>
            </p:sp>
            <p:sp>
              <p:nvSpPr>
                <p:cNvPr id="14" name="Subtitle 1">
                  <a:extLst>
                    <a:ext uri="{FF2B5EF4-FFF2-40B4-BE49-F238E27FC236}">
                      <a16:creationId xmlns:a16="http://schemas.microsoft.com/office/drawing/2014/main" id="{D7A24722-DB16-4BA0-D665-7EBFA07DF4DC}"/>
                    </a:ext>
                  </a:extLst>
                </p:cNvPr>
                <p:cNvSpPr txBox="1">
                  <a:spLocks/>
                </p:cNvSpPr>
                <p:nvPr/>
              </p:nvSpPr>
              <p:spPr bwMode="auto">
                <a:xfrm rot="16200000">
                  <a:off x="2775889" y="2634218"/>
                  <a:ext cx="2391111" cy="426205"/>
                </a:xfrm>
                <a:prstGeom prst="rect">
                  <a:avLst/>
                </a:prstGeom>
                <a:solidFill>
                  <a:schemeClr val="bg1"/>
                </a:solid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eaLnBrk="1" fontAlgn="base" hangingPunct="1">
                    <a:spcBef>
                      <a:spcPct val="20000"/>
                    </a:spcBef>
                    <a:spcAft>
                      <a:spcPct val="0"/>
                    </a:spcAft>
                    <a:buNone/>
                    <a:defRPr sz="2400">
                      <a:solidFill>
                        <a:schemeClr val="tx1"/>
                      </a:solidFill>
                      <a:latin typeface="+mn-lt"/>
                      <a:ea typeface="+mn-ea"/>
                      <a:cs typeface="+mn-cs"/>
                    </a:defRPr>
                  </a:lvl1pPr>
                  <a:lvl2pPr marL="457200" indent="0" algn="ctr" rtl="0" eaLnBrk="1" fontAlgn="base" hangingPunct="1">
                    <a:spcBef>
                      <a:spcPct val="20000"/>
                    </a:spcBef>
                    <a:spcAft>
                      <a:spcPct val="0"/>
                    </a:spcAft>
                    <a:buNone/>
                    <a:defRPr sz="2000">
                      <a:solidFill>
                        <a:schemeClr val="tx1"/>
                      </a:solidFill>
                      <a:latin typeface="+mn-lt"/>
                      <a:ea typeface="+mn-ea"/>
                    </a:defRPr>
                  </a:lvl2pPr>
                  <a:lvl3pPr marL="914400" indent="0" algn="ctr" rtl="0" eaLnBrk="1" fontAlgn="base" hangingPunct="1">
                    <a:spcBef>
                      <a:spcPct val="20000"/>
                    </a:spcBef>
                    <a:spcAft>
                      <a:spcPct val="0"/>
                    </a:spcAft>
                    <a:buNone/>
                    <a:defRPr>
                      <a:solidFill>
                        <a:schemeClr val="tx1"/>
                      </a:solidFill>
                      <a:latin typeface="+mn-lt"/>
                      <a:ea typeface="+mn-ea"/>
                    </a:defRPr>
                  </a:lvl3pPr>
                  <a:lvl4pPr marL="1371600" indent="0" algn="ctr" rtl="0" eaLnBrk="1" fontAlgn="base" hangingPunct="1">
                    <a:spcBef>
                      <a:spcPct val="20000"/>
                    </a:spcBef>
                    <a:spcAft>
                      <a:spcPct val="0"/>
                    </a:spcAft>
                    <a:buNone/>
                    <a:defRPr sz="2000">
                      <a:solidFill>
                        <a:schemeClr val="tx1"/>
                      </a:solidFill>
                      <a:latin typeface="+mn-lt"/>
                      <a:ea typeface="+mn-ea"/>
                    </a:defRPr>
                  </a:lvl4pPr>
                  <a:lvl5pPr marL="1828800" indent="0" algn="ctr" rtl="0" eaLnBrk="1" fontAlgn="base" hangingPunct="1">
                    <a:spcBef>
                      <a:spcPct val="20000"/>
                    </a:spcBef>
                    <a:spcAft>
                      <a:spcPct val="0"/>
                    </a:spcAft>
                    <a:buNone/>
                    <a:defRPr sz="2000">
                      <a:solidFill>
                        <a:schemeClr val="tx1"/>
                      </a:solidFill>
                      <a:latin typeface="+mn-lt"/>
                      <a:ea typeface="+mn-ea"/>
                    </a:defRPr>
                  </a:lvl5pPr>
                  <a:lvl6pPr marL="2286000" indent="0" algn="ctr" rtl="0" eaLnBrk="1" fontAlgn="base" hangingPunct="1">
                    <a:spcBef>
                      <a:spcPct val="20000"/>
                    </a:spcBef>
                    <a:spcAft>
                      <a:spcPct val="0"/>
                    </a:spcAft>
                    <a:buNone/>
                    <a:defRPr sz="2000">
                      <a:solidFill>
                        <a:schemeClr val="tx1"/>
                      </a:solidFill>
                      <a:latin typeface="+mn-lt"/>
                      <a:ea typeface="+mn-ea"/>
                    </a:defRPr>
                  </a:lvl6pPr>
                  <a:lvl7pPr marL="2743200" indent="0" algn="ctr" rtl="0" eaLnBrk="1" fontAlgn="base" hangingPunct="1">
                    <a:spcBef>
                      <a:spcPct val="20000"/>
                    </a:spcBef>
                    <a:spcAft>
                      <a:spcPct val="0"/>
                    </a:spcAft>
                    <a:buNone/>
                    <a:defRPr sz="2000">
                      <a:solidFill>
                        <a:schemeClr val="tx1"/>
                      </a:solidFill>
                      <a:latin typeface="+mn-lt"/>
                      <a:ea typeface="+mn-ea"/>
                    </a:defRPr>
                  </a:lvl7pPr>
                  <a:lvl8pPr marL="3200400" indent="0" algn="ctr" rtl="0" eaLnBrk="1" fontAlgn="base" hangingPunct="1">
                    <a:spcBef>
                      <a:spcPct val="20000"/>
                    </a:spcBef>
                    <a:spcAft>
                      <a:spcPct val="0"/>
                    </a:spcAft>
                    <a:buNone/>
                    <a:defRPr sz="2000">
                      <a:solidFill>
                        <a:schemeClr val="tx1"/>
                      </a:solidFill>
                      <a:latin typeface="+mn-lt"/>
                      <a:ea typeface="+mn-ea"/>
                    </a:defRPr>
                  </a:lvl8pPr>
                  <a:lvl9pPr marL="3657600" indent="0" algn="ctr" rtl="0" eaLnBrk="1" fontAlgn="base" hangingPunct="1">
                    <a:spcBef>
                      <a:spcPct val="20000"/>
                    </a:spcBef>
                    <a:spcAft>
                      <a:spcPct val="0"/>
                    </a:spcAft>
                    <a:buNone/>
                    <a:defRPr sz="2000">
                      <a:solidFill>
                        <a:schemeClr val="tx1"/>
                      </a:solidFill>
                      <a:latin typeface="+mn-lt"/>
                      <a:ea typeface="+mn-ea"/>
                    </a:defRPr>
                  </a:lvl9pPr>
                </a:lstStyle>
                <a:p>
                  <a:r>
                    <a:rPr lang="en-US" sz="1000" kern="0" dirty="0" err="1"/>
                    <a:t>hgb</a:t>
                  </a:r>
                  <a:r>
                    <a:rPr lang="en-US" sz="1000" kern="0" dirty="0"/>
                    <a:t> (g/dL)</a:t>
                  </a:r>
                </a:p>
                <a:p>
                  <a:pPr algn="l"/>
                  <a:r>
                    <a:rPr lang="en-US" sz="1000" kern="0" dirty="0"/>
                    <a:t>    7        8        9       10       11      12</a:t>
                  </a:r>
                </a:p>
              </p:txBody>
            </p:sp>
            <p:sp>
              <p:nvSpPr>
                <p:cNvPr id="15" name="Subtitle 1">
                  <a:extLst>
                    <a:ext uri="{FF2B5EF4-FFF2-40B4-BE49-F238E27FC236}">
                      <a16:creationId xmlns:a16="http://schemas.microsoft.com/office/drawing/2014/main" id="{85646FD2-B075-47DD-CB53-005DEEF26FA1}"/>
                    </a:ext>
                  </a:extLst>
                </p:cNvPr>
                <p:cNvSpPr txBox="1">
                  <a:spLocks/>
                </p:cNvSpPr>
                <p:nvPr/>
              </p:nvSpPr>
              <p:spPr bwMode="auto">
                <a:xfrm>
                  <a:off x="4992408" y="1369887"/>
                  <a:ext cx="3047640" cy="282213"/>
                </a:xfrm>
                <a:prstGeom prst="rect">
                  <a:avLst/>
                </a:prstGeom>
                <a:solidFill>
                  <a:schemeClr val="bg1"/>
                </a:solid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eaLnBrk="1" fontAlgn="base" hangingPunct="1">
                    <a:spcBef>
                      <a:spcPct val="20000"/>
                    </a:spcBef>
                    <a:spcAft>
                      <a:spcPct val="0"/>
                    </a:spcAft>
                    <a:buNone/>
                    <a:defRPr sz="2400">
                      <a:solidFill>
                        <a:schemeClr val="tx1"/>
                      </a:solidFill>
                      <a:latin typeface="+mn-lt"/>
                      <a:ea typeface="+mn-ea"/>
                      <a:cs typeface="+mn-cs"/>
                    </a:defRPr>
                  </a:lvl1pPr>
                  <a:lvl2pPr marL="457200" indent="0" algn="ctr" rtl="0" eaLnBrk="1" fontAlgn="base" hangingPunct="1">
                    <a:spcBef>
                      <a:spcPct val="20000"/>
                    </a:spcBef>
                    <a:spcAft>
                      <a:spcPct val="0"/>
                    </a:spcAft>
                    <a:buNone/>
                    <a:defRPr sz="2000">
                      <a:solidFill>
                        <a:schemeClr val="tx1"/>
                      </a:solidFill>
                      <a:latin typeface="+mn-lt"/>
                      <a:ea typeface="+mn-ea"/>
                    </a:defRPr>
                  </a:lvl2pPr>
                  <a:lvl3pPr marL="914400" indent="0" algn="ctr" rtl="0" eaLnBrk="1" fontAlgn="base" hangingPunct="1">
                    <a:spcBef>
                      <a:spcPct val="20000"/>
                    </a:spcBef>
                    <a:spcAft>
                      <a:spcPct val="0"/>
                    </a:spcAft>
                    <a:buNone/>
                    <a:defRPr>
                      <a:solidFill>
                        <a:schemeClr val="tx1"/>
                      </a:solidFill>
                      <a:latin typeface="+mn-lt"/>
                      <a:ea typeface="+mn-ea"/>
                    </a:defRPr>
                  </a:lvl3pPr>
                  <a:lvl4pPr marL="1371600" indent="0" algn="ctr" rtl="0" eaLnBrk="1" fontAlgn="base" hangingPunct="1">
                    <a:spcBef>
                      <a:spcPct val="20000"/>
                    </a:spcBef>
                    <a:spcAft>
                      <a:spcPct val="0"/>
                    </a:spcAft>
                    <a:buNone/>
                    <a:defRPr sz="2000">
                      <a:solidFill>
                        <a:schemeClr val="tx1"/>
                      </a:solidFill>
                      <a:latin typeface="+mn-lt"/>
                      <a:ea typeface="+mn-ea"/>
                    </a:defRPr>
                  </a:lvl4pPr>
                  <a:lvl5pPr marL="1828800" indent="0" algn="ctr" rtl="0" eaLnBrk="1" fontAlgn="base" hangingPunct="1">
                    <a:spcBef>
                      <a:spcPct val="20000"/>
                    </a:spcBef>
                    <a:spcAft>
                      <a:spcPct val="0"/>
                    </a:spcAft>
                    <a:buNone/>
                    <a:defRPr sz="2000">
                      <a:solidFill>
                        <a:schemeClr val="tx1"/>
                      </a:solidFill>
                      <a:latin typeface="+mn-lt"/>
                      <a:ea typeface="+mn-ea"/>
                    </a:defRPr>
                  </a:lvl5pPr>
                  <a:lvl6pPr marL="2286000" indent="0" algn="ctr" rtl="0" eaLnBrk="1" fontAlgn="base" hangingPunct="1">
                    <a:spcBef>
                      <a:spcPct val="20000"/>
                    </a:spcBef>
                    <a:spcAft>
                      <a:spcPct val="0"/>
                    </a:spcAft>
                    <a:buNone/>
                    <a:defRPr sz="2000">
                      <a:solidFill>
                        <a:schemeClr val="tx1"/>
                      </a:solidFill>
                      <a:latin typeface="+mn-lt"/>
                      <a:ea typeface="+mn-ea"/>
                    </a:defRPr>
                  </a:lvl6pPr>
                  <a:lvl7pPr marL="2743200" indent="0" algn="ctr" rtl="0" eaLnBrk="1" fontAlgn="base" hangingPunct="1">
                    <a:spcBef>
                      <a:spcPct val="20000"/>
                    </a:spcBef>
                    <a:spcAft>
                      <a:spcPct val="0"/>
                    </a:spcAft>
                    <a:buNone/>
                    <a:defRPr sz="2000">
                      <a:solidFill>
                        <a:schemeClr val="tx1"/>
                      </a:solidFill>
                      <a:latin typeface="+mn-lt"/>
                      <a:ea typeface="+mn-ea"/>
                    </a:defRPr>
                  </a:lvl7pPr>
                  <a:lvl8pPr marL="3200400" indent="0" algn="ctr" rtl="0" eaLnBrk="1" fontAlgn="base" hangingPunct="1">
                    <a:spcBef>
                      <a:spcPct val="20000"/>
                    </a:spcBef>
                    <a:spcAft>
                      <a:spcPct val="0"/>
                    </a:spcAft>
                    <a:buNone/>
                    <a:defRPr sz="2000">
                      <a:solidFill>
                        <a:schemeClr val="tx1"/>
                      </a:solidFill>
                      <a:latin typeface="+mn-lt"/>
                      <a:ea typeface="+mn-ea"/>
                    </a:defRPr>
                  </a:lvl8pPr>
                  <a:lvl9pPr marL="3657600" indent="0" algn="ctr" rtl="0" eaLnBrk="1" fontAlgn="base" hangingPunct="1">
                    <a:spcBef>
                      <a:spcPct val="20000"/>
                    </a:spcBef>
                    <a:spcAft>
                      <a:spcPct val="0"/>
                    </a:spcAft>
                    <a:buNone/>
                    <a:defRPr sz="2000">
                      <a:solidFill>
                        <a:schemeClr val="tx1"/>
                      </a:solidFill>
                      <a:latin typeface="+mn-lt"/>
                      <a:ea typeface="+mn-ea"/>
                    </a:defRPr>
                  </a:lvl9pPr>
                </a:lstStyle>
                <a:p>
                  <a:r>
                    <a:rPr lang="en-US" sz="1400" kern="0" dirty="0">
                      <a:solidFill>
                        <a:srgbClr val="002E51"/>
                      </a:solidFill>
                    </a:rPr>
                    <a:t>Hemoglobin since presentation</a:t>
                  </a:r>
                </a:p>
              </p:txBody>
            </p:sp>
          </p:grpSp>
          <p:sp>
            <p:nvSpPr>
              <p:cNvPr id="17" name="Triangle 16">
                <a:extLst>
                  <a:ext uri="{FF2B5EF4-FFF2-40B4-BE49-F238E27FC236}">
                    <a16:creationId xmlns:a16="http://schemas.microsoft.com/office/drawing/2014/main" id="{832D617A-97D7-DDDF-88D9-029D2B6064B7}"/>
                  </a:ext>
                </a:extLst>
              </p:cNvPr>
              <p:cNvSpPr/>
              <p:nvPr/>
            </p:nvSpPr>
            <p:spPr bwMode="auto">
              <a:xfrm>
                <a:off x="4167932" y="3652506"/>
                <a:ext cx="147145" cy="190171"/>
              </a:xfrm>
              <a:prstGeom prst="triangle">
                <a:avLst/>
              </a:prstGeom>
              <a:solidFill>
                <a:srgbClr val="FF0000"/>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19" name="Triangle 18">
                <a:extLst>
                  <a:ext uri="{FF2B5EF4-FFF2-40B4-BE49-F238E27FC236}">
                    <a16:creationId xmlns:a16="http://schemas.microsoft.com/office/drawing/2014/main" id="{A30E496F-36FC-2A19-88E7-1502B6C9EB18}"/>
                  </a:ext>
                </a:extLst>
              </p:cNvPr>
              <p:cNvSpPr/>
              <p:nvPr/>
            </p:nvSpPr>
            <p:spPr bwMode="auto">
              <a:xfrm>
                <a:off x="6588427" y="3505519"/>
                <a:ext cx="147145" cy="190171"/>
              </a:xfrm>
              <a:prstGeom prst="triangle">
                <a:avLst/>
              </a:prstGeom>
              <a:solidFill>
                <a:srgbClr val="FF0000"/>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20" name="Triangle 19">
                <a:extLst>
                  <a:ext uri="{FF2B5EF4-FFF2-40B4-BE49-F238E27FC236}">
                    <a16:creationId xmlns:a16="http://schemas.microsoft.com/office/drawing/2014/main" id="{1E97438E-E1E6-3CFA-8DDC-A38C3246DE78}"/>
                  </a:ext>
                </a:extLst>
              </p:cNvPr>
              <p:cNvSpPr/>
              <p:nvPr/>
            </p:nvSpPr>
            <p:spPr bwMode="auto">
              <a:xfrm>
                <a:off x="6553775" y="4062407"/>
                <a:ext cx="147145" cy="190171"/>
              </a:xfrm>
              <a:prstGeom prst="triangle">
                <a:avLst/>
              </a:prstGeom>
              <a:solidFill>
                <a:srgbClr val="FF0000"/>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21" name="Triangle 20">
                <a:extLst>
                  <a:ext uri="{FF2B5EF4-FFF2-40B4-BE49-F238E27FC236}">
                    <a16:creationId xmlns:a16="http://schemas.microsoft.com/office/drawing/2014/main" id="{C8133083-E052-B17E-56B8-087AC79316FD}"/>
                  </a:ext>
                </a:extLst>
              </p:cNvPr>
              <p:cNvSpPr/>
              <p:nvPr/>
            </p:nvSpPr>
            <p:spPr bwMode="auto">
              <a:xfrm>
                <a:off x="6595815" y="3831178"/>
                <a:ext cx="147145" cy="190171"/>
              </a:xfrm>
              <a:prstGeom prst="triangle">
                <a:avLst/>
              </a:prstGeom>
              <a:solidFill>
                <a:srgbClr val="FF0000"/>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22" name="Triangle 21">
                <a:extLst>
                  <a:ext uri="{FF2B5EF4-FFF2-40B4-BE49-F238E27FC236}">
                    <a16:creationId xmlns:a16="http://schemas.microsoft.com/office/drawing/2014/main" id="{013B8354-17B4-0317-3F03-A32C90B7EC0A}"/>
                  </a:ext>
                </a:extLst>
              </p:cNvPr>
              <p:cNvSpPr/>
              <p:nvPr/>
            </p:nvSpPr>
            <p:spPr bwMode="auto">
              <a:xfrm>
                <a:off x="7342051" y="3337203"/>
                <a:ext cx="147145" cy="190171"/>
              </a:xfrm>
              <a:prstGeom prst="triangle">
                <a:avLst/>
              </a:prstGeom>
              <a:solidFill>
                <a:srgbClr val="FF0000"/>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23" name="Triangle 22">
                <a:extLst>
                  <a:ext uri="{FF2B5EF4-FFF2-40B4-BE49-F238E27FC236}">
                    <a16:creationId xmlns:a16="http://schemas.microsoft.com/office/drawing/2014/main" id="{D3E29AB5-F946-0DB0-2F52-5E9CCA0A3FE6}"/>
                  </a:ext>
                </a:extLst>
              </p:cNvPr>
              <p:cNvSpPr/>
              <p:nvPr/>
            </p:nvSpPr>
            <p:spPr bwMode="auto">
              <a:xfrm>
                <a:off x="7967414" y="3584196"/>
                <a:ext cx="147145" cy="190171"/>
              </a:xfrm>
              <a:prstGeom prst="triangle">
                <a:avLst/>
              </a:prstGeom>
              <a:solidFill>
                <a:srgbClr val="FF0000"/>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grpSp>
      </p:grpSp>
    </p:spTree>
    <p:extLst>
      <p:ext uri="{BB962C8B-B14F-4D97-AF65-F5344CB8AC3E}">
        <p14:creationId xmlns:p14="http://schemas.microsoft.com/office/powerpoint/2010/main" val="29221913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5444D0-93C8-7713-60E6-344E051FF1F8}"/>
            </a:ext>
          </a:extLst>
        </p:cNvPr>
        <p:cNvGrpSpPr/>
        <p:nvPr/>
      </p:nvGrpSpPr>
      <p:grpSpPr>
        <a:xfrm>
          <a:off x="0" y="0"/>
          <a:ext cx="0" cy="0"/>
          <a:chOff x="0" y="0"/>
          <a:chExt cx="0" cy="0"/>
        </a:xfrm>
      </p:grpSpPr>
      <p:sp>
        <p:nvSpPr>
          <p:cNvPr id="2" name="Subtitle 1">
            <a:extLst>
              <a:ext uri="{FF2B5EF4-FFF2-40B4-BE49-F238E27FC236}">
                <a16:creationId xmlns:a16="http://schemas.microsoft.com/office/drawing/2014/main" id="{9C908BDC-1D17-655B-CE9A-86816C9D34C8}"/>
              </a:ext>
            </a:extLst>
          </p:cNvPr>
          <p:cNvSpPr>
            <a:spLocks noGrp="1"/>
          </p:cNvSpPr>
          <p:nvPr>
            <p:ph type="subTitle" idx="1"/>
          </p:nvPr>
        </p:nvSpPr>
        <p:spPr>
          <a:xfrm>
            <a:off x="288235" y="268357"/>
            <a:ext cx="7909834" cy="3815964"/>
          </a:xfrm>
        </p:spPr>
        <p:txBody>
          <a:bodyPr/>
          <a:lstStyle/>
          <a:p>
            <a:pPr algn="l"/>
            <a:r>
              <a:rPr lang="en-US" sz="2200" b="1" dirty="0">
                <a:solidFill>
                  <a:srgbClr val="002E51"/>
                </a:solidFill>
              </a:rPr>
              <a:t>Bone marrow biopsy</a:t>
            </a:r>
          </a:p>
          <a:p>
            <a:pPr algn="l"/>
            <a:endParaRPr lang="en-US" sz="1200" dirty="0">
              <a:solidFill>
                <a:srgbClr val="002E51"/>
              </a:solidFill>
              <a:sym typeface="Wingdings" pitchFamily="2" charset="2"/>
            </a:endParaRPr>
          </a:p>
          <a:p>
            <a:pPr algn="l"/>
            <a:r>
              <a:rPr lang="en-US" sz="2200" dirty="0">
                <a:solidFill>
                  <a:srgbClr val="002E51"/>
                </a:solidFill>
                <a:effectLst/>
              </a:rPr>
              <a:t>hypercellular (50-75%), </a:t>
            </a:r>
            <a:r>
              <a:rPr lang="en-US" sz="2200" b="1" dirty="0">
                <a:solidFill>
                  <a:srgbClr val="002E51"/>
                </a:solidFill>
                <a:effectLst/>
              </a:rPr>
              <a:t>1.7% blasts, 43% ring sideroblasts</a:t>
            </a:r>
            <a:r>
              <a:rPr lang="en-US" sz="2200" b="1" dirty="0">
                <a:solidFill>
                  <a:srgbClr val="002E51"/>
                </a:solidFill>
              </a:rPr>
              <a:t>, </a:t>
            </a:r>
            <a:r>
              <a:rPr lang="en-US" sz="2200" b="1" dirty="0" err="1">
                <a:solidFill>
                  <a:srgbClr val="002E51"/>
                </a:solidFill>
              </a:rPr>
              <a:t>dysmegakaryopoiesis</a:t>
            </a:r>
            <a:r>
              <a:rPr lang="en-US" sz="2200" b="1" dirty="0">
                <a:solidFill>
                  <a:srgbClr val="002E51"/>
                </a:solidFill>
              </a:rPr>
              <a:t> and </a:t>
            </a:r>
            <a:r>
              <a:rPr lang="en-US" sz="2200" b="1" dirty="0" err="1">
                <a:solidFill>
                  <a:srgbClr val="002E51"/>
                </a:solidFill>
              </a:rPr>
              <a:t>dyserythropoiesis</a:t>
            </a:r>
            <a:endParaRPr lang="en-US" sz="2200" dirty="0">
              <a:solidFill>
                <a:srgbClr val="002E51"/>
              </a:solidFill>
            </a:endParaRPr>
          </a:p>
          <a:p>
            <a:pPr algn="l"/>
            <a:endParaRPr lang="en-US" sz="1200" dirty="0">
              <a:solidFill>
                <a:srgbClr val="002E51"/>
              </a:solidFill>
            </a:endParaRPr>
          </a:p>
          <a:p>
            <a:pPr algn="l"/>
            <a:r>
              <a:rPr lang="en-US" sz="2200" dirty="0">
                <a:solidFill>
                  <a:srgbClr val="002E51"/>
                </a:solidFill>
              </a:rPr>
              <a:t>normal cytogenetics</a:t>
            </a:r>
          </a:p>
          <a:p>
            <a:pPr algn="l"/>
            <a:endParaRPr lang="en-US" sz="1200" dirty="0">
              <a:solidFill>
                <a:srgbClr val="002E51"/>
              </a:solidFill>
            </a:endParaRPr>
          </a:p>
          <a:p>
            <a:pPr algn="l"/>
            <a:r>
              <a:rPr lang="en-US" sz="2200" dirty="0">
                <a:solidFill>
                  <a:srgbClr val="002E51"/>
                </a:solidFill>
              </a:rPr>
              <a:t>negative myeloid NGS panel</a:t>
            </a:r>
            <a:endParaRPr lang="en-US" sz="2200" dirty="0">
              <a:solidFill>
                <a:srgbClr val="002E51"/>
              </a:solidFill>
              <a:effectLst/>
            </a:endParaRPr>
          </a:p>
        </p:txBody>
      </p:sp>
    </p:spTree>
    <p:extLst>
      <p:ext uri="{BB962C8B-B14F-4D97-AF65-F5344CB8AC3E}">
        <p14:creationId xmlns:p14="http://schemas.microsoft.com/office/powerpoint/2010/main" val="265899555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115127-1142-A583-4C02-2CFF88CD4500}"/>
            </a:ext>
          </a:extLst>
        </p:cNvPr>
        <p:cNvGrpSpPr/>
        <p:nvPr/>
      </p:nvGrpSpPr>
      <p:grpSpPr>
        <a:xfrm>
          <a:off x="0" y="0"/>
          <a:ext cx="0" cy="0"/>
          <a:chOff x="0" y="0"/>
          <a:chExt cx="0" cy="0"/>
        </a:xfrm>
      </p:grpSpPr>
      <p:sp>
        <p:nvSpPr>
          <p:cNvPr id="2" name="Subtitle 1">
            <a:extLst>
              <a:ext uri="{FF2B5EF4-FFF2-40B4-BE49-F238E27FC236}">
                <a16:creationId xmlns:a16="http://schemas.microsoft.com/office/drawing/2014/main" id="{5BA1A850-BF4E-9B3A-1357-FAB59AC86AD3}"/>
              </a:ext>
            </a:extLst>
          </p:cNvPr>
          <p:cNvSpPr>
            <a:spLocks noGrp="1"/>
          </p:cNvSpPr>
          <p:nvPr>
            <p:ph type="subTitle" idx="1"/>
          </p:nvPr>
        </p:nvSpPr>
        <p:spPr>
          <a:xfrm>
            <a:off x="288234" y="1168401"/>
            <a:ext cx="8386209" cy="2915920"/>
          </a:xfrm>
        </p:spPr>
        <p:txBody>
          <a:bodyPr/>
          <a:lstStyle/>
          <a:p>
            <a:pPr algn="l"/>
            <a:r>
              <a:rPr lang="en-US" sz="2200" b="1" dirty="0">
                <a:solidFill>
                  <a:srgbClr val="002E51"/>
                </a:solidFill>
              </a:rPr>
              <a:t>WHO 2022:</a:t>
            </a:r>
          </a:p>
          <a:p>
            <a:pPr algn="l"/>
            <a:endParaRPr lang="en-US" sz="400" b="1" dirty="0">
              <a:solidFill>
                <a:srgbClr val="002E51"/>
              </a:solidFill>
            </a:endParaRPr>
          </a:p>
          <a:p>
            <a:pPr algn="l"/>
            <a:r>
              <a:rPr lang="en-US" sz="2200" dirty="0">
                <a:solidFill>
                  <a:srgbClr val="002E51"/>
                </a:solidFill>
              </a:rPr>
              <a:t>MDS with low blasts and ring sideroblasts (MDS-LB and RS)</a:t>
            </a:r>
          </a:p>
          <a:p>
            <a:pPr algn="l"/>
            <a:endParaRPr lang="en-US" sz="2200" dirty="0">
              <a:solidFill>
                <a:srgbClr val="002E51"/>
              </a:solidFill>
            </a:endParaRPr>
          </a:p>
          <a:p>
            <a:pPr algn="l"/>
            <a:r>
              <a:rPr lang="en-US" sz="2200" dirty="0">
                <a:solidFill>
                  <a:srgbClr val="002E51"/>
                </a:solidFill>
              </a:rPr>
              <a:t>MDS with low blasts and </a:t>
            </a:r>
            <a:r>
              <a:rPr lang="en-US" sz="2200" i="1" dirty="0">
                <a:solidFill>
                  <a:srgbClr val="002E51"/>
                </a:solidFill>
              </a:rPr>
              <a:t>SF3B1</a:t>
            </a:r>
            <a:r>
              <a:rPr lang="en-US" sz="2200" dirty="0">
                <a:solidFill>
                  <a:srgbClr val="002E51"/>
                </a:solidFill>
              </a:rPr>
              <a:t> mutation (MDS-SF3B1)</a:t>
            </a:r>
          </a:p>
          <a:p>
            <a:pPr marL="342900" indent="-342900" algn="l">
              <a:buFont typeface="Arial" panose="020B0604020202020204" pitchFamily="34" charset="0"/>
              <a:buChar char="•"/>
            </a:pPr>
            <a:r>
              <a:rPr lang="en-US" sz="2200" dirty="0">
                <a:solidFill>
                  <a:srgbClr val="002E51"/>
                </a:solidFill>
              </a:rPr>
              <a:t>≥15% ring sideroblasts may substitute for </a:t>
            </a:r>
            <a:r>
              <a:rPr lang="en-US" sz="2200" i="1" dirty="0">
                <a:solidFill>
                  <a:srgbClr val="002E51"/>
                </a:solidFill>
              </a:rPr>
              <a:t>SF3B1</a:t>
            </a:r>
            <a:r>
              <a:rPr lang="en-US" sz="2200" dirty="0">
                <a:solidFill>
                  <a:srgbClr val="002E51"/>
                </a:solidFill>
              </a:rPr>
              <a:t> mutation</a:t>
            </a:r>
          </a:p>
          <a:p>
            <a:pPr marL="800100" lvl="1" indent="-342900" algn="l">
              <a:buFont typeface="Arial" panose="020B0604020202020204" pitchFamily="34" charset="0"/>
              <a:buChar char="•"/>
            </a:pPr>
            <a:r>
              <a:rPr lang="en-US" kern="0" dirty="0">
                <a:solidFill>
                  <a:srgbClr val="86A2A5"/>
                </a:solidFill>
              </a:rPr>
              <a:t>&gt;90% of RS+ patients have </a:t>
            </a:r>
            <a:r>
              <a:rPr lang="en-US" i="1" kern="0" dirty="0">
                <a:solidFill>
                  <a:srgbClr val="86A2A5"/>
                </a:solidFill>
              </a:rPr>
              <a:t>SF3B1</a:t>
            </a:r>
            <a:r>
              <a:rPr lang="en-US" kern="0" dirty="0">
                <a:solidFill>
                  <a:srgbClr val="86A2A5"/>
                </a:solidFill>
              </a:rPr>
              <a:t> mutation</a:t>
            </a:r>
          </a:p>
        </p:txBody>
      </p:sp>
      <p:sp>
        <p:nvSpPr>
          <p:cNvPr id="4" name="Title 3">
            <a:extLst>
              <a:ext uri="{FF2B5EF4-FFF2-40B4-BE49-F238E27FC236}">
                <a16:creationId xmlns:a16="http://schemas.microsoft.com/office/drawing/2014/main" id="{A402AADB-233D-812F-C4FA-EC15BDFAA9FB}"/>
              </a:ext>
            </a:extLst>
          </p:cNvPr>
          <p:cNvSpPr>
            <a:spLocks noGrp="1"/>
          </p:cNvSpPr>
          <p:nvPr>
            <p:ph type="title"/>
          </p:nvPr>
        </p:nvSpPr>
        <p:spPr>
          <a:xfrm>
            <a:off x="0" y="127465"/>
            <a:ext cx="9144000" cy="807256"/>
          </a:xfrm>
        </p:spPr>
        <p:txBody>
          <a:bodyPr/>
          <a:lstStyle/>
          <a:p>
            <a:r>
              <a:rPr lang="en-US" sz="3200" b="1" dirty="0"/>
              <a:t>Diagnosis</a:t>
            </a:r>
          </a:p>
        </p:txBody>
      </p:sp>
    </p:spTree>
    <p:extLst>
      <p:ext uri="{BB962C8B-B14F-4D97-AF65-F5344CB8AC3E}">
        <p14:creationId xmlns:p14="http://schemas.microsoft.com/office/powerpoint/2010/main" val="180730178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1FD56821-0EE4-0D33-99FF-1082B1283F42}"/>
              </a:ext>
            </a:extLst>
          </p:cNvPr>
          <p:cNvSpPr txBox="1">
            <a:spLocks/>
          </p:cNvSpPr>
          <p:nvPr/>
        </p:nvSpPr>
        <p:spPr>
          <a:xfrm>
            <a:off x="0" y="127465"/>
            <a:ext cx="9144000" cy="807256"/>
          </a:xfrm>
          <a:prstGeom prst="rect">
            <a:avLst/>
          </a:prstGeom>
        </p:spPr>
        <p:txBody>
          <a:bodyPr/>
          <a:lstStyle>
            <a:lvl1pPr algn="ctr" rtl="0" eaLnBrk="1" fontAlgn="base" hangingPunct="1">
              <a:spcBef>
                <a:spcPct val="0"/>
              </a:spcBef>
              <a:spcAft>
                <a:spcPct val="0"/>
              </a:spcAft>
              <a:defRPr sz="3600" i="0">
                <a:solidFill>
                  <a:schemeClr val="bg1"/>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r>
              <a:rPr lang="en-US" sz="3200" b="1" kern="0" dirty="0">
                <a:solidFill>
                  <a:srgbClr val="002E51"/>
                </a:solidFill>
              </a:rPr>
              <a:t>Comparing WHO 2016 vs. WHO 2022</a:t>
            </a:r>
            <a:endParaRPr lang="en-US" sz="3200" b="1" kern="0" dirty="0"/>
          </a:p>
        </p:txBody>
      </p:sp>
      <p:pic>
        <p:nvPicPr>
          <p:cNvPr id="1026" name="Picture 2" descr="Fig. 1">
            <a:extLst>
              <a:ext uri="{FF2B5EF4-FFF2-40B4-BE49-F238E27FC236}">
                <a16:creationId xmlns:a16="http://schemas.microsoft.com/office/drawing/2014/main" id="{D887B0F1-C1DE-3895-E001-5D4E760B23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11826" y="853006"/>
            <a:ext cx="3720347" cy="3442250"/>
          </a:xfrm>
          <a:prstGeom prst="rect">
            <a:avLst/>
          </a:prstGeom>
          <a:noFill/>
          <a:extLst>
            <a:ext uri="{909E8E84-426E-40DD-AFC4-6F175D3DCCD1}">
              <a14:hiddenFill xmlns:a14="http://schemas.microsoft.com/office/drawing/2010/main">
                <a:solidFill>
                  <a:srgbClr val="FFFFFF"/>
                </a:solidFill>
              </a14:hiddenFill>
            </a:ext>
          </a:extLst>
        </p:spPr>
      </p:pic>
      <p:sp>
        <p:nvSpPr>
          <p:cNvPr id="5" name="Subtitle 1">
            <a:extLst>
              <a:ext uri="{FF2B5EF4-FFF2-40B4-BE49-F238E27FC236}">
                <a16:creationId xmlns:a16="http://schemas.microsoft.com/office/drawing/2014/main" id="{05DDD7E0-3FD6-9669-8F96-FA374547A910}"/>
              </a:ext>
            </a:extLst>
          </p:cNvPr>
          <p:cNvSpPr txBox="1">
            <a:spLocks/>
          </p:cNvSpPr>
          <p:nvPr/>
        </p:nvSpPr>
        <p:spPr bwMode="auto">
          <a:xfrm>
            <a:off x="1086659" y="2337326"/>
            <a:ext cx="1602311" cy="669826"/>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r">
              <a:buNone/>
            </a:pPr>
            <a:r>
              <a:rPr lang="en-US" sz="1600" kern="0" dirty="0">
                <a:solidFill>
                  <a:srgbClr val="FF0000"/>
                </a:solidFill>
              </a:rPr>
              <a:t>MDS-RS-SLD</a:t>
            </a:r>
          </a:p>
          <a:p>
            <a:pPr marL="0" indent="0" algn="r">
              <a:buNone/>
            </a:pPr>
            <a:r>
              <a:rPr lang="en-US" sz="1600" kern="0" dirty="0">
                <a:solidFill>
                  <a:srgbClr val="FF0000"/>
                </a:solidFill>
              </a:rPr>
              <a:t>MDS-RS-MLD</a:t>
            </a:r>
          </a:p>
        </p:txBody>
      </p:sp>
      <p:sp>
        <p:nvSpPr>
          <p:cNvPr id="7" name="Subtitle 1">
            <a:extLst>
              <a:ext uri="{FF2B5EF4-FFF2-40B4-BE49-F238E27FC236}">
                <a16:creationId xmlns:a16="http://schemas.microsoft.com/office/drawing/2014/main" id="{B58D39D6-CA0B-1D59-4A15-CAABF6A0D29C}"/>
              </a:ext>
            </a:extLst>
          </p:cNvPr>
          <p:cNvSpPr txBox="1">
            <a:spLocks/>
          </p:cNvSpPr>
          <p:nvPr/>
        </p:nvSpPr>
        <p:spPr bwMode="auto">
          <a:xfrm>
            <a:off x="6360668" y="934721"/>
            <a:ext cx="1937512" cy="669826"/>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buNone/>
            </a:pPr>
            <a:r>
              <a:rPr lang="en-US" sz="1600" kern="0" dirty="0">
                <a:solidFill>
                  <a:srgbClr val="FF0000"/>
                </a:solidFill>
              </a:rPr>
              <a:t>MDS-SF3B1</a:t>
            </a:r>
          </a:p>
        </p:txBody>
      </p:sp>
      <p:sp>
        <p:nvSpPr>
          <p:cNvPr id="10" name="Content Placeholder 6">
            <a:extLst>
              <a:ext uri="{FF2B5EF4-FFF2-40B4-BE49-F238E27FC236}">
                <a16:creationId xmlns:a16="http://schemas.microsoft.com/office/drawing/2014/main" id="{08FE865A-5880-CC6E-EC2F-8B41157A4FF6}"/>
              </a:ext>
            </a:extLst>
          </p:cNvPr>
          <p:cNvSpPr txBox="1">
            <a:spLocks/>
          </p:cNvSpPr>
          <p:nvPr/>
        </p:nvSpPr>
        <p:spPr bwMode="auto">
          <a:xfrm>
            <a:off x="6280658" y="4124441"/>
            <a:ext cx="2909062" cy="524510"/>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r">
              <a:buFontTx/>
              <a:buNone/>
            </a:pPr>
            <a:r>
              <a:rPr lang="en-US" sz="1200" kern="0" dirty="0">
                <a:solidFill>
                  <a:srgbClr val="002E51"/>
                </a:solidFill>
              </a:rPr>
              <a:t>Zhang et al, Leukemia 2022;36:2875</a:t>
            </a:r>
          </a:p>
        </p:txBody>
      </p:sp>
      <p:sp>
        <p:nvSpPr>
          <p:cNvPr id="12" name="Subtitle 1">
            <a:extLst>
              <a:ext uri="{FF2B5EF4-FFF2-40B4-BE49-F238E27FC236}">
                <a16:creationId xmlns:a16="http://schemas.microsoft.com/office/drawing/2014/main" id="{36528B38-117A-D293-D630-FE5887A452A2}"/>
              </a:ext>
            </a:extLst>
          </p:cNvPr>
          <p:cNvSpPr txBox="1">
            <a:spLocks/>
          </p:cNvSpPr>
          <p:nvPr/>
        </p:nvSpPr>
        <p:spPr bwMode="auto">
          <a:xfrm>
            <a:off x="1086658" y="708919"/>
            <a:ext cx="1602311" cy="669826"/>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r">
              <a:buNone/>
            </a:pPr>
            <a:r>
              <a:rPr lang="en-US" sz="1600" kern="0" dirty="0">
                <a:solidFill>
                  <a:srgbClr val="002E51"/>
                </a:solidFill>
              </a:rPr>
              <a:t>MDS-5q</a:t>
            </a:r>
          </a:p>
          <a:p>
            <a:pPr marL="0" indent="0" algn="r">
              <a:buNone/>
            </a:pPr>
            <a:r>
              <a:rPr lang="en-US" sz="1600" kern="0" dirty="0">
                <a:solidFill>
                  <a:srgbClr val="002E51"/>
                </a:solidFill>
              </a:rPr>
              <a:t>MDS-SLD</a:t>
            </a:r>
          </a:p>
          <a:p>
            <a:pPr marL="0" indent="0" algn="r">
              <a:buNone/>
            </a:pPr>
            <a:endParaRPr lang="en-US" sz="2200" kern="0" dirty="0">
              <a:solidFill>
                <a:srgbClr val="002E51"/>
              </a:solidFill>
            </a:endParaRPr>
          </a:p>
          <a:p>
            <a:pPr marL="0" indent="0" algn="r">
              <a:buNone/>
            </a:pPr>
            <a:r>
              <a:rPr lang="en-US" sz="1600" kern="0" dirty="0">
                <a:solidFill>
                  <a:srgbClr val="002E51"/>
                </a:solidFill>
              </a:rPr>
              <a:t>MDS-MLD</a:t>
            </a:r>
          </a:p>
          <a:p>
            <a:pPr marL="0" indent="0" algn="r">
              <a:buNone/>
            </a:pPr>
            <a:endParaRPr lang="en-US" sz="1600" kern="0" dirty="0">
              <a:solidFill>
                <a:srgbClr val="002E51"/>
              </a:solidFill>
            </a:endParaRPr>
          </a:p>
          <a:p>
            <a:pPr marL="0" indent="0" algn="r">
              <a:buNone/>
            </a:pPr>
            <a:endParaRPr lang="en-US" sz="1600" kern="0" dirty="0">
              <a:solidFill>
                <a:srgbClr val="002E51"/>
              </a:solidFill>
            </a:endParaRPr>
          </a:p>
          <a:p>
            <a:pPr marL="0" indent="0" algn="r">
              <a:buNone/>
            </a:pPr>
            <a:endParaRPr lang="en-US" sz="1600" kern="0" dirty="0">
              <a:solidFill>
                <a:srgbClr val="002E51"/>
              </a:solidFill>
            </a:endParaRPr>
          </a:p>
          <a:p>
            <a:pPr marL="0" indent="0" algn="r">
              <a:buNone/>
            </a:pPr>
            <a:endParaRPr lang="en-US" sz="800" kern="0" dirty="0">
              <a:solidFill>
                <a:srgbClr val="002E51"/>
              </a:solidFill>
            </a:endParaRPr>
          </a:p>
          <a:p>
            <a:pPr marL="0" indent="0" algn="r">
              <a:buNone/>
            </a:pPr>
            <a:r>
              <a:rPr lang="en-US" sz="1600" kern="0" dirty="0">
                <a:solidFill>
                  <a:srgbClr val="002E51"/>
                </a:solidFill>
              </a:rPr>
              <a:t>MDS-EB1</a:t>
            </a:r>
          </a:p>
          <a:p>
            <a:pPr marL="0" indent="0" algn="r">
              <a:buNone/>
            </a:pPr>
            <a:endParaRPr lang="en-US" sz="2000" kern="0" dirty="0">
              <a:solidFill>
                <a:srgbClr val="002E51"/>
              </a:solidFill>
            </a:endParaRPr>
          </a:p>
          <a:p>
            <a:pPr marL="0" indent="0" algn="r">
              <a:buNone/>
            </a:pPr>
            <a:r>
              <a:rPr lang="en-US" sz="1600" kern="0" dirty="0">
                <a:solidFill>
                  <a:srgbClr val="002E51"/>
                </a:solidFill>
              </a:rPr>
              <a:t>MDS-EB2</a:t>
            </a:r>
          </a:p>
        </p:txBody>
      </p:sp>
      <p:sp>
        <p:nvSpPr>
          <p:cNvPr id="13" name="Subtitle 1">
            <a:extLst>
              <a:ext uri="{FF2B5EF4-FFF2-40B4-BE49-F238E27FC236}">
                <a16:creationId xmlns:a16="http://schemas.microsoft.com/office/drawing/2014/main" id="{E2296D33-FD54-2C8B-0339-AF8541AC1B00}"/>
              </a:ext>
            </a:extLst>
          </p:cNvPr>
          <p:cNvSpPr txBox="1">
            <a:spLocks/>
          </p:cNvSpPr>
          <p:nvPr/>
        </p:nvSpPr>
        <p:spPr bwMode="auto">
          <a:xfrm>
            <a:off x="6358063" y="708919"/>
            <a:ext cx="2031025" cy="669826"/>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buNone/>
            </a:pPr>
            <a:r>
              <a:rPr lang="en-US" sz="1600" kern="0" dirty="0">
                <a:solidFill>
                  <a:srgbClr val="002E51"/>
                </a:solidFill>
              </a:rPr>
              <a:t>MDS-5q</a:t>
            </a:r>
          </a:p>
          <a:p>
            <a:pPr marL="0" indent="0">
              <a:buNone/>
            </a:pPr>
            <a:endParaRPr lang="en-US" sz="1000" kern="0" dirty="0">
              <a:solidFill>
                <a:srgbClr val="002E51"/>
              </a:solidFill>
            </a:endParaRPr>
          </a:p>
          <a:p>
            <a:pPr marL="0" indent="0">
              <a:buNone/>
            </a:pPr>
            <a:r>
              <a:rPr lang="en-US" sz="1600" kern="0" dirty="0">
                <a:solidFill>
                  <a:srgbClr val="002E51"/>
                </a:solidFill>
              </a:rPr>
              <a:t>MDS-biTP53</a:t>
            </a:r>
          </a:p>
          <a:p>
            <a:pPr marL="0" indent="0">
              <a:buNone/>
            </a:pPr>
            <a:endParaRPr lang="en-US" sz="2000" kern="0" dirty="0">
              <a:solidFill>
                <a:srgbClr val="002E51"/>
              </a:solidFill>
            </a:endParaRPr>
          </a:p>
          <a:p>
            <a:pPr marL="0" indent="0">
              <a:buNone/>
            </a:pPr>
            <a:r>
              <a:rPr lang="en-US" sz="1600" kern="0" dirty="0">
                <a:solidFill>
                  <a:srgbClr val="002E51"/>
                </a:solidFill>
              </a:rPr>
              <a:t>MDS-LB</a:t>
            </a:r>
          </a:p>
          <a:p>
            <a:pPr marL="0" indent="0">
              <a:buNone/>
            </a:pPr>
            <a:endParaRPr lang="en-US" sz="1600" kern="0" dirty="0">
              <a:solidFill>
                <a:srgbClr val="002E51"/>
              </a:solidFill>
            </a:endParaRPr>
          </a:p>
          <a:p>
            <a:pPr marL="0" indent="0">
              <a:buNone/>
            </a:pPr>
            <a:endParaRPr lang="en-US" sz="800" kern="0" dirty="0">
              <a:solidFill>
                <a:srgbClr val="002E51"/>
              </a:solidFill>
            </a:endParaRPr>
          </a:p>
          <a:p>
            <a:pPr marL="0" indent="0">
              <a:buNone/>
            </a:pPr>
            <a:r>
              <a:rPr lang="en-US" sz="1600" kern="0" dirty="0">
                <a:solidFill>
                  <a:srgbClr val="002E51"/>
                </a:solidFill>
              </a:rPr>
              <a:t>MDS-hypoplastic</a:t>
            </a:r>
          </a:p>
          <a:p>
            <a:pPr marL="0" indent="0">
              <a:buNone/>
            </a:pPr>
            <a:endParaRPr lang="en-US" sz="1000" kern="0" dirty="0">
              <a:solidFill>
                <a:srgbClr val="002E51"/>
              </a:solidFill>
            </a:endParaRPr>
          </a:p>
          <a:p>
            <a:pPr marL="0" indent="0">
              <a:buNone/>
            </a:pPr>
            <a:r>
              <a:rPr lang="en-US" sz="1600" kern="0" dirty="0">
                <a:solidFill>
                  <a:srgbClr val="002E51"/>
                </a:solidFill>
              </a:rPr>
              <a:t>MDS-IB1</a:t>
            </a:r>
          </a:p>
          <a:p>
            <a:pPr marL="0" indent="0">
              <a:buNone/>
            </a:pPr>
            <a:endParaRPr lang="en-US" sz="1200" kern="0" dirty="0">
              <a:solidFill>
                <a:srgbClr val="002E51"/>
              </a:solidFill>
            </a:endParaRPr>
          </a:p>
          <a:p>
            <a:pPr marL="0" indent="0">
              <a:buNone/>
            </a:pPr>
            <a:r>
              <a:rPr lang="en-US" sz="1600" kern="0" dirty="0">
                <a:solidFill>
                  <a:srgbClr val="002E51"/>
                </a:solidFill>
              </a:rPr>
              <a:t>MDS-IB2</a:t>
            </a:r>
          </a:p>
          <a:p>
            <a:pPr marL="0" indent="0">
              <a:buNone/>
            </a:pPr>
            <a:endParaRPr lang="en-US" sz="200" kern="0" dirty="0">
              <a:solidFill>
                <a:srgbClr val="002E51"/>
              </a:solidFill>
            </a:endParaRPr>
          </a:p>
          <a:p>
            <a:pPr marL="0" indent="0">
              <a:buNone/>
            </a:pPr>
            <a:r>
              <a:rPr lang="en-US" sz="1600" kern="0" dirty="0">
                <a:solidFill>
                  <a:srgbClr val="002E51"/>
                </a:solidFill>
              </a:rPr>
              <a:t>MDS-fibrosis</a:t>
            </a:r>
          </a:p>
        </p:txBody>
      </p:sp>
    </p:spTree>
    <p:extLst>
      <p:ext uri="{BB962C8B-B14F-4D97-AF65-F5344CB8AC3E}">
        <p14:creationId xmlns:p14="http://schemas.microsoft.com/office/powerpoint/2010/main" val="365514103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E98F24-CC7C-2164-2B05-CA7DDC5BA09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78F064E-0DE6-9896-0435-FCA640B5120E}"/>
              </a:ext>
            </a:extLst>
          </p:cNvPr>
          <p:cNvSpPr txBox="1">
            <a:spLocks/>
          </p:cNvSpPr>
          <p:nvPr/>
        </p:nvSpPr>
        <p:spPr>
          <a:xfrm>
            <a:off x="0" y="127465"/>
            <a:ext cx="9144000" cy="807256"/>
          </a:xfrm>
          <a:prstGeom prst="rect">
            <a:avLst/>
          </a:prstGeom>
        </p:spPr>
        <p:txBody>
          <a:bodyPr/>
          <a:lstStyle>
            <a:lvl1pPr algn="ctr" rtl="0" eaLnBrk="1" fontAlgn="base" hangingPunct="1">
              <a:spcBef>
                <a:spcPct val="0"/>
              </a:spcBef>
              <a:spcAft>
                <a:spcPct val="0"/>
              </a:spcAft>
              <a:defRPr sz="3600" i="0">
                <a:solidFill>
                  <a:schemeClr val="bg1"/>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r>
              <a:rPr lang="en-US" sz="3200" b="1" kern="0" dirty="0">
                <a:solidFill>
                  <a:srgbClr val="002E51"/>
                </a:solidFill>
              </a:rPr>
              <a:t>Molecular subtypes are associated with disease severity</a:t>
            </a:r>
            <a:endParaRPr lang="en-US" sz="3200" b="1" kern="0" dirty="0"/>
          </a:p>
        </p:txBody>
      </p:sp>
      <p:pic>
        <p:nvPicPr>
          <p:cNvPr id="3" name="Picture 2" descr="A screenshot of a graph&#10;&#10;Description automatically generated">
            <a:extLst>
              <a:ext uri="{FF2B5EF4-FFF2-40B4-BE49-F238E27FC236}">
                <a16:creationId xmlns:a16="http://schemas.microsoft.com/office/drawing/2014/main" id="{59FCB2D7-E85A-04C2-E003-4689D6D672A5}"/>
              </a:ext>
            </a:extLst>
          </p:cNvPr>
          <p:cNvPicPr>
            <a:picLocks noChangeAspect="1"/>
          </p:cNvPicPr>
          <p:nvPr/>
        </p:nvPicPr>
        <p:blipFill>
          <a:blip r:embed="rId3"/>
          <a:stretch>
            <a:fillRect/>
          </a:stretch>
        </p:blipFill>
        <p:spPr>
          <a:xfrm>
            <a:off x="2911200" y="1182757"/>
            <a:ext cx="3321599" cy="3151068"/>
          </a:xfrm>
          <a:prstGeom prst="rect">
            <a:avLst/>
          </a:prstGeom>
        </p:spPr>
      </p:pic>
      <p:sp>
        <p:nvSpPr>
          <p:cNvPr id="5" name="Subtitle 1">
            <a:extLst>
              <a:ext uri="{FF2B5EF4-FFF2-40B4-BE49-F238E27FC236}">
                <a16:creationId xmlns:a16="http://schemas.microsoft.com/office/drawing/2014/main" id="{A7ADF033-7353-B07A-98B0-DB95F0C44383}"/>
              </a:ext>
            </a:extLst>
          </p:cNvPr>
          <p:cNvSpPr txBox="1">
            <a:spLocks/>
          </p:cNvSpPr>
          <p:nvPr/>
        </p:nvSpPr>
        <p:spPr bwMode="auto">
          <a:xfrm>
            <a:off x="6352615" y="2971742"/>
            <a:ext cx="1533650" cy="669826"/>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buNone/>
            </a:pPr>
            <a:r>
              <a:rPr lang="en-US" sz="1600" b="1" kern="0" dirty="0">
                <a:solidFill>
                  <a:srgbClr val="2538ED"/>
                </a:solidFill>
              </a:rPr>
              <a:t>SF3B1 =    only mutation enriched in low risk MDS</a:t>
            </a:r>
            <a:endParaRPr lang="en-US" sz="1600" kern="0" dirty="0">
              <a:solidFill>
                <a:srgbClr val="2538ED"/>
              </a:solidFill>
            </a:endParaRPr>
          </a:p>
        </p:txBody>
      </p:sp>
      <p:sp>
        <p:nvSpPr>
          <p:cNvPr id="6" name="Subtitle 1">
            <a:extLst>
              <a:ext uri="{FF2B5EF4-FFF2-40B4-BE49-F238E27FC236}">
                <a16:creationId xmlns:a16="http://schemas.microsoft.com/office/drawing/2014/main" id="{2D0CB223-688A-B04F-9694-682002F20050}"/>
              </a:ext>
            </a:extLst>
          </p:cNvPr>
          <p:cNvSpPr txBox="1">
            <a:spLocks/>
          </p:cNvSpPr>
          <p:nvPr/>
        </p:nvSpPr>
        <p:spPr bwMode="auto">
          <a:xfrm>
            <a:off x="1249852" y="1563311"/>
            <a:ext cx="1533650" cy="2579402"/>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buNone/>
            </a:pPr>
            <a:r>
              <a:rPr lang="en-US" sz="1600" kern="0" dirty="0">
                <a:solidFill>
                  <a:srgbClr val="C00000"/>
                </a:solidFill>
              </a:rPr>
              <a:t>Red = enriched in high risk-MDS</a:t>
            </a:r>
          </a:p>
          <a:p>
            <a:pPr marL="0" indent="0">
              <a:buNone/>
            </a:pPr>
            <a:endParaRPr lang="en-US" sz="1600" kern="0" dirty="0">
              <a:solidFill>
                <a:srgbClr val="C00000"/>
              </a:solidFill>
            </a:endParaRPr>
          </a:p>
          <a:p>
            <a:pPr marL="0" indent="0">
              <a:buNone/>
            </a:pPr>
            <a:r>
              <a:rPr lang="en-US" sz="1600" kern="0" dirty="0">
                <a:solidFill>
                  <a:srgbClr val="51B70C"/>
                </a:solidFill>
              </a:rPr>
              <a:t>Green =       no difference between     low risk and high risk MDS</a:t>
            </a:r>
          </a:p>
        </p:txBody>
      </p:sp>
      <p:sp>
        <p:nvSpPr>
          <p:cNvPr id="7" name="Content Placeholder 6">
            <a:extLst>
              <a:ext uri="{FF2B5EF4-FFF2-40B4-BE49-F238E27FC236}">
                <a16:creationId xmlns:a16="http://schemas.microsoft.com/office/drawing/2014/main" id="{FEB3FB35-6230-0936-A3B6-D64573FA02B4}"/>
              </a:ext>
            </a:extLst>
          </p:cNvPr>
          <p:cNvSpPr txBox="1">
            <a:spLocks/>
          </p:cNvSpPr>
          <p:nvPr/>
        </p:nvSpPr>
        <p:spPr bwMode="auto">
          <a:xfrm>
            <a:off x="5726430" y="4112896"/>
            <a:ext cx="3417570" cy="524510"/>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r">
              <a:buFontTx/>
              <a:buNone/>
            </a:pPr>
            <a:r>
              <a:rPr lang="en-US" sz="1200" kern="0" dirty="0" err="1">
                <a:solidFill>
                  <a:srgbClr val="002E51"/>
                </a:solidFill>
              </a:rPr>
              <a:t>Makishima</a:t>
            </a:r>
            <a:r>
              <a:rPr lang="en-US" sz="1200" kern="0" dirty="0">
                <a:solidFill>
                  <a:srgbClr val="002E51"/>
                </a:solidFill>
              </a:rPr>
              <a:t> et al, Nat Genetics 2017;49:204</a:t>
            </a:r>
          </a:p>
        </p:txBody>
      </p:sp>
    </p:spTree>
    <p:extLst>
      <p:ext uri="{BB962C8B-B14F-4D97-AF65-F5344CB8AC3E}">
        <p14:creationId xmlns:p14="http://schemas.microsoft.com/office/powerpoint/2010/main" val="169898861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AE0EAC-740D-4AB6-E9B3-83D580CD132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7D3FC10-3D1A-6945-61E5-903EE25133C6}"/>
              </a:ext>
            </a:extLst>
          </p:cNvPr>
          <p:cNvSpPr txBox="1">
            <a:spLocks/>
          </p:cNvSpPr>
          <p:nvPr/>
        </p:nvSpPr>
        <p:spPr>
          <a:xfrm>
            <a:off x="0" y="127465"/>
            <a:ext cx="9144000" cy="807256"/>
          </a:xfrm>
          <a:prstGeom prst="rect">
            <a:avLst/>
          </a:prstGeom>
        </p:spPr>
        <p:txBody>
          <a:bodyPr/>
          <a:lstStyle>
            <a:lvl1pPr algn="ctr" rtl="0" eaLnBrk="1" fontAlgn="base" hangingPunct="1">
              <a:spcBef>
                <a:spcPct val="0"/>
              </a:spcBef>
              <a:spcAft>
                <a:spcPct val="0"/>
              </a:spcAft>
              <a:defRPr sz="3600" i="0">
                <a:solidFill>
                  <a:schemeClr val="bg1"/>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r>
              <a:rPr lang="en-US" sz="3200" b="1" kern="0" dirty="0">
                <a:solidFill>
                  <a:srgbClr val="002E51"/>
                </a:solidFill>
              </a:rPr>
              <a:t>Risk stratification</a:t>
            </a:r>
            <a:endParaRPr lang="en-US" sz="3200" b="1" kern="0" dirty="0"/>
          </a:p>
        </p:txBody>
      </p:sp>
      <p:sp>
        <p:nvSpPr>
          <p:cNvPr id="7" name="Content Placeholder 6">
            <a:extLst>
              <a:ext uri="{FF2B5EF4-FFF2-40B4-BE49-F238E27FC236}">
                <a16:creationId xmlns:a16="http://schemas.microsoft.com/office/drawing/2014/main" id="{F734F84E-768E-443E-C4EF-55306B2CBF78}"/>
              </a:ext>
            </a:extLst>
          </p:cNvPr>
          <p:cNvSpPr>
            <a:spLocks noGrp="1"/>
          </p:cNvSpPr>
          <p:nvPr>
            <p:ph sz="half" idx="1"/>
          </p:nvPr>
        </p:nvSpPr>
        <p:spPr>
          <a:xfrm>
            <a:off x="685800" y="957580"/>
            <a:ext cx="3810000" cy="2936240"/>
          </a:xfrm>
        </p:spPr>
        <p:txBody>
          <a:bodyPr/>
          <a:lstStyle/>
          <a:p>
            <a:pPr marL="0" indent="0">
              <a:buNone/>
            </a:pPr>
            <a:r>
              <a:rPr lang="en-US" sz="2000" b="1" dirty="0">
                <a:solidFill>
                  <a:srgbClr val="002E51"/>
                </a:solidFill>
              </a:rPr>
              <a:t>IPSS-R</a:t>
            </a:r>
          </a:p>
          <a:p>
            <a:r>
              <a:rPr lang="en-US" sz="2000" dirty="0">
                <a:solidFill>
                  <a:srgbClr val="002E51"/>
                </a:solidFill>
              </a:rPr>
              <a:t>Cytogenetics</a:t>
            </a:r>
          </a:p>
          <a:p>
            <a:r>
              <a:rPr lang="en-US" sz="2000" dirty="0">
                <a:solidFill>
                  <a:srgbClr val="002E51"/>
                </a:solidFill>
              </a:rPr>
              <a:t>BM blast %</a:t>
            </a:r>
          </a:p>
          <a:p>
            <a:r>
              <a:rPr lang="en-US" sz="2000" dirty="0">
                <a:solidFill>
                  <a:srgbClr val="002E51"/>
                </a:solidFill>
              </a:rPr>
              <a:t>Hemoglobin</a:t>
            </a:r>
          </a:p>
          <a:p>
            <a:r>
              <a:rPr lang="en-US" sz="2000" dirty="0">
                <a:solidFill>
                  <a:srgbClr val="002E51"/>
                </a:solidFill>
              </a:rPr>
              <a:t>Platelets</a:t>
            </a:r>
          </a:p>
          <a:p>
            <a:r>
              <a:rPr lang="en-US" sz="2000" dirty="0">
                <a:solidFill>
                  <a:srgbClr val="002E51"/>
                </a:solidFill>
              </a:rPr>
              <a:t>ANC</a:t>
            </a:r>
          </a:p>
          <a:p>
            <a:endParaRPr lang="en-US" sz="2000" dirty="0">
              <a:solidFill>
                <a:srgbClr val="002E51"/>
              </a:solidFill>
            </a:endParaRPr>
          </a:p>
          <a:p>
            <a:pPr marL="0" indent="0">
              <a:buNone/>
            </a:pPr>
            <a:r>
              <a:rPr lang="en-US" sz="2000" b="1" dirty="0">
                <a:solidFill>
                  <a:srgbClr val="86A2A5"/>
                </a:solidFill>
              </a:rPr>
              <a:t>Score 2.5 = low risk</a:t>
            </a:r>
          </a:p>
          <a:p>
            <a:pPr marL="0" indent="0">
              <a:buNone/>
            </a:pPr>
            <a:r>
              <a:rPr lang="en-US" sz="2000" b="1" dirty="0" err="1">
                <a:solidFill>
                  <a:srgbClr val="86A2A5"/>
                </a:solidFill>
              </a:rPr>
              <a:t>mOS</a:t>
            </a:r>
            <a:r>
              <a:rPr lang="en-US" sz="2000" b="1" dirty="0">
                <a:solidFill>
                  <a:srgbClr val="86A2A5"/>
                </a:solidFill>
              </a:rPr>
              <a:t> 5.3 years</a:t>
            </a:r>
          </a:p>
        </p:txBody>
      </p:sp>
      <p:sp>
        <p:nvSpPr>
          <p:cNvPr id="8" name="Content Placeholder 7">
            <a:extLst>
              <a:ext uri="{FF2B5EF4-FFF2-40B4-BE49-F238E27FC236}">
                <a16:creationId xmlns:a16="http://schemas.microsoft.com/office/drawing/2014/main" id="{062C6426-3538-DD38-6847-0EFD3C2C527A}"/>
              </a:ext>
            </a:extLst>
          </p:cNvPr>
          <p:cNvSpPr>
            <a:spLocks noGrp="1"/>
          </p:cNvSpPr>
          <p:nvPr>
            <p:ph sz="half" idx="2"/>
          </p:nvPr>
        </p:nvSpPr>
        <p:spPr>
          <a:xfrm>
            <a:off x="4648200" y="957580"/>
            <a:ext cx="3810000" cy="2936240"/>
          </a:xfrm>
        </p:spPr>
        <p:txBody>
          <a:bodyPr/>
          <a:lstStyle/>
          <a:p>
            <a:pPr marL="0" indent="0">
              <a:buNone/>
            </a:pPr>
            <a:r>
              <a:rPr lang="en-US" sz="2000" b="1" dirty="0">
                <a:solidFill>
                  <a:srgbClr val="002E51"/>
                </a:solidFill>
              </a:rPr>
              <a:t>IPSS-M</a:t>
            </a:r>
          </a:p>
          <a:p>
            <a:r>
              <a:rPr lang="en-US" sz="2000" dirty="0">
                <a:solidFill>
                  <a:srgbClr val="002E51"/>
                </a:solidFill>
              </a:rPr>
              <a:t>Cytogenetics</a:t>
            </a:r>
          </a:p>
          <a:p>
            <a:r>
              <a:rPr lang="en-US" sz="2000" dirty="0">
                <a:solidFill>
                  <a:srgbClr val="002E51"/>
                </a:solidFill>
              </a:rPr>
              <a:t>BM blast %</a:t>
            </a:r>
          </a:p>
          <a:p>
            <a:r>
              <a:rPr lang="en-US" sz="2000" dirty="0">
                <a:solidFill>
                  <a:srgbClr val="002E51"/>
                </a:solidFill>
              </a:rPr>
              <a:t>Hemoglobin</a:t>
            </a:r>
          </a:p>
          <a:p>
            <a:r>
              <a:rPr lang="en-US" sz="2000" dirty="0">
                <a:solidFill>
                  <a:srgbClr val="002E51"/>
                </a:solidFill>
              </a:rPr>
              <a:t>Platelets</a:t>
            </a:r>
          </a:p>
          <a:p>
            <a:r>
              <a:rPr lang="en-US" sz="2000" dirty="0">
                <a:solidFill>
                  <a:srgbClr val="002E51"/>
                </a:solidFill>
              </a:rPr>
              <a:t>(ANC)</a:t>
            </a:r>
          </a:p>
          <a:p>
            <a:r>
              <a:rPr lang="en-US" sz="2000" dirty="0">
                <a:solidFill>
                  <a:srgbClr val="002E51"/>
                </a:solidFill>
              </a:rPr>
              <a:t>Molecular</a:t>
            </a:r>
          </a:p>
          <a:p>
            <a:pPr marL="0" indent="0">
              <a:buNone/>
            </a:pPr>
            <a:r>
              <a:rPr lang="en-US" sz="2000" b="1" dirty="0">
                <a:solidFill>
                  <a:srgbClr val="86A2A5"/>
                </a:solidFill>
              </a:rPr>
              <a:t>Score -0.96 = low risk</a:t>
            </a:r>
          </a:p>
          <a:p>
            <a:pPr marL="0" indent="0">
              <a:buNone/>
            </a:pPr>
            <a:r>
              <a:rPr lang="en-US" sz="2000" b="1" dirty="0" err="1">
                <a:solidFill>
                  <a:srgbClr val="86A2A5"/>
                </a:solidFill>
              </a:rPr>
              <a:t>mOS</a:t>
            </a:r>
            <a:r>
              <a:rPr lang="en-US" sz="2000" b="1" dirty="0">
                <a:solidFill>
                  <a:srgbClr val="86A2A5"/>
                </a:solidFill>
              </a:rPr>
              <a:t> 6 years</a:t>
            </a:r>
          </a:p>
        </p:txBody>
      </p:sp>
    </p:spTree>
    <p:extLst>
      <p:ext uri="{BB962C8B-B14F-4D97-AF65-F5344CB8AC3E}">
        <p14:creationId xmlns:p14="http://schemas.microsoft.com/office/powerpoint/2010/main" val="74275752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22CA8E-5260-4F40-5ACB-FA00D45B29F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03FDD58-BD01-3E51-1FDD-0B12148AD7A4}"/>
              </a:ext>
            </a:extLst>
          </p:cNvPr>
          <p:cNvSpPr txBox="1">
            <a:spLocks/>
          </p:cNvSpPr>
          <p:nvPr/>
        </p:nvSpPr>
        <p:spPr>
          <a:xfrm>
            <a:off x="0" y="127465"/>
            <a:ext cx="9144000" cy="807256"/>
          </a:xfrm>
          <a:prstGeom prst="rect">
            <a:avLst/>
          </a:prstGeom>
        </p:spPr>
        <p:txBody>
          <a:bodyPr/>
          <a:lstStyle>
            <a:lvl1pPr algn="ctr" rtl="0" eaLnBrk="1" fontAlgn="base" hangingPunct="1">
              <a:spcBef>
                <a:spcPct val="0"/>
              </a:spcBef>
              <a:spcAft>
                <a:spcPct val="0"/>
              </a:spcAft>
              <a:defRPr sz="3600" i="0">
                <a:solidFill>
                  <a:schemeClr val="bg1"/>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r>
              <a:rPr lang="en-US" sz="3200" b="1" kern="0" dirty="0">
                <a:solidFill>
                  <a:srgbClr val="002E51"/>
                </a:solidFill>
              </a:rPr>
              <a:t>Treating anemia in low risk MDS</a:t>
            </a:r>
            <a:endParaRPr lang="en-US" sz="3200" b="1" kern="0" dirty="0"/>
          </a:p>
        </p:txBody>
      </p:sp>
      <p:sp>
        <p:nvSpPr>
          <p:cNvPr id="2" name="Content Placeholder 6">
            <a:extLst>
              <a:ext uri="{FF2B5EF4-FFF2-40B4-BE49-F238E27FC236}">
                <a16:creationId xmlns:a16="http://schemas.microsoft.com/office/drawing/2014/main" id="{5EDAA7DF-840B-E720-10F3-072CAB5A2185}"/>
              </a:ext>
            </a:extLst>
          </p:cNvPr>
          <p:cNvSpPr>
            <a:spLocks noGrp="1"/>
          </p:cNvSpPr>
          <p:nvPr>
            <p:ph sz="half" idx="1"/>
          </p:nvPr>
        </p:nvSpPr>
        <p:spPr>
          <a:xfrm>
            <a:off x="685800" y="957580"/>
            <a:ext cx="7246620" cy="1477010"/>
          </a:xfrm>
        </p:spPr>
        <p:txBody>
          <a:bodyPr/>
          <a:lstStyle/>
          <a:p>
            <a:pPr marL="0" indent="0">
              <a:buNone/>
            </a:pPr>
            <a:r>
              <a:rPr lang="en-US" sz="2200" dirty="0">
                <a:solidFill>
                  <a:srgbClr val="002E51"/>
                </a:solidFill>
              </a:rPr>
              <a:t>Indications for treatment:</a:t>
            </a:r>
          </a:p>
          <a:p>
            <a:pPr marL="0" indent="0">
              <a:buNone/>
            </a:pPr>
            <a:r>
              <a:rPr lang="en-US" sz="2200" dirty="0">
                <a:solidFill>
                  <a:srgbClr val="002E51"/>
                </a:solidFill>
              </a:rPr>
              <a:t>Hgb &lt;10 g/dL, symptomatic +/- transfusion dependent</a:t>
            </a:r>
          </a:p>
        </p:txBody>
      </p:sp>
      <p:sp>
        <p:nvSpPr>
          <p:cNvPr id="7" name="Content Placeholder 6">
            <a:extLst>
              <a:ext uri="{FF2B5EF4-FFF2-40B4-BE49-F238E27FC236}">
                <a16:creationId xmlns:a16="http://schemas.microsoft.com/office/drawing/2014/main" id="{49D4433D-F9A3-D10F-910F-D6C605B61E29}"/>
              </a:ext>
            </a:extLst>
          </p:cNvPr>
          <p:cNvSpPr txBox="1">
            <a:spLocks/>
          </p:cNvSpPr>
          <p:nvPr/>
        </p:nvSpPr>
        <p:spPr bwMode="auto">
          <a:xfrm>
            <a:off x="1577340" y="2134552"/>
            <a:ext cx="2343150" cy="1477010"/>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buFontTx/>
              <a:buNone/>
            </a:pPr>
            <a:r>
              <a:rPr lang="en-US" sz="2200" b="1" u="sng" kern="0" dirty="0">
                <a:solidFill>
                  <a:srgbClr val="002E51"/>
                </a:solidFill>
              </a:rPr>
              <a:t>1L</a:t>
            </a:r>
          </a:p>
          <a:p>
            <a:pPr marL="0" indent="0">
              <a:buFontTx/>
              <a:buNone/>
            </a:pPr>
            <a:r>
              <a:rPr lang="en-US" sz="2200" kern="0" dirty="0">
                <a:solidFill>
                  <a:srgbClr val="002E51"/>
                </a:solidFill>
              </a:rPr>
              <a:t>ESA</a:t>
            </a:r>
          </a:p>
          <a:p>
            <a:pPr marL="0" indent="0">
              <a:buFontTx/>
              <a:buNone/>
            </a:pPr>
            <a:r>
              <a:rPr lang="en-US" sz="2200" kern="0" dirty="0">
                <a:solidFill>
                  <a:srgbClr val="002E51"/>
                </a:solidFill>
              </a:rPr>
              <a:t>or</a:t>
            </a:r>
          </a:p>
          <a:p>
            <a:pPr marL="0" indent="0">
              <a:buFontTx/>
              <a:buNone/>
            </a:pPr>
            <a:r>
              <a:rPr lang="en-US" sz="2200" kern="0" dirty="0">
                <a:solidFill>
                  <a:srgbClr val="002E51"/>
                </a:solidFill>
              </a:rPr>
              <a:t>Luspatercept</a:t>
            </a:r>
          </a:p>
        </p:txBody>
      </p:sp>
      <p:sp>
        <p:nvSpPr>
          <p:cNvPr id="8" name="Content Placeholder 6">
            <a:extLst>
              <a:ext uri="{FF2B5EF4-FFF2-40B4-BE49-F238E27FC236}">
                <a16:creationId xmlns:a16="http://schemas.microsoft.com/office/drawing/2014/main" id="{4FF6F727-4586-64B1-C902-97145888033B}"/>
              </a:ext>
            </a:extLst>
          </p:cNvPr>
          <p:cNvSpPr txBox="1">
            <a:spLocks/>
          </p:cNvSpPr>
          <p:nvPr/>
        </p:nvSpPr>
        <p:spPr bwMode="auto">
          <a:xfrm>
            <a:off x="5634990" y="2134552"/>
            <a:ext cx="3409950" cy="1477010"/>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buFontTx/>
              <a:buNone/>
            </a:pPr>
            <a:r>
              <a:rPr lang="en-US" sz="2200" b="1" u="sng" kern="0" dirty="0">
                <a:solidFill>
                  <a:srgbClr val="002E51"/>
                </a:solidFill>
              </a:rPr>
              <a:t>2L</a:t>
            </a:r>
          </a:p>
          <a:p>
            <a:pPr marL="0" indent="0">
              <a:buFontTx/>
              <a:buNone/>
            </a:pPr>
            <a:r>
              <a:rPr lang="en-US" sz="2200" kern="0" dirty="0">
                <a:solidFill>
                  <a:srgbClr val="002E51"/>
                </a:solidFill>
              </a:rPr>
              <a:t>Lenalidomide</a:t>
            </a:r>
          </a:p>
          <a:p>
            <a:pPr marL="0" indent="0">
              <a:buFontTx/>
              <a:buNone/>
            </a:pPr>
            <a:r>
              <a:rPr lang="en-US" sz="2200" kern="0" dirty="0">
                <a:solidFill>
                  <a:srgbClr val="002E51"/>
                </a:solidFill>
              </a:rPr>
              <a:t>or </a:t>
            </a:r>
          </a:p>
          <a:p>
            <a:pPr marL="0" indent="0">
              <a:buFontTx/>
              <a:buNone/>
            </a:pPr>
            <a:r>
              <a:rPr lang="en-US" sz="2200" kern="0" dirty="0">
                <a:solidFill>
                  <a:srgbClr val="002E51"/>
                </a:solidFill>
              </a:rPr>
              <a:t>Clinical trial</a:t>
            </a:r>
          </a:p>
        </p:txBody>
      </p:sp>
      <p:cxnSp>
        <p:nvCxnSpPr>
          <p:cNvPr id="10" name="Straight Arrow Connector 9">
            <a:extLst>
              <a:ext uri="{FF2B5EF4-FFF2-40B4-BE49-F238E27FC236}">
                <a16:creationId xmlns:a16="http://schemas.microsoft.com/office/drawing/2014/main" id="{CD21849A-03EE-F341-13BC-6B81953AD6C4}"/>
              </a:ext>
            </a:extLst>
          </p:cNvPr>
          <p:cNvCxnSpPr/>
          <p:nvPr/>
        </p:nvCxnSpPr>
        <p:spPr bwMode="auto">
          <a:xfrm>
            <a:off x="3520440" y="2583180"/>
            <a:ext cx="1783080" cy="0"/>
          </a:xfrm>
          <a:prstGeom prst="straightConnector1">
            <a:avLst/>
          </a:prstGeom>
          <a:solidFill>
            <a:schemeClr val="accent1"/>
          </a:solidFill>
          <a:ln w="28575" cap="flat" cmpd="sng" algn="ctr">
            <a:solidFill>
              <a:srgbClr val="0070C0"/>
            </a:solidFill>
            <a:prstDash val="solid"/>
            <a:round/>
            <a:headEnd type="none" w="med" len="med"/>
            <a:tailEnd type="triangle"/>
          </a:ln>
          <a:effectLst/>
        </p:spPr>
      </p:cxnSp>
      <p:sp>
        <p:nvSpPr>
          <p:cNvPr id="11" name="Content Placeholder 6">
            <a:extLst>
              <a:ext uri="{FF2B5EF4-FFF2-40B4-BE49-F238E27FC236}">
                <a16:creationId xmlns:a16="http://schemas.microsoft.com/office/drawing/2014/main" id="{815741A4-7341-FBE1-EC8F-FDBAF505B3F4}"/>
              </a:ext>
            </a:extLst>
          </p:cNvPr>
          <p:cNvSpPr txBox="1">
            <a:spLocks/>
          </p:cNvSpPr>
          <p:nvPr/>
        </p:nvSpPr>
        <p:spPr bwMode="auto">
          <a:xfrm>
            <a:off x="3478530" y="2618422"/>
            <a:ext cx="2343150" cy="1477010"/>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buFontTx/>
              <a:buNone/>
            </a:pPr>
            <a:r>
              <a:rPr lang="en-US" sz="1800" kern="0" dirty="0">
                <a:solidFill>
                  <a:srgbClr val="0070C0"/>
                </a:solidFill>
              </a:rPr>
              <a:t>No response</a:t>
            </a:r>
          </a:p>
          <a:p>
            <a:pPr marL="0" indent="0">
              <a:buFontTx/>
              <a:buNone/>
            </a:pPr>
            <a:r>
              <a:rPr lang="en-US" sz="1800" kern="0" dirty="0">
                <a:solidFill>
                  <a:srgbClr val="0070C0"/>
                </a:solidFill>
              </a:rPr>
              <a:t>Loss of response</a:t>
            </a:r>
          </a:p>
          <a:p>
            <a:pPr marL="0" indent="0">
              <a:buFontTx/>
              <a:buNone/>
            </a:pPr>
            <a:r>
              <a:rPr lang="en-US" sz="1800" kern="0" dirty="0">
                <a:solidFill>
                  <a:srgbClr val="0070C0"/>
                </a:solidFill>
              </a:rPr>
              <a:t>del(5q)</a:t>
            </a:r>
          </a:p>
        </p:txBody>
      </p:sp>
      <p:sp>
        <p:nvSpPr>
          <p:cNvPr id="12" name="Content Placeholder 6">
            <a:extLst>
              <a:ext uri="{FF2B5EF4-FFF2-40B4-BE49-F238E27FC236}">
                <a16:creationId xmlns:a16="http://schemas.microsoft.com/office/drawing/2014/main" id="{15AEC943-D8AC-E198-AE94-C7FD80F9EF02}"/>
              </a:ext>
            </a:extLst>
          </p:cNvPr>
          <p:cNvSpPr txBox="1">
            <a:spLocks/>
          </p:cNvSpPr>
          <p:nvPr/>
        </p:nvSpPr>
        <p:spPr bwMode="auto">
          <a:xfrm>
            <a:off x="5090160" y="625158"/>
            <a:ext cx="2190750" cy="524510"/>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buFontTx/>
              <a:buNone/>
            </a:pPr>
            <a:r>
              <a:rPr lang="en-US" sz="1800" kern="0" dirty="0">
                <a:solidFill>
                  <a:srgbClr val="002E51"/>
                </a:solidFill>
              </a:rPr>
              <a:t>IPSS-R ≤ 3.5</a:t>
            </a:r>
          </a:p>
        </p:txBody>
      </p:sp>
    </p:spTree>
    <p:extLst>
      <p:ext uri="{BB962C8B-B14F-4D97-AF65-F5344CB8AC3E}">
        <p14:creationId xmlns:p14="http://schemas.microsoft.com/office/powerpoint/2010/main" val="35318982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362"/>
        <p:cNvGrpSpPr/>
        <p:nvPr/>
      </p:nvGrpSpPr>
      <p:grpSpPr>
        <a:xfrm>
          <a:off x="0" y="0"/>
          <a:ext cx="0" cy="0"/>
          <a:chOff x="0" y="0"/>
          <a:chExt cx="0" cy="0"/>
        </a:xfrm>
      </p:grpSpPr>
      <p:pic>
        <p:nvPicPr>
          <p:cNvPr id="363" name="Google Shape;363;p7"/>
          <p:cNvPicPr preferRelativeResize="0"/>
          <p:nvPr/>
        </p:nvPicPr>
        <p:blipFill rotWithShape="1">
          <a:blip r:embed="rId3">
            <a:alphaModFix/>
          </a:blip>
          <a:srcRect/>
          <a:stretch/>
        </p:blipFill>
        <p:spPr>
          <a:xfrm>
            <a:off x="-86549" y="0"/>
            <a:ext cx="9230549" cy="4415464"/>
          </a:xfrm>
          <a:prstGeom prst="rect">
            <a:avLst/>
          </a:prstGeom>
          <a:noFill/>
          <a:ln>
            <a:noFill/>
          </a:ln>
        </p:spPr>
      </p:pic>
      <p:sp>
        <p:nvSpPr>
          <p:cNvPr id="364" name="Google Shape;364;p7" descr="Send a Snappy and let them pick the perfect gift."/>
          <p:cNvSpPr/>
          <p:nvPr/>
        </p:nvSpPr>
        <p:spPr>
          <a:xfrm>
            <a:off x="4419600" y="2420938"/>
            <a:ext cx="304800" cy="3048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365" name="Google Shape;365;p7" descr="Send a Snappy and let them pick the perfect gift."/>
          <p:cNvSpPr/>
          <p:nvPr/>
        </p:nvSpPr>
        <p:spPr>
          <a:xfrm>
            <a:off x="4572000" y="2573338"/>
            <a:ext cx="304800" cy="3048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400" b="0" i="0" u="none" strike="noStrike" kern="0" cap="none" spc="0" normalizeH="0" baseline="0" noProof="0">
              <a:ln>
                <a:noFill/>
              </a:ln>
              <a:solidFill>
                <a:srgbClr val="000000"/>
              </a:solidFill>
              <a:effectLst/>
              <a:uLnTx/>
              <a:uFillTx/>
              <a:latin typeface="Arial"/>
              <a:ea typeface="Arial"/>
              <a:cs typeface="Arial"/>
              <a:sym typeface="Arial"/>
            </a:endParaRPr>
          </a:p>
        </p:txBody>
      </p:sp>
      <p:pic>
        <p:nvPicPr>
          <p:cNvPr id="366" name="Google Shape;366;p7"/>
          <p:cNvPicPr preferRelativeResize="0"/>
          <p:nvPr/>
        </p:nvPicPr>
        <p:blipFill>
          <a:blip r:embed="rId4">
            <a:alphaModFix/>
          </a:blip>
          <a:stretch>
            <a:fillRect/>
          </a:stretch>
        </p:blipFill>
        <p:spPr>
          <a:xfrm>
            <a:off x="2758925" y="238525"/>
            <a:ext cx="3464176" cy="2077725"/>
          </a:xfrm>
          <a:prstGeom prst="rect">
            <a:avLst/>
          </a:prstGeom>
          <a:noFill/>
          <a:ln>
            <a:noFill/>
          </a:ln>
        </p:spPr>
      </p:pic>
      <p:pic>
        <p:nvPicPr>
          <p:cNvPr id="367" name="Google Shape;367;p7"/>
          <p:cNvPicPr preferRelativeResize="0"/>
          <p:nvPr/>
        </p:nvPicPr>
        <p:blipFill>
          <a:blip r:embed="rId5">
            <a:alphaModFix/>
          </a:blip>
          <a:stretch>
            <a:fillRect/>
          </a:stretch>
        </p:blipFill>
        <p:spPr>
          <a:xfrm>
            <a:off x="2758925" y="2316253"/>
            <a:ext cx="3464175" cy="1989073"/>
          </a:xfrm>
          <a:prstGeom prst="rect">
            <a:avLst/>
          </a:prstGeom>
          <a:noFill/>
          <a:ln>
            <a:noFill/>
          </a:ln>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3AC711-9347-BFDE-43FB-833E330314CF}"/>
            </a:ext>
          </a:extLst>
        </p:cNvPr>
        <p:cNvGrpSpPr/>
        <p:nvPr/>
      </p:nvGrpSpPr>
      <p:grpSpPr>
        <a:xfrm>
          <a:off x="0" y="0"/>
          <a:ext cx="0" cy="0"/>
          <a:chOff x="0" y="0"/>
          <a:chExt cx="0" cy="0"/>
        </a:xfrm>
      </p:grpSpPr>
      <p:sp>
        <p:nvSpPr>
          <p:cNvPr id="2" name="Subtitle 1">
            <a:extLst>
              <a:ext uri="{FF2B5EF4-FFF2-40B4-BE49-F238E27FC236}">
                <a16:creationId xmlns:a16="http://schemas.microsoft.com/office/drawing/2014/main" id="{118C4367-D8D1-F3D4-E428-45FFA28406A4}"/>
              </a:ext>
            </a:extLst>
          </p:cNvPr>
          <p:cNvSpPr>
            <a:spLocks noGrp="1"/>
          </p:cNvSpPr>
          <p:nvPr>
            <p:ph type="subTitle" idx="1"/>
          </p:nvPr>
        </p:nvSpPr>
        <p:spPr>
          <a:xfrm>
            <a:off x="288235" y="648720"/>
            <a:ext cx="7484165" cy="3857164"/>
          </a:xfrm>
        </p:spPr>
        <p:txBody>
          <a:bodyPr/>
          <a:lstStyle/>
          <a:p>
            <a:pPr marL="180975" indent="-180975" algn="l"/>
            <a:r>
              <a:rPr lang="en-US" sz="2200" b="1" dirty="0">
                <a:solidFill>
                  <a:srgbClr val="002E51"/>
                </a:solidFill>
              </a:rPr>
              <a:t>Low risk MDS-SF3B1 / MDS-LB with RS</a:t>
            </a:r>
          </a:p>
          <a:p>
            <a:pPr marL="180975" indent="-180975" algn="l"/>
            <a:endParaRPr lang="en-US" sz="1200" b="1" dirty="0">
              <a:solidFill>
                <a:srgbClr val="002E51"/>
              </a:solidFill>
            </a:endParaRPr>
          </a:p>
          <a:p>
            <a:pPr marL="180975" indent="-180975" algn="l"/>
            <a:r>
              <a:rPr lang="en-US" sz="2200" b="1" dirty="0">
                <a:solidFill>
                  <a:srgbClr val="002E51"/>
                </a:solidFill>
              </a:rPr>
              <a:t>May 2023</a:t>
            </a:r>
          </a:p>
          <a:p>
            <a:pPr marL="180975" indent="-180975" algn="l">
              <a:buFont typeface="Arial" panose="020B0604020202020204" pitchFamily="34" charset="0"/>
              <a:buChar char="•"/>
            </a:pPr>
            <a:r>
              <a:rPr lang="en-US" sz="2200" dirty="0">
                <a:solidFill>
                  <a:srgbClr val="002E51"/>
                </a:solidFill>
                <a:effectLst/>
              </a:rPr>
              <a:t>Epoetin alfa 250 units/kg weekly</a:t>
            </a:r>
          </a:p>
          <a:p>
            <a:pPr marL="180975" indent="-180975" algn="l">
              <a:buFont typeface="Arial" panose="020B0604020202020204" pitchFamily="34" charset="0"/>
              <a:buChar char="•"/>
            </a:pPr>
            <a:endParaRPr lang="en-US" sz="1200" dirty="0">
              <a:solidFill>
                <a:srgbClr val="002E51"/>
              </a:solidFill>
            </a:endParaRPr>
          </a:p>
        </p:txBody>
      </p:sp>
      <p:sp>
        <p:nvSpPr>
          <p:cNvPr id="10" name="Title 3">
            <a:extLst>
              <a:ext uri="{FF2B5EF4-FFF2-40B4-BE49-F238E27FC236}">
                <a16:creationId xmlns:a16="http://schemas.microsoft.com/office/drawing/2014/main" id="{A17EB9CA-F1DF-8E48-9B16-1E46FED4A5AD}"/>
              </a:ext>
            </a:extLst>
          </p:cNvPr>
          <p:cNvSpPr>
            <a:spLocks noGrp="1"/>
          </p:cNvSpPr>
          <p:nvPr>
            <p:ph type="title"/>
          </p:nvPr>
        </p:nvSpPr>
        <p:spPr>
          <a:xfrm>
            <a:off x="0" y="127465"/>
            <a:ext cx="9144000" cy="807256"/>
          </a:xfrm>
        </p:spPr>
        <p:txBody>
          <a:bodyPr/>
          <a:lstStyle/>
          <a:p>
            <a:r>
              <a:rPr lang="en-US" sz="3200" b="1" dirty="0"/>
              <a:t>Back to our case…</a:t>
            </a:r>
          </a:p>
        </p:txBody>
      </p:sp>
      <p:grpSp>
        <p:nvGrpSpPr>
          <p:cNvPr id="23" name="Group 22">
            <a:extLst>
              <a:ext uri="{FF2B5EF4-FFF2-40B4-BE49-F238E27FC236}">
                <a16:creationId xmlns:a16="http://schemas.microsoft.com/office/drawing/2014/main" id="{56B2B29B-56D4-6DEA-36E5-D5E6CD911DB8}"/>
              </a:ext>
            </a:extLst>
          </p:cNvPr>
          <p:cNvGrpSpPr/>
          <p:nvPr/>
        </p:nvGrpSpPr>
        <p:grpSpPr>
          <a:xfrm>
            <a:off x="288235" y="645549"/>
            <a:ext cx="6664783" cy="3857164"/>
            <a:chOff x="288235" y="645549"/>
            <a:chExt cx="6664783" cy="3857164"/>
          </a:xfrm>
        </p:grpSpPr>
        <p:grpSp>
          <p:nvGrpSpPr>
            <p:cNvPr id="19" name="Group 18">
              <a:extLst>
                <a:ext uri="{FF2B5EF4-FFF2-40B4-BE49-F238E27FC236}">
                  <a16:creationId xmlns:a16="http://schemas.microsoft.com/office/drawing/2014/main" id="{02FDE7D2-516A-8F18-D93F-4C39B80E8207}"/>
                </a:ext>
              </a:extLst>
            </p:cNvPr>
            <p:cNvGrpSpPr/>
            <p:nvPr/>
          </p:nvGrpSpPr>
          <p:grpSpPr>
            <a:xfrm>
              <a:off x="4571565" y="1997761"/>
              <a:ext cx="2381453" cy="2336513"/>
              <a:chOff x="4571565" y="1898371"/>
              <a:chExt cx="2381453" cy="2336513"/>
            </a:xfrm>
          </p:grpSpPr>
          <p:grpSp>
            <p:nvGrpSpPr>
              <p:cNvPr id="15" name="Group 14">
                <a:extLst>
                  <a:ext uri="{FF2B5EF4-FFF2-40B4-BE49-F238E27FC236}">
                    <a16:creationId xmlns:a16="http://schemas.microsoft.com/office/drawing/2014/main" id="{CB62797E-3CC1-A171-5065-E9AE5DF55B67}"/>
                  </a:ext>
                </a:extLst>
              </p:cNvPr>
              <p:cNvGrpSpPr/>
              <p:nvPr/>
            </p:nvGrpSpPr>
            <p:grpSpPr>
              <a:xfrm>
                <a:off x="4571565" y="1898371"/>
                <a:ext cx="2381453" cy="2336513"/>
                <a:chOff x="5105575" y="1616887"/>
                <a:chExt cx="1506144" cy="2524416"/>
              </a:xfrm>
            </p:grpSpPr>
            <p:pic>
              <p:nvPicPr>
                <p:cNvPr id="4" name="Picture 3" descr="A graph with blue lines and dots&#10;&#10;Description automatically generated">
                  <a:extLst>
                    <a:ext uri="{FF2B5EF4-FFF2-40B4-BE49-F238E27FC236}">
                      <a16:creationId xmlns:a16="http://schemas.microsoft.com/office/drawing/2014/main" id="{87985E52-E8F6-F769-0014-19A8F44DE30E}"/>
                    </a:ext>
                  </a:extLst>
                </p:cNvPr>
                <p:cNvPicPr>
                  <a:picLocks noChangeAspect="1"/>
                </p:cNvPicPr>
                <p:nvPr/>
              </p:nvPicPr>
              <p:blipFill rotWithShape="1">
                <a:blip r:embed="rId3"/>
                <a:srcRect l="3141" t="42968" r="71720" b="2778"/>
                <a:stretch/>
              </p:blipFill>
              <p:spPr>
                <a:xfrm>
                  <a:off x="5228573" y="1898373"/>
                  <a:ext cx="1351716" cy="2225097"/>
                </a:xfrm>
                <a:prstGeom prst="rect">
                  <a:avLst/>
                </a:prstGeom>
              </p:spPr>
            </p:pic>
            <p:sp>
              <p:nvSpPr>
                <p:cNvPr id="11" name="Subtitle 1">
                  <a:extLst>
                    <a:ext uri="{FF2B5EF4-FFF2-40B4-BE49-F238E27FC236}">
                      <a16:creationId xmlns:a16="http://schemas.microsoft.com/office/drawing/2014/main" id="{60267F23-2A2E-0F88-BA79-F54DEBCB451D}"/>
                    </a:ext>
                  </a:extLst>
                </p:cNvPr>
                <p:cNvSpPr txBox="1">
                  <a:spLocks/>
                </p:cNvSpPr>
                <p:nvPr/>
              </p:nvSpPr>
              <p:spPr bwMode="auto">
                <a:xfrm rot="16200000">
                  <a:off x="4055750" y="2666712"/>
                  <a:ext cx="2388460" cy="288810"/>
                </a:xfrm>
                <a:prstGeom prst="rect">
                  <a:avLst/>
                </a:prstGeom>
                <a:solidFill>
                  <a:schemeClr val="bg1"/>
                </a:solid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eaLnBrk="1" fontAlgn="base" hangingPunct="1">
                    <a:spcBef>
                      <a:spcPct val="20000"/>
                    </a:spcBef>
                    <a:spcAft>
                      <a:spcPct val="0"/>
                    </a:spcAft>
                    <a:buNone/>
                    <a:defRPr sz="2400">
                      <a:solidFill>
                        <a:schemeClr val="tx1"/>
                      </a:solidFill>
                      <a:latin typeface="+mn-lt"/>
                      <a:ea typeface="+mn-ea"/>
                      <a:cs typeface="+mn-cs"/>
                    </a:defRPr>
                  </a:lvl1pPr>
                  <a:lvl2pPr marL="457200" indent="0" algn="ctr" rtl="0" eaLnBrk="1" fontAlgn="base" hangingPunct="1">
                    <a:spcBef>
                      <a:spcPct val="20000"/>
                    </a:spcBef>
                    <a:spcAft>
                      <a:spcPct val="0"/>
                    </a:spcAft>
                    <a:buNone/>
                    <a:defRPr sz="2000">
                      <a:solidFill>
                        <a:schemeClr val="tx1"/>
                      </a:solidFill>
                      <a:latin typeface="+mn-lt"/>
                      <a:ea typeface="+mn-ea"/>
                    </a:defRPr>
                  </a:lvl2pPr>
                  <a:lvl3pPr marL="914400" indent="0" algn="ctr" rtl="0" eaLnBrk="1" fontAlgn="base" hangingPunct="1">
                    <a:spcBef>
                      <a:spcPct val="20000"/>
                    </a:spcBef>
                    <a:spcAft>
                      <a:spcPct val="0"/>
                    </a:spcAft>
                    <a:buNone/>
                    <a:defRPr>
                      <a:solidFill>
                        <a:schemeClr val="tx1"/>
                      </a:solidFill>
                      <a:latin typeface="+mn-lt"/>
                      <a:ea typeface="+mn-ea"/>
                    </a:defRPr>
                  </a:lvl3pPr>
                  <a:lvl4pPr marL="1371600" indent="0" algn="ctr" rtl="0" eaLnBrk="1" fontAlgn="base" hangingPunct="1">
                    <a:spcBef>
                      <a:spcPct val="20000"/>
                    </a:spcBef>
                    <a:spcAft>
                      <a:spcPct val="0"/>
                    </a:spcAft>
                    <a:buNone/>
                    <a:defRPr sz="2000">
                      <a:solidFill>
                        <a:schemeClr val="tx1"/>
                      </a:solidFill>
                      <a:latin typeface="+mn-lt"/>
                      <a:ea typeface="+mn-ea"/>
                    </a:defRPr>
                  </a:lvl4pPr>
                  <a:lvl5pPr marL="1828800" indent="0" algn="ctr" rtl="0" eaLnBrk="1" fontAlgn="base" hangingPunct="1">
                    <a:spcBef>
                      <a:spcPct val="20000"/>
                    </a:spcBef>
                    <a:spcAft>
                      <a:spcPct val="0"/>
                    </a:spcAft>
                    <a:buNone/>
                    <a:defRPr sz="2000">
                      <a:solidFill>
                        <a:schemeClr val="tx1"/>
                      </a:solidFill>
                      <a:latin typeface="+mn-lt"/>
                      <a:ea typeface="+mn-ea"/>
                    </a:defRPr>
                  </a:lvl5pPr>
                  <a:lvl6pPr marL="2286000" indent="0" algn="ctr" rtl="0" eaLnBrk="1" fontAlgn="base" hangingPunct="1">
                    <a:spcBef>
                      <a:spcPct val="20000"/>
                    </a:spcBef>
                    <a:spcAft>
                      <a:spcPct val="0"/>
                    </a:spcAft>
                    <a:buNone/>
                    <a:defRPr sz="2000">
                      <a:solidFill>
                        <a:schemeClr val="tx1"/>
                      </a:solidFill>
                      <a:latin typeface="+mn-lt"/>
                      <a:ea typeface="+mn-ea"/>
                    </a:defRPr>
                  </a:lvl6pPr>
                  <a:lvl7pPr marL="2743200" indent="0" algn="ctr" rtl="0" eaLnBrk="1" fontAlgn="base" hangingPunct="1">
                    <a:spcBef>
                      <a:spcPct val="20000"/>
                    </a:spcBef>
                    <a:spcAft>
                      <a:spcPct val="0"/>
                    </a:spcAft>
                    <a:buNone/>
                    <a:defRPr sz="2000">
                      <a:solidFill>
                        <a:schemeClr val="tx1"/>
                      </a:solidFill>
                      <a:latin typeface="+mn-lt"/>
                      <a:ea typeface="+mn-ea"/>
                    </a:defRPr>
                  </a:lvl7pPr>
                  <a:lvl8pPr marL="3200400" indent="0" algn="ctr" rtl="0" eaLnBrk="1" fontAlgn="base" hangingPunct="1">
                    <a:spcBef>
                      <a:spcPct val="20000"/>
                    </a:spcBef>
                    <a:spcAft>
                      <a:spcPct val="0"/>
                    </a:spcAft>
                    <a:buNone/>
                    <a:defRPr sz="2000">
                      <a:solidFill>
                        <a:schemeClr val="tx1"/>
                      </a:solidFill>
                      <a:latin typeface="+mn-lt"/>
                      <a:ea typeface="+mn-ea"/>
                    </a:defRPr>
                  </a:lvl8pPr>
                  <a:lvl9pPr marL="3657600" indent="0" algn="ctr" rtl="0" eaLnBrk="1" fontAlgn="base" hangingPunct="1">
                    <a:spcBef>
                      <a:spcPct val="20000"/>
                    </a:spcBef>
                    <a:spcAft>
                      <a:spcPct val="0"/>
                    </a:spcAft>
                    <a:buNone/>
                    <a:defRPr sz="2000">
                      <a:solidFill>
                        <a:schemeClr val="tx1"/>
                      </a:solidFill>
                      <a:latin typeface="+mn-lt"/>
                      <a:ea typeface="+mn-ea"/>
                    </a:defRPr>
                  </a:lvl9pPr>
                </a:lstStyle>
                <a:p>
                  <a:r>
                    <a:rPr lang="en-US" sz="1000" kern="0" dirty="0" err="1"/>
                    <a:t>hgb</a:t>
                  </a:r>
                  <a:r>
                    <a:rPr lang="en-US" sz="1000" kern="0" dirty="0"/>
                    <a:t> (g/dL)</a:t>
                  </a:r>
                </a:p>
                <a:p>
                  <a:pPr algn="l"/>
                  <a:r>
                    <a:rPr lang="en-US" sz="1000" kern="0" dirty="0"/>
                    <a:t>        8             9            10          11</a:t>
                  </a:r>
                </a:p>
              </p:txBody>
            </p:sp>
            <p:sp>
              <p:nvSpPr>
                <p:cNvPr id="14" name="Subtitle 1">
                  <a:extLst>
                    <a:ext uri="{FF2B5EF4-FFF2-40B4-BE49-F238E27FC236}">
                      <a16:creationId xmlns:a16="http://schemas.microsoft.com/office/drawing/2014/main" id="{1CEA9C91-0495-252C-41B8-0486C2E780CE}"/>
                    </a:ext>
                  </a:extLst>
                </p:cNvPr>
                <p:cNvSpPr txBox="1">
                  <a:spLocks/>
                </p:cNvSpPr>
                <p:nvPr/>
              </p:nvSpPr>
              <p:spPr bwMode="auto">
                <a:xfrm>
                  <a:off x="5260003" y="3921490"/>
                  <a:ext cx="1351716" cy="219813"/>
                </a:xfrm>
                <a:prstGeom prst="rect">
                  <a:avLst/>
                </a:prstGeom>
                <a:solidFill>
                  <a:schemeClr val="bg1"/>
                </a:solid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0" bIns="45720" numCol="1" anchor="t" anchorCtr="0" compatLnSpc="1">
                  <a:prstTxWarp prst="textNoShape">
                    <a:avLst/>
                  </a:prstTxWarp>
                </a:bodyPr>
                <a:lstStyle>
                  <a:lvl1pPr marL="0" indent="0" algn="ctr" rtl="0" eaLnBrk="1" fontAlgn="base" hangingPunct="1">
                    <a:spcBef>
                      <a:spcPct val="20000"/>
                    </a:spcBef>
                    <a:spcAft>
                      <a:spcPct val="0"/>
                    </a:spcAft>
                    <a:buNone/>
                    <a:defRPr sz="2400">
                      <a:solidFill>
                        <a:schemeClr val="tx1"/>
                      </a:solidFill>
                      <a:latin typeface="+mn-lt"/>
                      <a:ea typeface="+mn-ea"/>
                      <a:cs typeface="+mn-cs"/>
                    </a:defRPr>
                  </a:lvl1pPr>
                  <a:lvl2pPr marL="457200" indent="0" algn="ctr" rtl="0" eaLnBrk="1" fontAlgn="base" hangingPunct="1">
                    <a:spcBef>
                      <a:spcPct val="20000"/>
                    </a:spcBef>
                    <a:spcAft>
                      <a:spcPct val="0"/>
                    </a:spcAft>
                    <a:buNone/>
                    <a:defRPr sz="2000">
                      <a:solidFill>
                        <a:schemeClr val="tx1"/>
                      </a:solidFill>
                      <a:latin typeface="+mn-lt"/>
                      <a:ea typeface="+mn-ea"/>
                    </a:defRPr>
                  </a:lvl2pPr>
                  <a:lvl3pPr marL="914400" indent="0" algn="ctr" rtl="0" eaLnBrk="1" fontAlgn="base" hangingPunct="1">
                    <a:spcBef>
                      <a:spcPct val="20000"/>
                    </a:spcBef>
                    <a:spcAft>
                      <a:spcPct val="0"/>
                    </a:spcAft>
                    <a:buNone/>
                    <a:defRPr>
                      <a:solidFill>
                        <a:schemeClr val="tx1"/>
                      </a:solidFill>
                      <a:latin typeface="+mn-lt"/>
                      <a:ea typeface="+mn-ea"/>
                    </a:defRPr>
                  </a:lvl3pPr>
                  <a:lvl4pPr marL="1371600" indent="0" algn="ctr" rtl="0" eaLnBrk="1" fontAlgn="base" hangingPunct="1">
                    <a:spcBef>
                      <a:spcPct val="20000"/>
                    </a:spcBef>
                    <a:spcAft>
                      <a:spcPct val="0"/>
                    </a:spcAft>
                    <a:buNone/>
                    <a:defRPr sz="2000">
                      <a:solidFill>
                        <a:schemeClr val="tx1"/>
                      </a:solidFill>
                      <a:latin typeface="+mn-lt"/>
                      <a:ea typeface="+mn-ea"/>
                    </a:defRPr>
                  </a:lvl4pPr>
                  <a:lvl5pPr marL="1828800" indent="0" algn="ctr" rtl="0" eaLnBrk="1" fontAlgn="base" hangingPunct="1">
                    <a:spcBef>
                      <a:spcPct val="20000"/>
                    </a:spcBef>
                    <a:spcAft>
                      <a:spcPct val="0"/>
                    </a:spcAft>
                    <a:buNone/>
                    <a:defRPr sz="2000">
                      <a:solidFill>
                        <a:schemeClr val="tx1"/>
                      </a:solidFill>
                      <a:latin typeface="+mn-lt"/>
                      <a:ea typeface="+mn-ea"/>
                    </a:defRPr>
                  </a:lvl5pPr>
                  <a:lvl6pPr marL="2286000" indent="0" algn="ctr" rtl="0" eaLnBrk="1" fontAlgn="base" hangingPunct="1">
                    <a:spcBef>
                      <a:spcPct val="20000"/>
                    </a:spcBef>
                    <a:spcAft>
                      <a:spcPct val="0"/>
                    </a:spcAft>
                    <a:buNone/>
                    <a:defRPr sz="2000">
                      <a:solidFill>
                        <a:schemeClr val="tx1"/>
                      </a:solidFill>
                      <a:latin typeface="+mn-lt"/>
                      <a:ea typeface="+mn-ea"/>
                    </a:defRPr>
                  </a:lvl6pPr>
                  <a:lvl7pPr marL="2743200" indent="0" algn="ctr" rtl="0" eaLnBrk="1" fontAlgn="base" hangingPunct="1">
                    <a:spcBef>
                      <a:spcPct val="20000"/>
                    </a:spcBef>
                    <a:spcAft>
                      <a:spcPct val="0"/>
                    </a:spcAft>
                    <a:buNone/>
                    <a:defRPr sz="2000">
                      <a:solidFill>
                        <a:schemeClr val="tx1"/>
                      </a:solidFill>
                      <a:latin typeface="+mn-lt"/>
                      <a:ea typeface="+mn-ea"/>
                    </a:defRPr>
                  </a:lvl7pPr>
                  <a:lvl8pPr marL="3200400" indent="0" algn="ctr" rtl="0" eaLnBrk="1" fontAlgn="base" hangingPunct="1">
                    <a:spcBef>
                      <a:spcPct val="20000"/>
                    </a:spcBef>
                    <a:spcAft>
                      <a:spcPct val="0"/>
                    </a:spcAft>
                    <a:buNone/>
                    <a:defRPr sz="2000">
                      <a:solidFill>
                        <a:schemeClr val="tx1"/>
                      </a:solidFill>
                      <a:latin typeface="+mn-lt"/>
                      <a:ea typeface="+mn-ea"/>
                    </a:defRPr>
                  </a:lvl8pPr>
                  <a:lvl9pPr marL="3657600" indent="0" algn="ctr" rtl="0" eaLnBrk="1" fontAlgn="base" hangingPunct="1">
                    <a:spcBef>
                      <a:spcPct val="20000"/>
                    </a:spcBef>
                    <a:spcAft>
                      <a:spcPct val="0"/>
                    </a:spcAft>
                    <a:buNone/>
                    <a:defRPr sz="2000">
                      <a:solidFill>
                        <a:schemeClr val="tx1"/>
                      </a:solidFill>
                      <a:latin typeface="+mn-lt"/>
                      <a:ea typeface="+mn-ea"/>
                    </a:defRPr>
                  </a:lvl9pPr>
                </a:lstStyle>
                <a:p>
                  <a:pPr algn="l"/>
                  <a:r>
                    <a:rPr lang="en-US" sz="1000" kern="0" dirty="0"/>
                    <a:t> MAY                            JUL</a:t>
                  </a:r>
                </a:p>
              </p:txBody>
            </p:sp>
          </p:grpSp>
          <p:sp>
            <p:nvSpPr>
              <p:cNvPr id="17" name="Triangle 16">
                <a:extLst>
                  <a:ext uri="{FF2B5EF4-FFF2-40B4-BE49-F238E27FC236}">
                    <a16:creationId xmlns:a16="http://schemas.microsoft.com/office/drawing/2014/main" id="{75B0BA0E-896C-1050-4661-BCA0F778A029}"/>
                  </a:ext>
                </a:extLst>
              </p:cNvPr>
              <p:cNvSpPr/>
              <p:nvPr/>
            </p:nvSpPr>
            <p:spPr bwMode="auto">
              <a:xfrm>
                <a:off x="6772122" y="3879122"/>
                <a:ext cx="147145" cy="190171"/>
              </a:xfrm>
              <a:prstGeom prst="triangle">
                <a:avLst/>
              </a:prstGeom>
              <a:solidFill>
                <a:srgbClr val="FF0000"/>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18" name="Triangle 17">
                <a:extLst>
                  <a:ext uri="{FF2B5EF4-FFF2-40B4-BE49-F238E27FC236}">
                    <a16:creationId xmlns:a16="http://schemas.microsoft.com/office/drawing/2014/main" id="{6E2F3210-2D29-46B6-3B3C-C0702A1C773A}"/>
                  </a:ext>
                </a:extLst>
              </p:cNvPr>
              <p:cNvSpPr/>
              <p:nvPr/>
            </p:nvSpPr>
            <p:spPr bwMode="auto">
              <a:xfrm>
                <a:off x="5456414" y="3826779"/>
                <a:ext cx="147145" cy="190171"/>
              </a:xfrm>
              <a:prstGeom prst="triangle">
                <a:avLst/>
              </a:prstGeom>
              <a:solidFill>
                <a:srgbClr val="FF0000"/>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grpSp>
        <p:sp>
          <p:nvSpPr>
            <p:cNvPr id="22" name="Subtitle 1">
              <a:extLst>
                <a:ext uri="{FF2B5EF4-FFF2-40B4-BE49-F238E27FC236}">
                  <a16:creationId xmlns:a16="http://schemas.microsoft.com/office/drawing/2014/main" id="{8275053B-D82D-843C-2819-11CA9A8ACC8D}"/>
                </a:ext>
              </a:extLst>
            </p:cNvPr>
            <p:cNvSpPr txBox="1">
              <a:spLocks/>
            </p:cNvSpPr>
            <p:nvPr/>
          </p:nvSpPr>
          <p:spPr bwMode="auto">
            <a:xfrm>
              <a:off x="288235" y="645549"/>
              <a:ext cx="4428113" cy="3857164"/>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eaLnBrk="1" fontAlgn="base" hangingPunct="1">
                <a:spcBef>
                  <a:spcPct val="20000"/>
                </a:spcBef>
                <a:spcAft>
                  <a:spcPct val="0"/>
                </a:spcAft>
                <a:buNone/>
                <a:defRPr sz="2400">
                  <a:solidFill>
                    <a:schemeClr val="tx1"/>
                  </a:solidFill>
                  <a:latin typeface="+mn-lt"/>
                  <a:ea typeface="+mn-ea"/>
                  <a:cs typeface="+mn-cs"/>
                </a:defRPr>
              </a:lvl1pPr>
              <a:lvl2pPr marL="457200" indent="0" algn="ctr" rtl="0" eaLnBrk="1" fontAlgn="base" hangingPunct="1">
                <a:spcBef>
                  <a:spcPct val="20000"/>
                </a:spcBef>
                <a:spcAft>
                  <a:spcPct val="0"/>
                </a:spcAft>
                <a:buNone/>
                <a:defRPr sz="2000">
                  <a:solidFill>
                    <a:schemeClr val="tx1"/>
                  </a:solidFill>
                  <a:latin typeface="+mn-lt"/>
                  <a:ea typeface="+mn-ea"/>
                </a:defRPr>
              </a:lvl2pPr>
              <a:lvl3pPr marL="914400" indent="0" algn="ctr" rtl="0" eaLnBrk="1" fontAlgn="base" hangingPunct="1">
                <a:spcBef>
                  <a:spcPct val="20000"/>
                </a:spcBef>
                <a:spcAft>
                  <a:spcPct val="0"/>
                </a:spcAft>
                <a:buNone/>
                <a:defRPr>
                  <a:solidFill>
                    <a:schemeClr val="tx1"/>
                  </a:solidFill>
                  <a:latin typeface="+mn-lt"/>
                  <a:ea typeface="+mn-ea"/>
                </a:defRPr>
              </a:lvl3pPr>
              <a:lvl4pPr marL="1371600" indent="0" algn="ctr" rtl="0" eaLnBrk="1" fontAlgn="base" hangingPunct="1">
                <a:spcBef>
                  <a:spcPct val="20000"/>
                </a:spcBef>
                <a:spcAft>
                  <a:spcPct val="0"/>
                </a:spcAft>
                <a:buNone/>
                <a:defRPr sz="2000">
                  <a:solidFill>
                    <a:schemeClr val="tx1"/>
                  </a:solidFill>
                  <a:latin typeface="+mn-lt"/>
                  <a:ea typeface="+mn-ea"/>
                </a:defRPr>
              </a:lvl4pPr>
              <a:lvl5pPr marL="1828800" indent="0" algn="ctr" rtl="0" eaLnBrk="1" fontAlgn="base" hangingPunct="1">
                <a:spcBef>
                  <a:spcPct val="20000"/>
                </a:spcBef>
                <a:spcAft>
                  <a:spcPct val="0"/>
                </a:spcAft>
                <a:buNone/>
                <a:defRPr sz="2000">
                  <a:solidFill>
                    <a:schemeClr val="tx1"/>
                  </a:solidFill>
                  <a:latin typeface="+mn-lt"/>
                  <a:ea typeface="+mn-ea"/>
                </a:defRPr>
              </a:lvl5pPr>
              <a:lvl6pPr marL="2286000" indent="0" algn="ctr" rtl="0" eaLnBrk="1" fontAlgn="base" hangingPunct="1">
                <a:spcBef>
                  <a:spcPct val="20000"/>
                </a:spcBef>
                <a:spcAft>
                  <a:spcPct val="0"/>
                </a:spcAft>
                <a:buNone/>
                <a:defRPr sz="2000">
                  <a:solidFill>
                    <a:schemeClr val="tx1"/>
                  </a:solidFill>
                  <a:latin typeface="+mn-lt"/>
                  <a:ea typeface="+mn-ea"/>
                </a:defRPr>
              </a:lvl6pPr>
              <a:lvl7pPr marL="2743200" indent="0" algn="ctr" rtl="0" eaLnBrk="1" fontAlgn="base" hangingPunct="1">
                <a:spcBef>
                  <a:spcPct val="20000"/>
                </a:spcBef>
                <a:spcAft>
                  <a:spcPct val="0"/>
                </a:spcAft>
                <a:buNone/>
                <a:defRPr sz="2000">
                  <a:solidFill>
                    <a:schemeClr val="tx1"/>
                  </a:solidFill>
                  <a:latin typeface="+mn-lt"/>
                  <a:ea typeface="+mn-ea"/>
                </a:defRPr>
              </a:lvl7pPr>
              <a:lvl8pPr marL="3200400" indent="0" algn="ctr" rtl="0" eaLnBrk="1" fontAlgn="base" hangingPunct="1">
                <a:spcBef>
                  <a:spcPct val="20000"/>
                </a:spcBef>
                <a:spcAft>
                  <a:spcPct val="0"/>
                </a:spcAft>
                <a:buNone/>
                <a:defRPr sz="2000">
                  <a:solidFill>
                    <a:schemeClr val="tx1"/>
                  </a:solidFill>
                  <a:latin typeface="+mn-lt"/>
                  <a:ea typeface="+mn-ea"/>
                </a:defRPr>
              </a:lvl8pPr>
              <a:lvl9pPr marL="3657600" indent="0" algn="ctr" rtl="0" eaLnBrk="1" fontAlgn="base" hangingPunct="1">
                <a:spcBef>
                  <a:spcPct val="20000"/>
                </a:spcBef>
                <a:spcAft>
                  <a:spcPct val="0"/>
                </a:spcAft>
                <a:buNone/>
                <a:defRPr sz="2000">
                  <a:solidFill>
                    <a:schemeClr val="tx1"/>
                  </a:solidFill>
                  <a:latin typeface="+mn-lt"/>
                  <a:ea typeface="+mn-ea"/>
                </a:defRPr>
              </a:lvl9pPr>
            </a:lstStyle>
            <a:p>
              <a:pPr marL="180975" indent="-180975" algn="l">
                <a:buFont typeface="Arial" panose="020B0604020202020204" pitchFamily="34" charset="0"/>
                <a:buChar char="•"/>
              </a:pPr>
              <a:endParaRPr lang="en-US" sz="1200" kern="0" dirty="0">
                <a:solidFill>
                  <a:srgbClr val="002E51"/>
                </a:solidFill>
              </a:endParaRPr>
            </a:p>
            <a:p>
              <a:pPr marL="180975" indent="-180975" algn="l">
                <a:buFont typeface="Arial" panose="020B0604020202020204" pitchFamily="34" charset="0"/>
                <a:buChar char="•"/>
              </a:pPr>
              <a:endParaRPr lang="en-US" sz="1200" kern="0" dirty="0">
                <a:solidFill>
                  <a:srgbClr val="002E51"/>
                </a:solidFill>
              </a:endParaRPr>
            </a:p>
            <a:p>
              <a:pPr marL="180975" indent="-180975" algn="l">
                <a:buFont typeface="Arial" panose="020B0604020202020204" pitchFamily="34" charset="0"/>
                <a:buChar char="•"/>
              </a:pPr>
              <a:endParaRPr lang="en-US" sz="1200" kern="0" dirty="0">
                <a:solidFill>
                  <a:srgbClr val="002E51"/>
                </a:solidFill>
              </a:endParaRPr>
            </a:p>
            <a:p>
              <a:pPr marL="180975" indent="-180975" algn="l">
                <a:buFont typeface="Arial" panose="020B0604020202020204" pitchFamily="34" charset="0"/>
                <a:buChar char="•"/>
              </a:pPr>
              <a:endParaRPr lang="en-US" sz="1200" kern="0" dirty="0">
                <a:solidFill>
                  <a:srgbClr val="002E51"/>
                </a:solidFill>
              </a:endParaRPr>
            </a:p>
            <a:p>
              <a:pPr marL="180975" indent="-180975" algn="l">
                <a:buFont typeface="Arial" panose="020B0604020202020204" pitchFamily="34" charset="0"/>
                <a:buChar char="•"/>
              </a:pPr>
              <a:endParaRPr lang="en-US" sz="1200" kern="0" dirty="0">
                <a:solidFill>
                  <a:srgbClr val="002E51"/>
                </a:solidFill>
              </a:endParaRPr>
            </a:p>
            <a:p>
              <a:pPr marL="180975" indent="-180975" algn="l">
                <a:buFont typeface="Arial" panose="020B0604020202020204" pitchFamily="34" charset="0"/>
                <a:buChar char="•"/>
              </a:pPr>
              <a:endParaRPr lang="en-US" sz="1200" kern="0" dirty="0">
                <a:solidFill>
                  <a:srgbClr val="002E51"/>
                </a:solidFill>
              </a:endParaRPr>
            </a:p>
            <a:p>
              <a:pPr marL="180975" indent="-180975" algn="l">
                <a:buFont typeface="Arial" panose="020B0604020202020204" pitchFamily="34" charset="0"/>
                <a:buChar char="•"/>
              </a:pPr>
              <a:endParaRPr lang="en-US" sz="1200" kern="0" dirty="0">
                <a:solidFill>
                  <a:srgbClr val="002E51"/>
                </a:solidFill>
              </a:endParaRPr>
            </a:p>
            <a:p>
              <a:pPr marL="180975" indent="-180975" algn="l"/>
              <a:r>
                <a:rPr lang="en-US" sz="2200" b="1" kern="0" dirty="0">
                  <a:solidFill>
                    <a:srgbClr val="002E51"/>
                  </a:solidFill>
                </a:rPr>
                <a:t>August 2023</a:t>
              </a:r>
            </a:p>
            <a:p>
              <a:pPr marL="180975" indent="-180975" algn="l">
                <a:buFont typeface="Arial" panose="020B0604020202020204" pitchFamily="34" charset="0"/>
                <a:buChar char="•"/>
              </a:pPr>
              <a:r>
                <a:rPr lang="en-US" sz="2200" kern="0" dirty="0">
                  <a:solidFill>
                    <a:srgbClr val="002E51"/>
                  </a:solidFill>
                </a:rPr>
                <a:t>No improvement in </a:t>
              </a:r>
              <a:r>
                <a:rPr lang="en-US" sz="2200" kern="0" dirty="0" err="1">
                  <a:solidFill>
                    <a:srgbClr val="002E51"/>
                  </a:solidFill>
                </a:rPr>
                <a:t>hgb</a:t>
              </a:r>
              <a:endParaRPr lang="en-US" sz="2200" kern="0" dirty="0">
                <a:solidFill>
                  <a:srgbClr val="002E51"/>
                </a:solidFill>
              </a:endParaRPr>
            </a:p>
            <a:p>
              <a:pPr marL="180975" indent="-180975" algn="l">
                <a:buFont typeface="Arial" panose="020B0604020202020204" pitchFamily="34" charset="0"/>
                <a:buChar char="•"/>
              </a:pPr>
              <a:r>
                <a:rPr lang="en-US" sz="2200" kern="0" dirty="0">
                  <a:solidFill>
                    <a:srgbClr val="002E51"/>
                  </a:solidFill>
                </a:rPr>
                <a:t>Still transfusion dependent</a:t>
              </a:r>
            </a:p>
            <a:p>
              <a:pPr marL="180975" indent="-180975" algn="l">
                <a:buFont typeface="Arial" panose="020B0604020202020204" pitchFamily="34" charset="0"/>
                <a:buChar char="•"/>
              </a:pPr>
              <a:r>
                <a:rPr lang="en-US" sz="2200" kern="0" dirty="0">
                  <a:solidFill>
                    <a:srgbClr val="002E51"/>
                  </a:solidFill>
                </a:rPr>
                <a:t>New HTN</a:t>
              </a:r>
            </a:p>
            <a:p>
              <a:pPr marL="180975" indent="-180975" algn="l">
                <a:buFont typeface="Arial" panose="020B0604020202020204" pitchFamily="34" charset="0"/>
                <a:buChar char="•"/>
              </a:pPr>
              <a:r>
                <a:rPr lang="en-US" sz="2200" kern="0" dirty="0">
                  <a:solidFill>
                    <a:srgbClr val="002E51"/>
                  </a:solidFill>
                </a:rPr>
                <a:t>New lower extremity edema</a:t>
              </a:r>
            </a:p>
            <a:p>
              <a:pPr marL="180975" indent="-180975" algn="l">
                <a:buFont typeface="Arial" panose="020B0604020202020204" pitchFamily="34" charset="0"/>
                <a:buChar char="•"/>
              </a:pPr>
              <a:endParaRPr lang="en-US" sz="1200" kern="0" dirty="0">
                <a:solidFill>
                  <a:srgbClr val="002E51"/>
                </a:solidFill>
              </a:endParaRPr>
            </a:p>
          </p:txBody>
        </p:sp>
      </p:grpSp>
      <p:grpSp>
        <p:nvGrpSpPr>
          <p:cNvPr id="16" name="Group 15">
            <a:extLst>
              <a:ext uri="{FF2B5EF4-FFF2-40B4-BE49-F238E27FC236}">
                <a16:creationId xmlns:a16="http://schemas.microsoft.com/office/drawing/2014/main" id="{C1B16434-8C0A-4276-2031-75EBC522A1D4}"/>
              </a:ext>
            </a:extLst>
          </p:cNvPr>
          <p:cNvGrpSpPr/>
          <p:nvPr/>
        </p:nvGrpSpPr>
        <p:grpSpPr>
          <a:xfrm>
            <a:off x="6721845" y="1275083"/>
            <a:ext cx="1922506" cy="1503539"/>
            <a:chOff x="6740711" y="985123"/>
            <a:chExt cx="1922506" cy="1503539"/>
          </a:xfrm>
        </p:grpSpPr>
        <p:sp>
          <p:nvSpPr>
            <p:cNvPr id="13" name="Right Arrow 12">
              <a:extLst>
                <a:ext uri="{FF2B5EF4-FFF2-40B4-BE49-F238E27FC236}">
                  <a16:creationId xmlns:a16="http://schemas.microsoft.com/office/drawing/2014/main" id="{A82AE35F-4DD8-B381-BFCC-57AFCAB91723}"/>
                </a:ext>
              </a:extLst>
            </p:cNvPr>
            <p:cNvSpPr/>
            <p:nvPr/>
          </p:nvSpPr>
          <p:spPr bwMode="auto">
            <a:xfrm rot="17987798">
              <a:off x="6818419" y="2056048"/>
              <a:ext cx="434340" cy="430887"/>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12" name="TextBox 11">
              <a:extLst>
                <a:ext uri="{FF2B5EF4-FFF2-40B4-BE49-F238E27FC236}">
                  <a16:creationId xmlns:a16="http://schemas.microsoft.com/office/drawing/2014/main" id="{6EF50FB8-29CC-C0A8-5D2B-CCBC12839B16}"/>
                </a:ext>
              </a:extLst>
            </p:cNvPr>
            <p:cNvSpPr txBox="1"/>
            <p:nvPr/>
          </p:nvSpPr>
          <p:spPr>
            <a:xfrm>
              <a:off x="6740711" y="985123"/>
              <a:ext cx="1922506" cy="1107996"/>
            </a:xfrm>
            <a:prstGeom prst="rect">
              <a:avLst/>
            </a:prstGeom>
            <a:noFill/>
          </p:spPr>
          <p:txBody>
            <a:bodyPr wrap="square">
              <a:spAutoFit/>
            </a:bodyPr>
            <a:lstStyle/>
            <a:p>
              <a:pPr algn="l"/>
              <a:r>
                <a:rPr lang="en-US" sz="2200" dirty="0">
                  <a:solidFill>
                    <a:srgbClr val="002E51"/>
                  </a:solidFill>
                  <a:effectLst/>
                </a:rPr>
                <a:t>Luspatercept 1 mg/kg q3 weeks</a:t>
              </a:r>
            </a:p>
          </p:txBody>
        </p:sp>
      </p:grpSp>
    </p:spTree>
    <p:extLst>
      <p:ext uri="{BB962C8B-B14F-4D97-AF65-F5344CB8AC3E}">
        <p14:creationId xmlns:p14="http://schemas.microsoft.com/office/powerpoint/2010/main" val="2509771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FBF825-773B-C86C-1837-79D441A5C98E}"/>
            </a:ext>
          </a:extLst>
        </p:cNvPr>
        <p:cNvGrpSpPr/>
        <p:nvPr/>
      </p:nvGrpSpPr>
      <p:grpSpPr>
        <a:xfrm>
          <a:off x="0" y="0"/>
          <a:ext cx="0" cy="0"/>
          <a:chOff x="0" y="0"/>
          <a:chExt cx="0" cy="0"/>
        </a:xfrm>
      </p:grpSpPr>
      <p:pic>
        <p:nvPicPr>
          <p:cNvPr id="21" name="Picture 20" descr="A graph with blue lines and dots&#10;&#10;Description automatically generated">
            <a:extLst>
              <a:ext uri="{FF2B5EF4-FFF2-40B4-BE49-F238E27FC236}">
                <a16:creationId xmlns:a16="http://schemas.microsoft.com/office/drawing/2014/main" id="{37E26BE7-EABB-C6FC-30D8-D25A266961BE}"/>
              </a:ext>
            </a:extLst>
          </p:cNvPr>
          <p:cNvPicPr>
            <a:picLocks noChangeAspect="1"/>
          </p:cNvPicPr>
          <p:nvPr/>
        </p:nvPicPr>
        <p:blipFill rotWithShape="1">
          <a:blip r:embed="rId3"/>
          <a:srcRect l="3140" t="7668" r="2190" b="2776"/>
          <a:stretch/>
        </p:blipFill>
        <p:spPr>
          <a:xfrm>
            <a:off x="381572" y="621755"/>
            <a:ext cx="5090367" cy="3672882"/>
          </a:xfrm>
          <a:prstGeom prst="rect">
            <a:avLst/>
          </a:prstGeom>
        </p:spPr>
      </p:pic>
      <p:sp>
        <p:nvSpPr>
          <p:cNvPr id="22" name="Subtitle 9">
            <a:extLst>
              <a:ext uri="{FF2B5EF4-FFF2-40B4-BE49-F238E27FC236}">
                <a16:creationId xmlns:a16="http://schemas.microsoft.com/office/drawing/2014/main" id="{C0F41F6D-3EDE-9B0A-4597-741FBF005EBC}"/>
              </a:ext>
            </a:extLst>
          </p:cNvPr>
          <p:cNvSpPr>
            <a:spLocks noGrp="1"/>
          </p:cNvSpPr>
          <p:nvPr>
            <p:ph type="subTitle" idx="1"/>
          </p:nvPr>
        </p:nvSpPr>
        <p:spPr>
          <a:xfrm>
            <a:off x="504229" y="1956891"/>
            <a:ext cx="1106599" cy="719796"/>
          </a:xfrm>
        </p:spPr>
        <p:txBody>
          <a:bodyPr/>
          <a:lstStyle/>
          <a:p>
            <a:r>
              <a:rPr lang="en-US" sz="2000" dirty="0">
                <a:solidFill>
                  <a:srgbClr val="FF0000"/>
                </a:solidFill>
              </a:rPr>
              <a:t>ESA</a:t>
            </a:r>
          </a:p>
        </p:txBody>
      </p:sp>
      <p:sp>
        <p:nvSpPr>
          <p:cNvPr id="23" name="Subtitle 9">
            <a:extLst>
              <a:ext uri="{FF2B5EF4-FFF2-40B4-BE49-F238E27FC236}">
                <a16:creationId xmlns:a16="http://schemas.microsoft.com/office/drawing/2014/main" id="{08231EE8-5AA9-7CEE-BC75-9349290684DB}"/>
              </a:ext>
            </a:extLst>
          </p:cNvPr>
          <p:cNvSpPr txBox="1">
            <a:spLocks/>
          </p:cNvSpPr>
          <p:nvPr/>
        </p:nvSpPr>
        <p:spPr bwMode="auto">
          <a:xfrm>
            <a:off x="2384848" y="390879"/>
            <a:ext cx="1885803" cy="719796"/>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eaLnBrk="1" fontAlgn="base" hangingPunct="1">
              <a:spcBef>
                <a:spcPct val="20000"/>
              </a:spcBef>
              <a:spcAft>
                <a:spcPct val="0"/>
              </a:spcAft>
              <a:buNone/>
              <a:defRPr sz="2400">
                <a:solidFill>
                  <a:schemeClr val="tx1"/>
                </a:solidFill>
                <a:latin typeface="+mn-lt"/>
                <a:ea typeface="+mn-ea"/>
                <a:cs typeface="+mn-cs"/>
              </a:defRPr>
            </a:lvl1pPr>
            <a:lvl2pPr marL="457200" indent="0" algn="ctr" rtl="0" eaLnBrk="1" fontAlgn="base" hangingPunct="1">
              <a:spcBef>
                <a:spcPct val="20000"/>
              </a:spcBef>
              <a:spcAft>
                <a:spcPct val="0"/>
              </a:spcAft>
              <a:buNone/>
              <a:defRPr sz="2000">
                <a:solidFill>
                  <a:schemeClr val="tx1"/>
                </a:solidFill>
                <a:latin typeface="+mn-lt"/>
                <a:ea typeface="+mn-ea"/>
              </a:defRPr>
            </a:lvl2pPr>
            <a:lvl3pPr marL="914400" indent="0" algn="ctr" rtl="0" eaLnBrk="1" fontAlgn="base" hangingPunct="1">
              <a:spcBef>
                <a:spcPct val="20000"/>
              </a:spcBef>
              <a:spcAft>
                <a:spcPct val="0"/>
              </a:spcAft>
              <a:buNone/>
              <a:defRPr>
                <a:solidFill>
                  <a:schemeClr val="tx1"/>
                </a:solidFill>
                <a:latin typeface="+mn-lt"/>
                <a:ea typeface="+mn-ea"/>
              </a:defRPr>
            </a:lvl3pPr>
            <a:lvl4pPr marL="1371600" indent="0" algn="ctr" rtl="0" eaLnBrk="1" fontAlgn="base" hangingPunct="1">
              <a:spcBef>
                <a:spcPct val="20000"/>
              </a:spcBef>
              <a:spcAft>
                <a:spcPct val="0"/>
              </a:spcAft>
              <a:buNone/>
              <a:defRPr sz="2000">
                <a:solidFill>
                  <a:schemeClr val="tx1"/>
                </a:solidFill>
                <a:latin typeface="+mn-lt"/>
                <a:ea typeface="+mn-ea"/>
              </a:defRPr>
            </a:lvl4pPr>
            <a:lvl5pPr marL="1828800" indent="0" algn="ctr" rtl="0" eaLnBrk="1" fontAlgn="base" hangingPunct="1">
              <a:spcBef>
                <a:spcPct val="20000"/>
              </a:spcBef>
              <a:spcAft>
                <a:spcPct val="0"/>
              </a:spcAft>
              <a:buNone/>
              <a:defRPr sz="2000">
                <a:solidFill>
                  <a:schemeClr val="tx1"/>
                </a:solidFill>
                <a:latin typeface="+mn-lt"/>
                <a:ea typeface="+mn-ea"/>
              </a:defRPr>
            </a:lvl5pPr>
            <a:lvl6pPr marL="2286000" indent="0" algn="ctr" rtl="0" eaLnBrk="1" fontAlgn="base" hangingPunct="1">
              <a:spcBef>
                <a:spcPct val="20000"/>
              </a:spcBef>
              <a:spcAft>
                <a:spcPct val="0"/>
              </a:spcAft>
              <a:buNone/>
              <a:defRPr sz="2000">
                <a:solidFill>
                  <a:schemeClr val="tx1"/>
                </a:solidFill>
                <a:latin typeface="+mn-lt"/>
                <a:ea typeface="+mn-ea"/>
              </a:defRPr>
            </a:lvl6pPr>
            <a:lvl7pPr marL="2743200" indent="0" algn="ctr" rtl="0" eaLnBrk="1" fontAlgn="base" hangingPunct="1">
              <a:spcBef>
                <a:spcPct val="20000"/>
              </a:spcBef>
              <a:spcAft>
                <a:spcPct val="0"/>
              </a:spcAft>
              <a:buNone/>
              <a:defRPr sz="2000">
                <a:solidFill>
                  <a:schemeClr val="tx1"/>
                </a:solidFill>
                <a:latin typeface="+mn-lt"/>
                <a:ea typeface="+mn-ea"/>
              </a:defRPr>
            </a:lvl7pPr>
            <a:lvl8pPr marL="3200400" indent="0" algn="ctr" rtl="0" eaLnBrk="1" fontAlgn="base" hangingPunct="1">
              <a:spcBef>
                <a:spcPct val="20000"/>
              </a:spcBef>
              <a:spcAft>
                <a:spcPct val="0"/>
              </a:spcAft>
              <a:buNone/>
              <a:defRPr sz="2000">
                <a:solidFill>
                  <a:schemeClr val="tx1"/>
                </a:solidFill>
                <a:latin typeface="+mn-lt"/>
                <a:ea typeface="+mn-ea"/>
              </a:defRPr>
            </a:lvl8pPr>
            <a:lvl9pPr marL="3657600" indent="0" algn="ctr" rtl="0" eaLnBrk="1" fontAlgn="base" hangingPunct="1">
              <a:spcBef>
                <a:spcPct val="20000"/>
              </a:spcBef>
              <a:spcAft>
                <a:spcPct val="0"/>
              </a:spcAft>
              <a:buNone/>
              <a:defRPr sz="2000">
                <a:solidFill>
                  <a:schemeClr val="tx1"/>
                </a:solidFill>
                <a:latin typeface="+mn-lt"/>
                <a:ea typeface="+mn-ea"/>
              </a:defRPr>
            </a:lvl9pPr>
          </a:lstStyle>
          <a:p>
            <a:r>
              <a:rPr lang="en-US" sz="2000" kern="0" dirty="0">
                <a:solidFill>
                  <a:srgbClr val="FF0000"/>
                </a:solidFill>
              </a:rPr>
              <a:t>luspatercept</a:t>
            </a:r>
          </a:p>
        </p:txBody>
      </p:sp>
      <p:sp>
        <p:nvSpPr>
          <p:cNvPr id="24" name="Right Bracket 23">
            <a:extLst>
              <a:ext uri="{FF2B5EF4-FFF2-40B4-BE49-F238E27FC236}">
                <a16:creationId xmlns:a16="http://schemas.microsoft.com/office/drawing/2014/main" id="{4E717E92-C850-EB3A-3289-2FC79C8EF1C4}"/>
              </a:ext>
            </a:extLst>
          </p:cNvPr>
          <p:cNvSpPr/>
          <p:nvPr/>
        </p:nvSpPr>
        <p:spPr bwMode="auto">
          <a:xfrm rot="16200000">
            <a:off x="924940" y="1970724"/>
            <a:ext cx="244930" cy="927724"/>
          </a:xfrm>
          <a:prstGeom prst="rightBracke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25" name="Right Bracket 24">
            <a:extLst>
              <a:ext uri="{FF2B5EF4-FFF2-40B4-BE49-F238E27FC236}">
                <a16:creationId xmlns:a16="http://schemas.microsoft.com/office/drawing/2014/main" id="{208AE19B-39C3-2FA8-A1FA-94E80239B7EF}"/>
              </a:ext>
            </a:extLst>
          </p:cNvPr>
          <p:cNvSpPr/>
          <p:nvPr/>
        </p:nvSpPr>
        <p:spPr bwMode="auto">
          <a:xfrm rot="16200000">
            <a:off x="3287528" y="-823729"/>
            <a:ext cx="167568" cy="3346012"/>
          </a:xfrm>
          <a:prstGeom prst="rightBracke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29" name="Triangle 28">
            <a:extLst>
              <a:ext uri="{FF2B5EF4-FFF2-40B4-BE49-F238E27FC236}">
                <a16:creationId xmlns:a16="http://schemas.microsoft.com/office/drawing/2014/main" id="{2A08B84F-DE4A-E302-31E5-A3A155FF113F}"/>
              </a:ext>
            </a:extLst>
          </p:cNvPr>
          <p:cNvSpPr/>
          <p:nvPr/>
        </p:nvSpPr>
        <p:spPr bwMode="auto">
          <a:xfrm>
            <a:off x="289564" y="3915396"/>
            <a:ext cx="147145" cy="190171"/>
          </a:xfrm>
          <a:prstGeom prst="triangle">
            <a:avLst/>
          </a:prstGeom>
          <a:solidFill>
            <a:srgbClr val="FF0000"/>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31" name="Triangle 30">
            <a:extLst>
              <a:ext uri="{FF2B5EF4-FFF2-40B4-BE49-F238E27FC236}">
                <a16:creationId xmlns:a16="http://schemas.microsoft.com/office/drawing/2014/main" id="{877AE3D4-5AA3-4E3A-65B2-7B5AB2358B3D}"/>
              </a:ext>
            </a:extLst>
          </p:cNvPr>
          <p:cNvSpPr/>
          <p:nvPr/>
        </p:nvSpPr>
        <p:spPr bwMode="auto">
          <a:xfrm>
            <a:off x="2330639" y="3686796"/>
            <a:ext cx="147145" cy="190171"/>
          </a:xfrm>
          <a:prstGeom prst="triangle">
            <a:avLst/>
          </a:prstGeom>
          <a:solidFill>
            <a:srgbClr val="FF0000"/>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28" name="Subtitle 1">
            <a:extLst>
              <a:ext uri="{FF2B5EF4-FFF2-40B4-BE49-F238E27FC236}">
                <a16:creationId xmlns:a16="http://schemas.microsoft.com/office/drawing/2014/main" id="{55B4406B-747B-4263-5C0B-25FE762E5F26}"/>
              </a:ext>
            </a:extLst>
          </p:cNvPr>
          <p:cNvSpPr txBox="1">
            <a:spLocks/>
          </p:cNvSpPr>
          <p:nvPr/>
        </p:nvSpPr>
        <p:spPr bwMode="auto">
          <a:xfrm>
            <a:off x="443057" y="108702"/>
            <a:ext cx="5090367" cy="282213"/>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eaLnBrk="1" fontAlgn="base" hangingPunct="1">
              <a:spcBef>
                <a:spcPct val="20000"/>
              </a:spcBef>
              <a:spcAft>
                <a:spcPct val="0"/>
              </a:spcAft>
              <a:buNone/>
              <a:defRPr sz="2400">
                <a:solidFill>
                  <a:schemeClr val="tx1"/>
                </a:solidFill>
                <a:latin typeface="+mn-lt"/>
                <a:ea typeface="+mn-ea"/>
                <a:cs typeface="+mn-cs"/>
              </a:defRPr>
            </a:lvl1pPr>
            <a:lvl2pPr marL="457200" indent="0" algn="ctr" rtl="0" eaLnBrk="1" fontAlgn="base" hangingPunct="1">
              <a:spcBef>
                <a:spcPct val="20000"/>
              </a:spcBef>
              <a:spcAft>
                <a:spcPct val="0"/>
              </a:spcAft>
              <a:buNone/>
              <a:defRPr sz="2000">
                <a:solidFill>
                  <a:schemeClr val="tx1"/>
                </a:solidFill>
                <a:latin typeface="+mn-lt"/>
                <a:ea typeface="+mn-ea"/>
              </a:defRPr>
            </a:lvl2pPr>
            <a:lvl3pPr marL="914400" indent="0" algn="ctr" rtl="0" eaLnBrk="1" fontAlgn="base" hangingPunct="1">
              <a:spcBef>
                <a:spcPct val="20000"/>
              </a:spcBef>
              <a:spcAft>
                <a:spcPct val="0"/>
              </a:spcAft>
              <a:buNone/>
              <a:defRPr>
                <a:solidFill>
                  <a:schemeClr val="tx1"/>
                </a:solidFill>
                <a:latin typeface="+mn-lt"/>
                <a:ea typeface="+mn-ea"/>
              </a:defRPr>
            </a:lvl3pPr>
            <a:lvl4pPr marL="1371600" indent="0" algn="ctr" rtl="0" eaLnBrk="1" fontAlgn="base" hangingPunct="1">
              <a:spcBef>
                <a:spcPct val="20000"/>
              </a:spcBef>
              <a:spcAft>
                <a:spcPct val="0"/>
              </a:spcAft>
              <a:buNone/>
              <a:defRPr sz="2000">
                <a:solidFill>
                  <a:schemeClr val="tx1"/>
                </a:solidFill>
                <a:latin typeface="+mn-lt"/>
                <a:ea typeface="+mn-ea"/>
              </a:defRPr>
            </a:lvl4pPr>
            <a:lvl5pPr marL="1828800" indent="0" algn="ctr" rtl="0" eaLnBrk="1" fontAlgn="base" hangingPunct="1">
              <a:spcBef>
                <a:spcPct val="20000"/>
              </a:spcBef>
              <a:spcAft>
                <a:spcPct val="0"/>
              </a:spcAft>
              <a:buNone/>
              <a:defRPr sz="2000">
                <a:solidFill>
                  <a:schemeClr val="tx1"/>
                </a:solidFill>
                <a:latin typeface="+mn-lt"/>
                <a:ea typeface="+mn-ea"/>
              </a:defRPr>
            </a:lvl5pPr>
            <a:lvl6pPr marL="2286000" indent="0" algn="ctr" rtl="0" eaLnBrk="1" fontAlgn="base" hangingPunct="1">
              <a:spcBef>
                <a:spcPct val="20000"/>
              </a:spcBef>
              <a:spcAft>
                <a:spcPct val="0"/>
              </a:spcAft>
              <a:buNone/>
              <a:defRPr sz="2000">
                <a:solidFill>
                  <a:schemeClr val="tx1"/>
                </a:solidFill>
                <a:latin typeface="+mn-lt"/>
                <a:ea typeface="+mn-ea"/>
              </a:defRPr>
            </a:lvl6pPr>
            <a:lvl7pPr marL="2743200" indent="0" algn="ctr" rtl="0" eaLnBrk="1" fontAlgn="base" hangingPunct="1">
              <a:spcBef>
                <a:spcPct val="20000"/>
              </a:spcBef>
              <a:spcAft>
                <a:spcPct val="0"/>
              </a:spcAft>
              <a:buNone/>
              <a:defRPr sz="2000">
                <a:solidFill>
                  <a:schemeClr val="tx1"/>
                </a:solidFill>
                <a:latin typeface="+mn-lt"/>
                <a:ea typeface="+mn-ea"/>
              </a:defRPr>
            </a:lvl7pPr>
            <a:lvl8pPr marL="3200400" indent="0" algn="ctr" rtl="0" eaLnBrk="1" fontAlgn="base" hangingPunct="1">
              <a:spcBef>
                <a:spcPct val="20000"/>
              </a:spcBef>
              <a:spcAft>
                <a:spcPct val="0"/>
              </a:spcAft>
              <a:buNone/>
              <a:defRPr sz="2000">
                <a:solidFill>
                  <a:schemeClr val="tx1"/>
                </a:solidFill>
                <a:latin typeface="+mn-lt"/>
                <a:ea typeface="+mn-ea"/>
              </a:defRPr>
            </a:lvl8pPr>
            <a:lvl9pPr marL="3657600" indent="0" algn="ctr" rtl="0" eaLnBrk="1" fontAlgn="base" hangingPunct="1">
              <a:spcBef>
                <a:spcPct val="20000"/>
              </a:spcBef>
              <a:spcAft>
                <a:spcPct val="0"/>
              </a:spcAft>
              <a:buNone/>
              <a:defRPr sz="2000">
                <a:solidFill>
                  <a:schemeClr val="tx1"/>
                </a:solidFill>
                <a:latin typeface="+mn-lt"/>
                <a:ea typeface="+mn-ea"/>
              </a:defRPr>
            </a:lvl9pPr>
          </a:lstStyle>
          <a:p>
            <a:r>
              <a:rPr lang="en-US" sz="2000" kern="0" dirty="0">
                <a:solidFill>
                  <a:srgbClr val="002E51"/>
                </a:solidFill>
              </a:rPr>
              <a:t>Hemoglobin since starting treatment</a:t>
            </a:r>
          </a:p>
        </p:txBody>
      </p:sp>
      <p:sp>
        <p:nvSpPr>
          <p:cNvPr id="27" name="Subtitle 1">
            <a:extLst>
              <a:ext uri="{FF2B5EF4-FFF2-40B4-BE49-F238E27FC236}">
                <a16:creationId xmlns:a16="http://schemas.microsoft.com/office/drawing/2014/main" id="{D70EC7C3-7FBA-A242-BA2D-C7337ED190FA}"/>
              </a:ext>
            </a:extLst>
          </p:cNvPr>
          <p:cNvSpPr txBox="1">
            <a:spLocks/>
          </p:cNvSpPr>
          <p:nvPr/>
        </p:nvSpPr>
        <p:spPr bwMode="auto">
          <a:xfrm rot="16200000">
            <a:off x="-1462487" y="2340016"/>
            <a:ext cx="3575253" cy="426205"/>
          </a:xfrm>
          <a:prstGeom prst="rect">
            <a:avLst/>
          </a:prstGeom>
          <a:solidFill>
            <a:schemeClr val="bg1"/>
          </a:solid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eaLnBrk="1" fontAlgn="base" hangingPunct="1">
              <a:spcBef>
                <a:spcPct val="20000"/>
              </a:spcBef>
              <a:spcAft>
                <a:spcPct val="0"/>
              </a:spcAft>
              <a:buNone/>
              <a:defRPr sz="2400">
                <a:solidFill>
                  <a:schemeClr val="tx1"/>
                </a:solidFill>
                <a:latin typeface="+mn-lt"/>
                <a:ea typeface="+mn-ea"/>
                <a:cs typeface="+mn-cs"/>
              </a:defRPr>
            </a:lvl1pPr>
            <a:lvl2pPr marL="457200" indent="0" algn="ctr" rtl="0" eaLnBrk="1" fontAlgn="base" hangingPunct="1">
              <a:spcBef>
                <a:spcPct val="20000"/>
              </a:spcBef>
              <a:spcAft>
                <a:spcPct val="0"/>
              </a:spcAft>
              <a:buNone/>
              <a:defRPr sz="2000">
                <a:solidFill>
                  <a:schemeClr val="tx1"/>
                </a:solidFill>
                <a:latin typeface="+mn-lt"/>
                <a:ea typeface="+mn-ea"/>
              </a:defRPr>
            </a:lvl2pPr>
            <a:lvl3pPr marL="914400" indent="0" algn="ctr" rtl="0" eaLnBrk="1" fontAlgn="base" hangingPunct="1">
              <a:spcBef>
                <a:spcPct val="20000"/>
              </a:spcBef>
              <a:spcAft>
                <a:spcPct val="0"/>
              </a:spcAft>
              <a:buNone/>
              <a:defRPr>
                <a:solidFill>
                  <a:schemeClr val="tx1"/>
                </a:solidFill>
                <a:latin typeface="+mn-lt"/>
                <a:ea typeface="+mn-ea"/>
              </a:defRPr>
            </a:lvl3pPr>
            <a:lvl4pPr marL="1371600" indent="0" algn="ctr" rtl="0" eaLnBrk="1" fontAlgn="base" hangingPunct="1">
              <a:spcBef>
                <a:spcPct val="20000"/>
              </a:spcBef>
              <a:spcAft>
                <a:spcPct val="0"/>
              </a:spcAft>
              <a:buNone/>
              <a:defRPr sz="2000">
                <a:solidFill>
                  <a:schemeClr val="tx1"/>
                </a:solidFill>
                <a:latin typeface="+mn-lt"/>
                <a:ea typeface="+mn-ea"/>
              </a:defRPr>
            </a:lvl4pPr>
            <a:lvl5pPr marL="1828800" indent="0" algn="ctr" rtl="0" eaLnBrk="1" fontAlgn="base" hangingPunct="1">
              <a:spcBef>
                <a:spcPct val="20000"/>
              </a:spcBef>
              <a:spcAft>
                <a:spcPct val="0"/>
              </a:spcAft>
              <a:buNone/>
              <a:defRPr sz="2000">
                <a:solidFill>
                  <a:schemeClr val="tx1"/>
                </a:solidFill>
                <a:latin typeface="+mn-lt"/>
                <a:ea typeface="+mn-ea"/>
              </a:defRPr>
            </a:lvl5pPr>
            <a:lvl6pPr marL="2286000" indent="0" algn="ctr" rtl="0" eaLnBrk="1" fontAlgn="base" hangingPunct="1">
              <a:spcBef>
                <a:spcPct val="20000"/>
              </a:spcBef>
              <a:spcAft>
                <a:spcPct val="0"/>
              </a:spcAft>
              <a:buNone/>
              <a:defRPr sz="2000">
                <a:solidFill>
                  <a:schemeClr val="tx1"/>
                </a:solidFill>
                <a:latin typeface="+mn-lt"/>
                <a:ea typeface="+mn-ea"/>
              </a:defRPr>
            </a:lvl6pPr>
            <a:lvl7pPr marL="2743200" indent="0" algn="ctr" rtl="0" eaLnBrk="1" fontAlgn="base" hangingPunct="1">
              <a:spcBef>
                <a:spcPct val="20000"/>
              </a:spcBef>
              <a:spcAft>
                <a:spcPct val="0"/>
              </a:spcAft>
              <a:buNone/>
              <a:defRPr sz="2000">
                <a:solidFill>
                  <a:schemeClr val="tx1"/>
                </a:solidFill>
                <a:latin typeface="+mn-lt"/>
                <a:ea typeface="+mn-ea"/>
              </a:defRPr>
            </a:lvl7pPr>
            <a:lvl8pPr marL="3200400" indent="0" algn="ctr" rtl="0" eaLnBrk="1" fontAlgn="base" hangingPunct="1">
              <a:spcBef>
                <a:spcPct val="20000"/>
              </a:spcBef>
              <a:spcAft>
                <a:spcPct val="0"/>
              </a:spcAft>
              <a:buNone/>
              <a:defRPr sz="2000">
                <a:solidFill>
                  <a:schemeClr val="tx1"/>
                </a:solidFill>
                <a:latin typeface="+mn-lt"/>
                <a:ea typeface="+mn-ea"/>
              </a:defRPr>
            </a:lvl8pPr>
            <a:lvl9pPr marL="3657600" indent="0" algn="ctr" rtl="0" eaLnBrk="1" fontAlgn="base" hangingPunct="1">
              <a:spcBef>
                <a:spcPct val="20000"/>
              </a:spcBef>
              <a:spcAft>
                <a:spcPct val="0"/>
              </a:spcAft>
              <a:buNone/>
              <a:defRPr sz="2000">
                <a:solidFill>
                  <a:schemeClr val="tx1"/>
                </a:solidFill>
                <a:latin typeface="+mn-lt"/>
                <a:ea typeface="+mn-ea"/>
              </a:defRPr>
            </a:lvl9pPr>
          </a:lstStyle>
          <a:p>
            <a:r>
              <a:rPr lang="en-US" sz="1000" kern="0" dirty="0" err="1"/>
              <a:t>hgb</a:t>
            </a:r>
            <a:r>
              <a:rPr lang="en-US" sz="1000" kern="0" dirty="0"/>
              <a:t> (g/dL)</a:t>
            </a:r>
          </a:p>
          <a:p>
            <a:pPr algn="l"/>
            <a:r>
              <a:rPr lang="en-US" sz="1000" kern="0" dirty="0"/>
              <a:t>              8              9            10            11            12            13</a:t>
            </a:r>
          </a:p>
        </p:txBody>
      </p:sp>
      <p:sp>
        <p:nvSpPr>
          <p:cNvPr id="26" name="Subtitle 1">
            <a:extLst>
              <a:ext uri="{FF2B5EF4-FFF2-40B4-BE49-F238E27FC236}">
                <a16:creationId xmlns:a16="http://schemas.microsoft.com/office/drawing/2014/main" id="{A7AA674A-C990-9B6D-D395-1B177F5A28CA}"/>
              </a:ext>
            </a:extLst>
          </p:cNvPr>
          <p:cNvSpPr txBox="1">
            <a:spLocks/>
          </p:cNvSpPr>
          <p:nvPr/>
        </p:nvSpPr>
        <p:spPr bwMode="auto">
          <a:xfrm>
            <a:off x="356160" y="4087833"/>
            <a:ext cx="5115779" cy="244930"/>
          </a:xfrm>
          <a:prstGeom prst="rect">
            <a:avLst/>
          </a:prstGeom>
          <a:solidFill>
            <a:schemeClr val="bg1"/>
          </a:solid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0" bIns="45720" numCol="1" anchor="t" anchorCtr="0" compatLnSpc="1">
            <a:prstTxWarp prst="textNoShape">
              <a:avLst/>
            </a:prstTxWarp>
          </a:bodyPr>
          <a:lstStyle>
            <a:lvl1pPr marL="0" indent="0" algn="ctr" rtl="0" eaLnBrk="1" fontAlgn="base" hangingPunct="1">
              <a:spcBef>
                <a:spcPct val="20000"/>
              </a:spcBef>
              <a:spcAft>
                <a:spcPct val="0"/>
              </a:spcAft>
              <a:buNone/>
              <a:defRPr sz="2400">
                <a:solidFill>
                  <a:schemeClr val="tx1"/>
                </a:solidFill>
                <a:latin typeface="+mn-lt"/>
                <a:ea typeface="+mn-ea"/>
                <a:cs typeface="+mn-cs"/>
              </a:defRPr>
            </a:lvl1pPr>
            <a:lvl2pPr marL="457200" indent="0" algn="ctr" rtl="0" eaLnBrk="1" fontAlgn="base" hangingPunct="1">
              <a:spcBef>
                <a:spcPct val="20000"/>
              </a:spcBef>
              <a:spcAft>
                <a:spcPct val="0"/>
              </a:spcAft>
              <a:buNone/>
              <a:defRPr sz="2000">
                <a:solidFill>
                  <a:schemeClr val="tx1"/>
                </a:solidFill>
                <a:latin typeface="+mn-lt"/>
                <a:ea typeface="+mn-ea"/>
              </a:defRPr>
            </a:lvl2pPr>
            <a:lvl3pPr marL="914400" indent="0" algn="ctr" rtl="0" eaLnBrk="1" fontAlgn="base" hangingPunct="1">
              <a:spcBef>
                <a:spcPct val="20000"/>
              </a:spcBef>
              <a:spcAft>
                <a:spcPct val="0"/>
              </a:spcAft>
              <a:buNone/>
              <a:defRPr>
                <a:solidFill>
                  <a:schemeClr val="tx1"/>
                </a:solidFill>
                <a:latin typeface="+mn-lt"/>
                <a:ea typeface="+mn-ea"/>
              </a:defRPr>
            </a:lvl3pPr>
            <a:lvl4pPr marL="1371600" indent="0" algn="ctr" rtl="0" eaLnBrk="1" fontAlgn="base" hangingPunct="1">
              <a:spcBef>
                <a:spcPct val="20000"/>
              </a:spcBef>
              <a:spcAft>
                <a:spcPct val="0"/>
              </a:spcAft>
              <a:buNone/>
              <a:defRPr sz="2000">
                <a:solidFill>
                  <a:schemeClr val="tx1"/>
                </a:solidFill>
                <a:latin typeface="+mn-lt"/>
                <a:ea typeface="+mn-ea"/>
              </a:defRPr>
            </a:lvl4pPr>
            <a:lvl5pPr marL="1828800" indent="0" algn="ctr" rtl="0" eaLnBrk="1" fontAlgn="base" hangingPunct="1">
              <a:spcBef>
                <a:spcPct val="20000"/>
              </a:spcBef>
              <a:spcAft>
                <a:spcPct val="0"/>
              </a:spcAft>
              <a:buNone/>
              <a:defRPr sz="2000">
                <a:solidFill>
                  <a:schemeClr val="tx1"/>
                </a:solidFill>
                <a:latin typeface="+mn-lt"/>
                <a:ea typeface="+mn-ea"/>
              </a:defRPr>
            </a:lvl5pPr>
            <a:lvl6pPr marL="2286000" indent="0" algn="ctr" rtl="0" eaLnBrk="1" fontAlgn="base" hangingPunct="1">
              <a:spcBef>
                <a:spcPct val="20000"/>
              </a:spcBef>
              <a:spcAft>
                <a:spcPct val="0"/>
              </a:spcAft>
              <a:buNone/>
              <a:defRPr sz="2000">
                <a:solidFill>
                  <a:schemeClr val="tx1"/>
                </a:solidFill>
                <a:latin typeface="+mn-lt"/>
                <a:ea typeface="+mn-ea"/>
              </a:defRPr>
            </a:lvl6pPr>
            <a:lvl7pPr marL="2743200" indent="0" algn="ctr" rtl="0" eaLnBrk="1" fontAlgn="base" hangingPunct="1">
              <a:spcBef>
                <a:spcPct val="20000"/>
              </a:spcBef>
              <a:spcAft>
                <a:spcPct val="0"/>
              </a:spcAft>
              <a:buNone/>
              <a:defRPr sz="2000">
                <a:solidFill>
                  <a:schemeClr val="tx1"/>
                </a:solidFill>
                <a:latin typeface="+mn-lt"/>
                <a:ea typeface="+mn-ea"/>
              </a:defRPr>
            </a:lvl7pPr>
            <a:lvl8pPr marL="3200400" indent="0" algn="ctr" rtl="0" eaLnBrk="1" fontAlgn="base" hangingPunct="1">
              <a:spcBef>
                <a:spcPct val="20000"/>
              </a:spcBef>
              <a:spcAft>
                <a:spcPct val="0"/>
              </a:spcAft>
              <a:buNone/>
              <a:defRPr sz="2000">
                <a:solidFill>
                  <a:schemeClr val="tx1"/>
                </a:solidFill>
                <a:latin typeface="+mn-lt"/>
                <a:ea typeface="+mn-ea"/>
              </a:defRPr>
            </a:lvl8pPr>
            <a:lvl9pPr marL="3657600" indent="0" algn="ctr" rtl="0" eaLnBrk="1" fontAlgn="base" hangingPunct="1">
              <a:spcBef>
                <a:spcPct val="20000"/>
              </a:spcBef>
              <a:spcAft>
                <a:spcPct val="0"/>
              </a:spcAft>
              <a:buNone/>
              <a:defRPr sz="2000">
                <a:solidFill>
                  <a:schemeClr val="tx1"/>
                </a:solidFill>
                <a:latin typeface="+mn-lt"/>
                <a:ea typeface="+mn-ea"/>
              </a:defRPr>
            </a:lvl9pPr>
          </a:lstStyle>
          <a:p>
            <a:pPr algn="l"/>
            <a:r>
              <a:rPr lang="en-US" sz="1000" kern="0" dirty="0"/>
              <a:t>MAY               JUL               SEPT             NOV               JAN               MAR              MAY</a:t>
            </a:r>
          </a:p>
        </p:txBody>
      </p:sp>
      <p:sp>
        <p:nvSpPr>
          <p:cNvPr id="30" name="Triangle 29">
            <a:extLst>
              <a:ext uri="{FF2B5EF4-FFF2-40B4-BE49-F238E27FC236}">
                <a16:creationId xmlns:a16="http://schemas.microsoft.com/office/drawing/2014/main" id="{E303B8AD-455E-EC29-CF29-B9E8C1BB0E85}"/>
              </a:ext>
            </a:extLst>
          </p:cNvPr>
          <p:cNvSpPr/>
          <p:nvPr/>
        </p:nvSpPr>
        <p:spPr bwMode="auto">
          <a:xfrm>
            <a:off x="1614514" y="3958082"/>
            <a:ext cx="147145" cy="190171"/>
          </a:xfrm>
          <a:prstGeom prst="triangle">
            <a:avLst/>
          </a:prstGeom>
          <a:solidFill>
            <a:srgbClr val="FF0000"/>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35" name="TextBox 34">
            <a:extLst>
              <a:ext uri="{FF2B5EF4-FFF2-40B4-BE49-F238E27FC236}">
                <a16:creationId xmlns:a16="http://schemas.microsoft.com/office/drawing/2014/main" id="{BE494C9E-9453-4A35-2160-8D412FE5180E}"/>
              </a:ext>
            </a:extLst>
          </p:cNvPr>
          <p:cNvSpPr txBox="1"/>
          <p:nvPr/>
        </p:nvSpPr>
        <p:spPr>
          <a:xfrm>
            <a:off x="5410658" y="1988977"/>
            <a:ext cx="3459713" cy="2123658"/>
          </a:xfrm>
          <a:prstGeom prst="rect">
            <a:avLst/>
          </a:prstGeom>
          <a:solidFill>
            <a:schemeClr val="accent5"/>
          </a:solidFill>
        </p:spPr>
        <p:txBody>
          <a:bodyPr wrap="square" lIns="45720" rIns="45720">
            <a:spAutoFit/>
          </a:bodyPr>
          <a:lstStyle/>
          <a:p>
            <a:pPr algn="l"/>
            <a:r>
              <a:rPr lang="en-US" sz="2200" b="1" dirty="0">
                <a:solidFill>
                  <a:srgbClr val="002E51"/>
                </a:solidFill>
              </a:rPr>
              <a:t>Final diagnosis:</a:t>
            </a:r>
          </a:p>
          <a:p>
            <a:pPr algn="l"/>
            <a:r>
              <a:rPr lang="en-US" sz="2200" b="1" dirty="0">
                <a:solidFill>
                  <a:srgbClr val="002E51"/>
                </a:solidFill>
              </a:rPr>
              <a:t>Low risk MDS-SF3B1</a:t>
            </a:r>
          </a:p>
          <a:p>
            <a:pPr algn="l"/>
            <a:r>
              <a:rPr lang="en-US" sz="2200" dirty="0">
                <a:solidFill>
                  <a:srgbClr val="002E51"/>
                </a:solidFill>
              </a:rPr>
              <a:t>in setting of bone marrow suppression due to alcohol +/- nutritional deficiency  +/- ?post-Covid syndrome</a:t>
            </a:r>
          </a:p>
        </p:txBody>
      </p:sp>
      <p:sp>
        <p:nvSpPr>
          <p:cNvPr id="2" name="Triangle 1">
            <a:extLst>
              <a:ext uri="{FF2B5EF4-FFF2-40B4-BE49-F238E27FC236}">
                <a16:creationId xmlns:a16="http://schemas.microsoft.com/office/drawing/2014/main" id="{F9238CD6-08C9-D1D3-F4A7-5709C87B6574}"/>
              </a:ext>
            </a:extLst>
          </p:cNvPr>
          <p:cNvSpPr/>
          <p:nvPr/>
        </p:nvSpPr>
        <p:spPr bwMode="auto">
          <a:xfrm>
            <a:off x="787195" y="3923862"/>
            <a:ext cx="147145" cy="190171"/>
          </a:xfrm>
          <a:prstGeom prst="triangle">
            <a:avLst/>
          </a:prstGeom>
          <a:solidFill>
            <a:srgbClr val="FF0000"/>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33" name="Subtitle 1">
            <a:extLst>
              <a:ext uri="{FF2B5EF4-FFF2-40B4-BE49-F238E27FC236}">
                <a16:creationId xmlns:a16="http://schemas.microsoft.com/office/drawing/2014/main" id="{0E72C33D-8DA4-F2A0-6418-65588CDCA594}"/>
              </a:ext>
            </a:extLst>
          </p:cNvPr>
          <p:cNvSpPr txBox="1">
            <a:spLocks/>
          </p:cNvSpPr>
          <p:nvPr/>
        </p:nvSpPr>
        <p:spPr bwMode="auto">
          <a:xfrm>
            <a:off x="5372976" y="170008"/>
            <a:ext cx="3497396" cy="1632053"/>
          </a:xfrm>
          <a:prstGeom prst="rect">
            <a:avLst/>
          </a:prstGeom>
          <a:solidFill>
            <a:schemeClr val="bg1"/>
          </a:solid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eaLnBrk="1" fontAlgn="base" hangingPunct="1">
              <a:spcBef>
                <a:spcPct val="20000"/>
              </a:spcBef>
              <a:spcAft>
                <a:spcPct val="0"/>
              </a:spcAft>
              <a:buNone/>
              <a:defRPr sz="2400">
                <a:solidFill>
                  <a:schemeClr val="tx1"/>
                </a:solidFill>
                <a:latin typeface="+mn-lt"/>
                <a:ea typeface="+mn-ea"/>
                <a:cs typeface="+mn-cs"/>
              </a:defRPr>
            </a:lvl1pPr>
            <a:lvl2pPr marL="457200" indent="0" algn="ctr" rtl="0" eaLnBrk="1" fontAlgn="base" hangingPunct="1">
              <a:spcBef>
                <a:spcPct val="20000"/>
              </a:spcBef>
              <a:spcAft>
                <a:spcPct val="0"/>
              </a:spcAft>
              <a:buNone/>
              <a:defRPr sz="2000">
                <a:solidFill>
                  <a:schemeClr val="tx1"/>
                </a:solidFill>
                <a:latin typeface="+mn-lt"/>
                <a:ea typeface="+mn-ea"/>
              </a:defRPr>
            </a:lvl2pPr>
            <a:lvl3pPr marL="914400" indent="0" algn="ctr" rtl="0" eaLnBrk="1" fontAlgn="base" hangingPunct="1">
              <a:spcBef>
                <a:spcPct val="20000"/>
              </a:spcBef>
              <a:spcAft>
                <a:spcPct val="0"/>
              </a:spcAft>
              <a:buNone/>
              <a:defRPr>
                <a:solidFill>
                  <a:schemeClr val="tx1"/>
                </a:solidFill>
                <a:latin typeface="+mn-lt"/>
                <a:ea typeface="+mn-ea"/>
              </a:defRPr>
            </a:lvl3pPr>
            <a:lvl4pPr marL="1371600" indent="0" algn="ctr" rtl="0" eaLnBrk="1" fontAlgn="base" hangingPunct="1">
              <a:spcBef>
                <a:spcPct val="20000"/>
              </a:spcBef>
              <a:spcAft>
                <a:spcPct val="0"/>
              </a:spcAft>
              <a:buNone/>
              <a:defRPr sz="2000">
                <a:solidFill>
                  <a:schemeClr val="tx1"/>
                </a:solidFill>
                <a:latin typeface="+mn-lt"/>
                <a:ea typeface="+mn-ea"/>
              </a:defRPr>
            </a:lvl4pPr>
            <a:lvl5pPr marL="1828800" indent="0" algn="ctr" rtl="0" eaLnBrk="1" fontAlgn="base" hangingPunct="1">
              <a:spcBef>
                <a:spcPct val="20000"/>
              </a:spcBef>
              <a:spcAft>
                <a:spcPct val="0"/>
              </a:spcAft>
              <a:buNone/>
              <a:defRPr sz="2000">
                <a:solidFill>
                  <a:schemeClr val="tx1"/>
                </a:solidFill>
                <a:latin typeface="+mn-lt"/>
                <a:ea typeface="+mn-ea"/>
              </a:defRPr>
            </a:lvl5pPr>
            <a:lvl6pPr marL="2286000" indent="0" algn="ctr" rtl="0" eaLnBrk="1" fontAlgn="base" hangingPunct="1">
              <a:spcBef>
                <a:spcPct val="20000"/>
              </a:spcBef>
              <a:spcAft>
                <a:spcPct val="0"/>
              </a:spcAft>
              <a:buNone/>
              <a:defRPr sz="2000">
                <a:solidFill>
                  <a:schemeClr val="tx1"/>
                </a:solidFill>
                <a:latin typeface="+mn-lt"/>
                <a:ea typeface="+mn-ea"/>
              </a:defRPr>
            </a:lvl6pPr>
            <a:lvl7pPr marL="2743200" indent="0" algn="ctr" rtl="0" eaLnBrk="1" fontAlgn="base" hangingPunct="1">
              <a:spcBef>
                <a:spcPct val="20000"/>
              </a:spcBef>
              <a:spcAft>
                <a:spcPct val="0"/>
              </a:spcAft>
              <a:buNone/>
              <a:defRPr sz="2000">
                <a:solidFill>
                  <a:schemeClr val="tx1"/>
                </a:solidFill>
                <a:latin typeface="+mn-lt"/>
                <a:ea typeface="+mn-ea"/>
              </a:defRPr>
            </a:lvl7pPr>
            <a:lvl8pPr marL="3200400" indent="0" algn="ctr" rtl="0" eaLnBrk="1" fontAlgn="base" hangingPunct="1">
              <a:spcBef>
                <a:spcPct val="20000"/>
              </a:spcBef>
              <a:spcAft>
                <a:spcPct val="0"/>
              </a:spcAft>
              <a:buNone/>
              <a:defRPr sz="2000">
                <a:solidFill>
                  <a:schemeClr val="tx1"/>
                </a:solidFill>
                <a:latin typeface="+mn-lt"/>
                <a:ea typeface="+mn-ea"/>
              </a:defRPr>
            </a:lvl8pPr>
            <a:lvl9pPr marL="3657600" indent="0" algn="ctr" rtl="0" eaLnBrk="1" fontAlgn="base" hangingPunct="1">
              <a:spcBef>
                <a:spcPct val="20000"/>
              </a:spcBef>
              <a:spcAft>
                <a:spcPct val="0"/>
              </a:spcAft>
              <a:buNone/>
              <a:defRPr sz="2000">
                <a:solidFill>
                  <a:schemeClr val="tx1"/>
                </a:solidFill>
                <a:latin typeface="+mn-lt"/>
                <a:ea typeface="+mn-ea"/>
              </a:defRPr>
            </a:lvl9pPr>
          </a:lstStyle>
          <a:p>
            <a:pPr marL="180975" indent="-180975" algn="l"/>
            <a:r>
              <a:rPr lang="en-US" sz="2200" b="1" kern="0" dirty="0">
                <a:solidFill>
                  <a:srgbClr val="002E51"/>
                </a:solidFill>
              </a:rPr>
              <a:t>April 2024</a:t>
            </a:r>
          </a:p>
          <a:p>
            <a:pPr marL="180975" indent="-180975" algn="l">
              <a:buFont typeface="Arial" panose="020B0604020202020204" pitchFamily="34" charset="0"/>
              <a:buChar char="•"/>
            </a:pPr>
            <a:r>
              <a:rPr lang="en-US" sz="2200" kern="0" dirty="0">
                <a:solidFill>
                  <a:srgbClr val="002E51"/>
                </a:solidFill>
              </a:rPr>
              <a:t>Hgb &gt;12.5 g/dL</a:t>
            </a:r>
          </a:p>
          <a:p>
            <a:pPr marL="180975" indent="-180975" algn="l">
              <a:buFont typeface="Arial" panose="020B0604020202020204" pitchFamily="34" charset="0"/>
              <a:buChar char="•"/>
            </a:pPr>
            <a:r>
              <a:rPr lang="en-US" sz="2200" kern="0" dirty="0">
                <a:solidFill>
                  <a:srgbClr val="002E51"/>
                </a:solidFill>
              </a:rPr>
              <a:t>Transfusion independent</a:t>
            </a:r>
          </a:p>
          <a:p>
            <a:pPr marL="180975" indent="-180975" algn="l">
              <a:buFont typeface="Arial" panose="020B0604020202020204" pitchFamily="34" charset="0"/>
              <a:buChar char="•"/>
            </a:pPr>
            <a:r>
              <a:rPr lang="en-US" sz="2200" kern="0" dirty="0">
                <a:solidFill>
                  <a:srgbClr val="002E51"/>
                </a:solidFill>
              </a:rPr>
              <a:t>Alcohol cessation</a:t>
            </a:r>
          </a:p>
        </p:txBody>
      </p:sp>
    </p:spTree>
    <p:extLst>
      <p:ext uri="{BB962C8B-B14F-4D97-AF65-F5344CB8AC3E}">
        <p14:creationId xmlns:p14="http://schemas.microsoft.com/office/powerpoint/2010/main" val="4031151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22CA8E-5260-4F40-5ACB-FA00D45B29F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03FDD58-BD01-3E51-1FDD-0B12148AD7A4}"/>
              </a:ext>
            </a:extLst>
          </p:cNvPr>
          <p:cNvSpPr txBox="1">
            <a:spLocks/>
          </p:cNvSpPr>
          <p:nvPr/>
        </p:nvSpPr>
        <p:spPr>
          <a:xfrm>
            <a:off x="0" y="127465"/>
            <a:ext cx="9144000" cy="807256"/>
          </a:xfrm>
          <a:prstGeom prst="rect">
            <a:avLst/>
          </a:prstGeom>
        </p:spPr>
        <p:txBody>
          <a:bodyPr/>
          <a:lstStyle>
            <a:lvl1pPr algn="ctr" rtl="0" eaLnBrk="1" fontAlgn="base" hangingPunct="1">
              <a:spcBef>
                <a:spcPct val="0"/>
              </a:spcBef>
              <a:spcAft>
                <a:spcPct val="0"/>
              </a:spcAft>
              <a:defRPr sz="3600" i="0">
                <a:solidFill>
                  <a:schemeClr val="bg1"/>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r>
              <a:rPr lang="en-US" sz="3200" b="1" kern="0" dirty="0">
                <a:solidFill>
                  <a:srgbClr val="002E51"/>
                </a:solidFill>
              </a:rPr>
              <a:t>Treating anemia in low risk MDS</a:t>
            </a:r>
            <a:endParaRPr lang="en-US" sz="3200" b="1" kern="0" dirty="0"/>
          </a:p>
        </p:txBody>
      </p:sp>
      <p:sp>
        <p:nvSpPr>
          <p:cNvPr id="2" name="Content Placeholder 6">
            <a:extLst>
              <a:ext uri="{FF2B5EF4-FFF2-40B4-BE49-F238E27FC236}">
                <a16:creationId xmlns:a16="http://schemas.microsoft.com/office/drawing/2014/main" id="{5EDAA7DF-840B-E720-10F3-072CAB5A2185}"/>
              </a:ext>
            </a:extLst>
          </p:cNvPr>
          <p:cNvSpPr>
            <a:spLocks noGrp="1"/>
          </p:cNvSpPr>
          <p:nvPr>
            <p:ph sz="half" idx="1"/>
          </p:nvPr>
        </p:nvSpPr>
        <p:spPr>
          <a:xfrm>
            <a:off x="685800" y="957580"/>
            <a:ext cx="7246620" cy="1477010"/>
          </a:xfrm>
        </p:spPr>
        <p:txBody>
          <a:bodyPr/>
          <a:lstStyle/>
          <a:p>
            <a:pPr marL="0" indent="0">
              <a:buNone/>
            </a:pPr>
            <a:r>
              <a:rPr lang="en-US" sz="2200" dirty="0">
                <a:solidFill>
                  <a:srgbClr val="002E51"/>
                </a:solidFill>
              </a:rPr>
              <a:t>Indications for treatment:</a:t>
            </a:r>
          </a:p>
          <a:p>
            <a:pPr marL="0" indent="0">
              <a:buNone/>
            </a:pPr>
            <a:r>
              <a:rPr lang="en-US" sz="2200" dirty="0">
                <a:solidFill>
                  <a:srgbClr val="002E51"/>
                </a:solidFill>
              </a:rPr>
              <a:t>Hgb &lt;10 g/dL, symptomatic +/- transfusion dependent</a:t>
            </a:r>
          </a:p>
        </p:txBody>
      </p:sp>
      <p:sp>
        <p:nvSpPr>
          <p:cNvPr id="7" name="Content Placeholder 6">
            <a:extLst>
              <a:ext uri="{FF2B5EF4-FFF2-40B4-BE49-F238E27FC236}">
                <a16:creationId xmlns:a16="http://schemas.microsoft.com/office/drawing/2014/main" id="{49D4433D-F9A3-D10F-910F-D6C605B61E29}"/>
              </a:ext>
            </a:extLst>
          </p:cNvPr>
          <p:cNvSpPr txBox="1">
            <a:spLocks/>
          </p:cNvSpPr>
          <p:nvPr/>
        </p:nvSpPr>
        <p:spPr bwMode="auto">
          <a:xfrm>
            <a:off x="1577340" y="2134552"/>
            <a:ext cx="2343150" cy="1477010"/>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buFontTx/>
              <a:buNone/>
            </a:pPr>
            <a:r>
              <a:rPr lang="en-US" sz="2200" b="1" u="sng" kern="0" dirty="0">
                <a:solidFill>
                  <a:srgbClr val="002E51"/>
                </a:solidFill>
              </a:rPr>
              <a:t>1L</a:t>
            </a:r>
          </a:p>
          <a:p>
            <a:pPr marL="0" indent="0">
              <a:buFontTx/>
              <a:buNone/>
            </a:pPr>
            <a:r>
              <a:rPr lang="en-US" sz="2200" kern="0" dirty="0">
                <a:solidFill>
                  <a:srgbClr val="002E51"/>
                </a:solidFill>
              </a:rPr>
              <a:t>ESA</a:t>
            </a:r>
          </a:p>
          <a:p>
            <a:pPr marL="0" indent="0">
              <a:buFontTx/>
              <a:buNone/>
            </a:pPr>
            <a:r>
              <a:rPr lang="en-US" sz="2200" kern="0" dirty="0">
                <a:solidFill>
                  <a:srgbClr val="002E51"/>
                </a:solidFill>
              </a:rPr>
              <a:t>or</a:t>
            </a:r>
          </a:p>
          <a:p>
            <a:pPr marL="0" indent="0">
              <a:buFontTx/>
              <a:buNone/>
            </a:pPr>
            <a:r>
              <a:rPr lang="en-US" sz="2200" kern="0" dirty="0">
                <a:solidFill>
                  <a:srgbClr val="002E51"/>
                </a:solidFill>
              </a:rPr>
              <a:t>Luspatercept</a:t>
            </a:r>
          </a:p>
        </p:txBody>
      </p:sp>
      <p:sp>
        <p:nvSpPr>
          <p:cNvPr id="8" name="Content Placeholder 6">
            <a:extLst>
              <a:ext uri="{FF2B5EF4-FFF2-40B4-BE49-F238E27FC236}">
                <a16:creationId xmlns:a16="http://schemas.microsoft.com/office/drawing/2014/main" id="{4FF6F727-4586-64B1-C902-97145888033B}"/>
              </a:ext>
            </a:extLst>
          </p:cNvPr>
          <p:cNvSpPr txBox="1">
            <a:spLocks/>
          </p:cNvSpPr>
          <p:nvPr/>
        </p:nvSpPr>
        <p:spPr bwMode="auto">
          <a:xfrm>
            <a:off x="5634990" y="2134552"/>
            <a:ext cx="3409950" cy="1477010"/>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buFontTx/>
              <a:buNone/>
            </a:pPr>
            <a:r>
              <a:rPr lang="en-US" sz="2200" b="1" u="sng" kern="0" dirty="0">
                <a:solidFill>
                  <a:srgbClr val="002E51"/>
                </a:solidFill>
              </a:rPr>
              <a:t>2L</a:t>
            </a:r>
          </a:p>
          <a:p>
            <a:pPr marL="0" indent="0">
              <a:buFontTx/>
              <a:buNone/>
            </a:pPr>
            <a:r>
              <a:rPr lang="en-US" sz="2200" kern="0" dirty="0">
                <a:solidFill>
                  <a:srgbClr val="002E51"/>
                </a:solidFill>
              </a:rPr>
              <a:t>Lenalidomide</a:t>
            </a:r>
          </a:p>
          <a:p>
            <a:pPr marL="0" indent="0">
              <a:buFontTx/>
              <a:buNone/>
            </a:pPr>
            <a:r>
              <a:rPr lang="en-US" sz="2200" kern="0" dirty="0">
                <a:solidFill>
                  <a:srgbClr val="002E51"/>
                </a:solidFill>
              </a:rPr>
              <a:t>or </a:t>
            </a:r>
          </a:p>
          <a:p>
            <a:pPr marL="0" indent="0">
              <a:buFontTx/>
              <a:buNone/>
            </a:pPr>
            <a:r>
              <a:rPr lang="en-US" sz="2200" kern="0" dirty="0">
                <a:solidFill>
                  <a:srgbClr val="002E51"/>
                </a:solidFill>
              </a:rPr>
              <a:t>Clinical trial</a:t>
            </a:r>
          </a:p>
        </p:txBody>
      </p:sp>
      <p:cxnSp>
        <p:nvCxnSpPr>
          <p:cNvPr id="10" name="Straight Arrow Connector 9">
            <a:extLst>
              <a:ext uri="{FF2B5EF4-FFF2-40B4-BE49-F238E27FC236}">
                <a16:creationId xmlns:a16="http://schemas.microsoft.com/office/drawing/2014/main" id="{CD21849A-03EE-F341-13BC-6B81953AD6C4}"/>
              </a:ext>
            </a:extLst>
          </p:cNvPr>
          <p:cNvCxnSpPr/>
          <p:nvPr/>
        </p:nvCxnSpPr>
        <p:spPr bwMode="auto">
          <a:xfrm>
            <a:off x="3520440" y="2583180"/>
            <a:ext cx="1783080" cy="0"/>
          </a:xfrm>
          <a:prstGeom prst="straightConnector1">
            <a:avLst/>
          </a:prstGeom>
          <a:solidFill>
            <a:schemeClr val="accent1"/>
          </a:solidFill>
          <a:ln w="28575" cap="flat" cmpd="sng" algn="ctr">
            <a:solidFill>
              <a:srgbClr val="0070C0"/>
            </a:solidFill>
            <a:prstDash val="solid"/>
            <a:round/>
            <a:headEnd type="none" w="med" len="med"/>
            <a:tailEnd type="triangle"/>
          </a:ln>
          <a:effectLst/>
        </p:spPr>
      </p:cxnSp>
      <p:sp>
        <p:nvSpPr>
          <p:cNvPr id="11" name="Content Placeholder 6">
            <a:extLst>
              <a:ext uri="{FF2B5EF4-FFF2-40B4-BE49-F238E27FC236}">
                <a16:creationId xmlns:a16="http://schemas.microsoft.com/office/drawing/2014/main" id="{815741A4-7341-FBE1-EC8F-FDBAF505B3F4}"/>
              </a:ext>
            </a:extLst>
          </p:cNvPr>
          <p:cNvSpPr txBox="1">
            <a:spLocks/>
          </p:cNvSpPr>
          <p:nvPr/>
        </p:nvSpPr>
        <p:spPr bwMode="auto">
          <a:xfrm>
            <a:off x="3478530" y="2618422"/>
            <a:ext cx="2343150" cy="1477010"/>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buFontTx/>
              <a:buNone/>
            </a:pPr>
            <a:r>
              <a:rPr lang="en-US" sz="1800" kern="0" dirty="0">
                <a:solidFill>
                  <a:srgbClr val="0070C0"/>
                </a:solidFill>
              </a:rPr>
              <a:t>No response</a:t>
            </a:r>
          </a:p>
          <a:p>
            <a:pPr marL="0" indent="0">
              <a:buFontTx/>
              <a:buNone/>
            </a:pPr>
            <a:r>
              <a:rPr lang="en-US" sz="1800" kern="0" dirty="0">
                <a:solidFill>
                  <a:srgbClr val="0070C0"/>
                </a:solidFill>
              </a:rPr>
              <a:t>Loss of response</a:t>
            </a:r>
          </a:p>
          <a:p>
            <a:pPr marL="0" indent="0">
              <a:buFontTx/>
              <a:buNone/>
            </a:pPr>
            <a:r>
              <a:rPr lang="en-US" sz="1800" kern="0" dirty="0">
                <a:solidFill>
                  <a:srgbClr val="0070C0"/>
                </a:solidFill>
              </a:rPr>
              <a:t>del(5q)</a:t>
            </a:r>
          </a:p>
        </p:txBody>
      </p:sp>
      <p:sp>
        <p:nvSpPr>
          <p:cNvPr id="12" name="Content Placeholder 6">
            <a:extLst>
              <a:ext uri="{FF2B5EF4-FFF2-40B4-BE49-F238E27FC236}">
                <a16:creationId xmlns:a16="http://schemas.microsoft.com/office/drawing/2014/main" id="{15AEC943-D8AC-E198-AE94-C7FD80F9EF02}"/>
              </a:ext>
            </a:extLst>
          </p:cNvPr>
          <p:cNvSpPr txBox="1">
            <a:spLocks/>
          </p:cNvSpPr>
          <p:nvPr/>
        </p:nvSpPr>
        <p:spPr bwMode="auto">
          <a:xfrm>
            <a:off x="5090160" y="625158"/>
            <a:ext cx="2190750" cy="524510"/>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buFontTx/>
              <a:buNone/>
            </a:pPr>
            <a:r>
              <a:rPr lang="en-US" sz="1800" kern="0" dirty="0">
                <a:solidFill>
                  <a:srgbClr val="002E51"/>
                </a:solidFill>
              </a:rPr>
              <a:t>IPSS-R ≤ 3.5</a:t>
            </a:r>
          </a:p>
        </p:txBody>
      </p:sp>
      <p:sp>
        <p:nvSpPr>
          <p:cNvPr id="3" name="Oval 2">
            <a:extLst>
              <a:ext uri="{FF2B5EF4-FFF2-40B4-BE49-F238E27FC236}">
                <a16:creationId xmlns:a16="http://schemas.microsoft.com/office/drawing/2014/main" id="{12E147FD-DF1E-666E-A750-74088431B7AA}"/>
              </a:ext>
            </a:extLst>
          </p:cNvPr>
          <p:cNvSpPr/>
          <p:nvPr/>
        </p:nvSpPr>
        <p:spPr bwMode="auto">
          <a:xfrm>
            <a:off x="1197084" y="1903743"/>
            <a:ext cx="2382990" cy="2300509"/>
          </a:xfrm>
          <a:prstGeom prst="ellipse">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234789967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8F9045-C231-2C06-2DC7-2F44C056BF3F}"/>
            </a:ext>
          </a:extLst>
        </p:cNvPr>
        <p:cNvGrpSpPr/>
        <p:nvPr/>
      </p:nvGrpSpPr>
      <p:grpSpPr>
        <a:xfrm>
          <a:off x="0" y="0"/>
          <a:ext cx="0" cy="0"/>
          <a:chOff x="0" y="0"/>
          <a:chExt cx="0" cy="0"/>
        </a:xfrm>
      </p:grpSpPr>
      <p:sp>
        <p:nvSpPr>
          <p:cNvPr id="2" name="Subtitle 1">
            <a:extLst>
              <a:ext uri="{FF2B5EF4-FFF2-40B4-BE49-F238E27FC236}">
                <a16:creationId xmlns:a16="http://schemas.microsoft.com/office/drawing/2014/main" id="{5D1B5137-9DFD-F9FC-6AE0-AC4589D00674}"/>
              </a:ext>
            </a:extLst>
          </p:cNvPr>
          <p:cNvSpPr>
            <a:spLocks noGrp="1"/>
          </p:cNvSpPr>
          <p:nvPr>
            <p:ph type="subTitle" idx="1"/>
          </p:nvPr>
        </p:nvSpPr>
        <p:spPr>
          <a:xfrm>
            <a:off x="288234" y="1168401"/>
            <a:ext cx="8386209" cy="2915920"/>
          </a:xfrm>
        </p:spPr>
        <p:txBody>
          <a:bodyPr/>
          <a:lstStyle/>
          <a:p>
            <a:pPr marL="180975" indent="-180975" algn="l">
              <a:buFont typeface="Arial" panose="020B0604020202020204" pitchFamily="34" charset="0"/>
              <a:buChar char="•"/>
            </a:pPr>
            <a:r>
              <a:rPr lang="en-US" sz="2200" dirty="0">
                <a:solidFill>
                  <a:srgbClr val="002E51"/>
                </a:solidFill>
              </a:rPr>
              <a:t>Transfusion dependent</a:t>
            </a:r>
          </a:p>
          <a:p>
            <a:pPr marL="180975" indent="-180975" algn="l">
              <a:buFont typeface="Arial" panose="020B0604020202020204" pitchFamily="34" charset="0"/>
              <a:buChar char="•"/>
            </a:pPr>
            <a:r>
              <a:rPr lang="en-US" sz="2200" dirty="0">
                <a:solidFill>
                  <a:srgbClr val="002E51"/>
                </a:solidFill>
              </a:rPr>
              <a:t>Serum EPO ≥ 200 U/L</a:t>
            </a:r>
          </a:p>
          <a:p>
            <a:pPr marL="180975" indent="-180975" algn="l">
              <a:buFont typeface="Arial" panose="020B0604020202020204" pitchFamily="34" charset="0"/>
              <a:buChar char="•"/>
            </a:pPr>
            <a:r>
              <a:rPr lang="en-US" sz="2200" dirty="0">
                <a:solidFill>
                  <a:srgbClr val="002E51"/>
                </a:solidFill>
              </a:rPr>
              <a:t>Ring sideroblasts (short response duration)</a:t>
            </a:r>
          </a:p>
          <a:p>
            <a:pPr marL="180975" indent="-180975" algn="l">
              <a:buFont typeface="Arial" panose="020B0604020202020204" pitchFamily="34" charset="0"/>
              <a:buChar char="•"/>
            </a:pPr>
            <a:endParaRPr lang="en-US" sz="2200" dirty="0">
              <a:solidFill>
                <a:srgbClr val="002E51"/>
              </a:solidFill>
            </a:endParaRPr>
          </a:p>
        </p:txBody>
      </p:sp>
      <p:sp>
        <p:nvSpPr>
          <p:cNvPr id="4" name="Title 3">
            <a:extLst>
              <a:ext uri="{FF2B5EF4-FFF2-40B4-BE49-F238E27FC236}">
                <a16:creationId xmlns:a16="http://schemas.microsoft.com/office/drawing/2014/main" id="{FCB926EE-D1C6-5958-37A6-D742AD035168}"/>
              </a:ext>
            </a:extLst>
          </p:cNvPr>
          <p:cNvSpPr>
            <a:spLocks noGrp="1"/>
          </p:cNvSpPr>
          <p:nvPr>
            <p:ph type="title"/>
          </p:nvPr>
        </p:nvSpPr>
        <p:spPr>
          <a:xfrm>
            <a:off x="0" y="127465"/>
            <a:ext cx="9144000" cy="807256"/>
          </a:xfrm>
        </p:spPr>
        <p:txBody>
          <a:bodyPr/>
          <a:lstStyle/>
          <a:p>
            <a:r>
              <a:rPr lang="en-US" sz="3200" b="1" dirty="0"/>
              <a:t>Who is unlikely to respond to ESAs?</a:t>
            </a:r>
          </a:p>
        </p:txBody>
      </p:sp>
      <p:sp>
        <p:nvSpPr>
          <p:cNvPr id="3" name="Content Placeholder 6">
            <a:extLst>
              <a:ext uri="{FF2B5EF4-FFF2-40B4-BE49-F238E27FC236}">
                <a16:creationId xmlns:a16="http://schemas.microsoft.com/office/drawing/2014/main" id="{A9EF096F-1A2B-6DBC-5652-7BA118E9BFD9}"/>
              </a:ext>
            </a:extLst>
          </p:cNvPr>
          <p:cNvSpPr txBox="1">
            <a:spLocks/>
          </p:cNvSpPr>
          <p:nvPr/>
        </p:nvSpPr>
        <p:spPr bwMode="auto">
          <a:xfrm>
            <a:off x="5970270" y="4112896"/>
            <a:ext cx="3185160" cy="524510"/>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r">
              <a:buFontTx/>
              <a:buNone/>
            </a:pPr>
            <a:r>
              <a:rPr lang="en-US" sz="1200" kern="0" dirty="0" err="1">
                <a:solidFill>
                  <a:srgbClr val="002E51"/>
                </a:solidFill>
              </a:rPr>
              <a:t>Fenaux</a:t>
            </a:r>
            <a:r>
              <a:rPr lang="en-US" sz="1200" kern="0" dirty="0">
                <a:solidFill>
                  <a:srgbClr val="002E51"/>
                </a:solidFill>
              </a:rPr>
              <a:t> et al, NEJM 2020;382:140</a:t>
            </a:r>
          </a:p>
        </p:txBody>
      </p:sp>
    </p:spTree>
    <p:extLst>
      <p:ext uri="{BB962C8B-B14F-4D97-AF65-F5344CB8AC3E}">
        <p14:creationId xmlns:p14="http://schemas.microsoft.com/office/powerpoint/2010/main" val="24255211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87EEFA-C7FE-7FFB-734D-371DB4CE5B0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A3ED8D5-67D5-5ADE-BDBF-D3E17BF6B14F}"/>
              </a:ext>
            </a:extLst>
          </p:cNvPr>
          <p:cNvSpPr>
            <a:spLocks noGrp="1"/>
          </p:cNvSpPr>
          <p:nvPr>
            <p:ph type="title"/>
          </p:nvPr>
        </p:nvSpPr>
        <p:spPr>
          <a:xfrm>
            <a:off x="0" y="127465"/>
            <a:ext cx="9144000" cy="807256"/>
          </a:xfrm>
        </p:spPr>
        <p:txBody>
          <a:bodyPr/>
          <a:lstStyle/>
          <a:p>
            <a:r>
              <a:rPr lang="en-US" sz="3200" b="1" dirty="0"/>
              <a:t>Luspatercept</a:t>
            </a:r>
          </a:p>
        </p:txBody>
      </p:sp>
      <p:sp>
        <p:nvSpPr>
          <p:cNvPr id="3" name="Content Placeholder 6">
            <a:extLst>
              <a:ext uri="{FF2B5EF4-FFF2-40B4-BE49-F238E27FC236}">
                <a16:creationId xmlns:a16="http://schemas.microsoft.com/office/drawing/2014/main" id="{F0B3387F-1831-55BF-888E-35840DF0B654}"/>
              </a:ext>
            </a:extLst>
          </p:cNvPr>
          <p:cNvSpPr txBox="1">
            <a:spLocks/>
          </p:cNvSpPr>
          <p:nvPr/>
        </p:nvSpPr>
        <p:spPr bwMode="auto">
          <a:xfrm>
            <a:off x="4983480" y="4107685"/>
            <a:ext cx="4171950" cy="524510"/>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r">
              <a:buFontTx/>
              <a:buNone/>
            </a:pPr>
            <a:r>
              <a:rPr lang="en-US" sz="1200" kern="0" dirty="0">
                <a:solidFill>
                  <a:srgbClr val="002E51"/>
                </a:solidFill>
              </a:rPr>
              <a:t>Garcia-</a:t>
            </a:r>
            <a:r>
              <a:rPr lang="en-US" sz="1200" kern="0" dirty="0" err="1">
                <a:solidFill>
                  <a:srgbClr val="002E51"/>
                </a:solidFill>
              </a:rPr>
              <a:t>Manero</a:t>
            </a:r>
            <a:r>
              <a:rPr lang="en-US" sz="1200" kern="0" dirty="0">
                <a:solidFill>
                  <a:srgbClr val="002E51"/>
                </a:solidFill>
              </a:rPr>
              <a:t> et al, ASH 2023, abstract 193</a:t>
            </a:r>
          </a:p>
        </p:txBody>
      </p:sp>
      <p:sp>
        <p:nvSpPr>
          <p:cNvPr id="7" name="Subtitle 1">
            <a:extLst>
              <a:ext uri="{FF2B5EF4-FFF2-40B4-BE49-F238E27FC236}">
                <a16:creationId xmlns:a16="http://schemas.microsoft.com/office/drawing/2014/main" id="{B3FB01D6-6B31-3DC2-8B8C-A3E2E6A192B8}"/>
              </a:ext>
            </a:extLst>
          </p:cNvPr>
          <p:cNvSpPr txBox="1">
            <a:spLocks/>
          </p:cNvSpPr>
          <p:nvPr/>
        </p:nvSpPr>
        <p:spPr bwMode="auto">
          <a:xfrm>
            <a:off x="296806" y="909322"/>
            <a:ext cx="4444162" cy="2915920"/>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eaLnBrk="1" fontAlgn="base" hangingPunct="1">
              <a:spcBef>
                <a:spcPct val="20000"/>
              </a:spcBef>
              <a:spcAft>
                <a:spcPct val="0"/>
              </a:spcAft>
              <a:buNone/>
              <a:defRPr sz="2400">
                <a:solidFill>
                  <a:schemeClr val="tx1"/>
                </a:solidFill>
                <a:latin typeface="+mn-lt"/>
                <a:ea typeface="+mn-ea"/>
                <a:cs typeface="+mn-cs"/>
              </a:defRPr>
            </a:lvl1pPr>
            <a:lvl2pPr marL="457200" indent="0" algn="ctr" rtl="0" eaLnBrk="1" fontAlgn="base" hangingPunct="1">
              <a:spcBef>
                <a:spcPct val="20000"/>
              </a:spcBef>
              <a:spcAft>
                <a:spcPct val="0"/>
              </a:spcAft>
              <a:buNone/>
              <a:defRPr sz="2000">
                <a:solidFill>
                  <a:schemeClr val="tx1"/>
                </a:solidFill>
                <a:latin typeface="+mn-lt"/>
                <a:ea typeface="+mn-ea"/>
              </a:defRPr>
            </a:lvl2pPr>
            <a:lvl3pPr marL="914400" indent="0" algn="ctr" rtl="0" eaLnBrk="1" fontAlgn="base" hangingPunct="1">
              <a:spcBef>
                <a:spcPct val="20000"/>
              </a:spcBef>
              <a:spcAft>
                <a:spcPct val="0"/>
              </a:spcAft>
              <a:buNone/>
              <a:defRPr>
                <a:solidFill>
                  <a:schemeClr val="tx1"/>
                </a:solidFill>
                <a:latin typeface="+mn-lt"/>
                <a:ea typeface="+mn-ea"/>
              </a:defRPr>
            </a:lvl3pPr>
            <a:lvl4pPr marL="1371600" indent="0" algn="ctr" rtl="0" eaLnBrk="1" fontAlgn="base" hangingPunct="1">
              <a:spcBef>
                <a:spcPct val="20000"/>
              </a:spcBef>
              <a:spcAft>
                <a:spcPct val="0"/>
              </a:spcAft>
              <a:buNone/>
              <a:defRPr sz="2000">
                <a:solidFill>
                  <a:schemeClr val="tx1"/>
                </a:solidFill>
                <a:latin typeface="+mn-lt"/>
                <a:ea typeface="+mn-ea"/>
              </a:defRPr>
            </a:lvl4pPr>
            <a:lvl5pPr marL="1828800" indent="0" algn="ctr" rtl="0" eaLnBrk="1" fontAlgn="base" hangingPunct="1">
              <a:spcBef>
                <a:spcPct val="20000"/>
              </a:spcBef>
              <a:spcAft>
                <a:spcPct val="0"/>
              </a:spcAft>
              <a:buNone/>
              <a:defRPr sz="2000">
                <a:solidFill>
                  <a:schemeClr val="tx1"/>
                </a:solidFill>
                <a:latin typeface="+mn-lt"/>
                <a:ea typeface="+mn-ea"/>
              </a:defRPr>
            </a:lvl5pPr>
            <a:lvl6pPr marL="2286000" indent="0" algn="ctr" rtl="0" eaLnBrk="1" fontAlgn="base" hangingPunct="1">
              <a:spcBef>
                <a:spcPct val="20000"/>
              </a:spcBef>
              <a:spcAft>
                <a:spcPct val="0"/>
              </a:spcAft>
              <a:buNone/>
              <a:defRPr sz="2000">
                <a:solidFill>
                  <a:schemeClr val="tx1"/>
                </a:solidFill>
                <a:latin typeface="+mn-lt"/>
                <a:ea typeface="+mn-ea"/>
              </a:defRPr>
            </a:lvl6pPr>
            <a:lvl7pPr marL="2743200" indent="0" algn="ctr" rtl="0" eaLnBrk="1" fontAlgn="base" hangingPunct="1">
              <a:spcBef>
                <a:spcPct val="20000"/>
              </a:spcBef>
              <a:spcAft>
                <a:spcPct val="0"/>
              </a:spcAft>
              <a:buNone/>
              <a:defRPr sz="2000">
                <a:solidFill>
                  <a:schemeClr val="tx1"/>
                </a:solidFill>
                <a:latin typeface="+mn-lt"/>
                <a:ea typeface="+mn-ea"/>
              </a:defRPr>
            </a:lvl7pPr>
            <a:lvl8pPr marL="3200400" indent="0" algn="ctr" rtl="0" eaLnBrk="1" fontAlgn="base" hangingPunct="1">
              <a:spcBef>
                <a:spcPct val="20000"/>
              </a:spcBef>
              <a:spcAft>
                <a:spcPct val="0"/>
              </a:spcAft>
              <a:buNone/>
              <a:defRPr sz="2000">
                <a:solidFill>
                  <a:schemeClr val="tx1"/>
                </a:solidFill>
                <a:latin typeface="+mn-lt"/>
                <a:ea typeface="+mn-ea"/>
              </a:defRPr>
            </a:lvl8pPr>
            <a:lvl9pPr marL="3657600" indent="0" algn="ctr" rtl="0" eaLnBrk="1" fontAlgn="base" hangingPunct="1">
              <a:spcBef>
                <a:spcPct val="20000"/>
              </a:spcBef>
              <a:spcAft>
                <a:spcPct val="0"/>
              </a:spcAft>
              <a:buNone/>
              <a:defRPr sz="2000">
                <a:solidFill>
                  <a:schemeClr val="tx1"/>
                </a:solidFill>
                <a:latin typeface="+mn-lt"/>
                <a:ea typeface="+mn-ea"/>
              </a:defRPr>
            </a:lvl9pPr>
          </a:lstStyle>
          <a:p>
            <a:pPr algn="l"/>
            <a:r>
              <a:rPr lang="en-US" sz="2200" b="1" kern="0" dirty="0">
                <a:solidFill>
                  <a:srgbClr val="002E51"/>
                </a:solidFill>
              </a:rPr>
              <a:t>COMMANDS Trial</a:t>
            </a:r>
            <a:r>
              <a:rPr lang="en-US" sz="2200" kern="0" dirty="0">
                <a:solidFill>
                  <a:srgbClr val="002E51"/>
                </a:solidFill>
              </a:rPr>
              <a:t>: phase 3 RCT of frontline luspatercept vs. ESA in transfusion dependent low risk MDS (with or without RS)</a:t>
            </a:r>
          </a:p>
          <a:p>
            <a:pPr algn="l"/>
            <a:endParaRPr lang="en-US" sz="1200" kern="0" dirty="0">
              <a:solidFill>
                <a:srgbClr val="002E51"/>
              </a:solidFill>
            </a:endParaRPr>
          </a:p>
          <a:p>
            <a:pPr marL="236538" indent="-236538" algn="l">
              <a:buFont typeface="Arial" panose="020B0604020202020204" pitchFamily="34" charset="0"/>
              <a:buChar char="•"/>
            </a:pPr>
            <a:r>
              <a:rPr lang="en-US" sz="2200" kern="0" dirty="0">
                <a:solidFill>
                  <a:srgbClr val="002E51"/>
                </a:solidFill>
              </a:rPr>
              <a:t>Transfusion independence </a:t>
            </a:r>
            <a:r>
              <a:rPr lang="en-US" sz="2200" dirty="0">
                <a:solidFill>
                  <a:srgbClr val="002E51"/>
                </a:solidFill>
              </a:rPr>
              <a:t>+ mean </a:t>
            </a:r>
            <a:r>
              <a:rPr lang="en-US" sz="2200" dirty="0" err="1">
                <a:solidFill>
                  <a:srgbClr val="002E51"/>
                </a:solidFill>
              </a:rPr>
              <a:t>hgb</a:t>
            </a:r>
            <a:r>
              <a:rPr lang="en-US" sz="2200" dirty="0">
                <a:solidFill>
                  <a:srgbClr val="002E51"/>
                </a:solidFill>
              </a:rPr>
              <a:t> increase ≥1.5 g/dL</a:t>
            </a:r>
            <a:r>
              <a:rPr lang="en-US" sz="2200" kern="0" dirty="0">
                <a:solidFill>
                  <a:srgbClr val="002E51"/>
                </a:solidFill>
              </a:rPr>
              <a:t>: </a:t>
            </a:r>
            <a:r>
              <a:rPr lang="en-US" sz="2200" b="1" kern="0" dirty="0">
                <a:solidFill>
                  <a:srgbClr val="002E51"/>
                </a:solidFill>
              </a:rPr>
              <a:t>60% luspatercept </a:t>
            </a:r>
            <a:r>
              <a:rPr lang="en-US" sz="2200" kern="0" dirty="0">
                <a:solidFill>
                  <a:srgbClr val="002E51"/>
                </a:solidFill>
              </a:rPr>
              <a:t>vs. 35% ESA</a:t>
            </a:r>
          </a:p>
          <a:p>
            <a:pPr marL="463550" lvl="1" indent="-227013" algn="l">
              <a:buFont typeface="Arial" panose="020B0604020202020204" pitchFamily="34" charset="0"/>
              <a:buChar char="•"/>
            </a:pPr>
            <a:endParaRPr lang="en-US" sz="2200" kern="0" dirty="0">
              <a:solidFill>
                <a:srgbClr val="002E51"/>
              </a:solidFill>
            </a:endParaRPr>
          </a:p>
        </p:txBody>
      </p:sp>
      <p:pic>
        <p:nvPicPr>
          <p:cNvPr id="11" name="Picture 10" descr="A graph of a number of patients with a number of patients with a number of patients with a number of patients with a number of patients with a number of patients with a number of patients with a&#10;&#10;Description automatically generated">
            <a:extLst>
              <a:ext uri="{FF2B5EF4-FFF2-40B4-BE49-F238E27FC236}">
                <a16:creationId xmlns:a16="http://schemas.microsoft.com/office/drawing/2014/main" id="{16D5B5D2-D55A-F5F7-9EBA-05212D06058D}"/>
              </a:ext>
            </a:extLst>
          </p:cNvPr>
          <p:cNvPicPr>
            <a:picLocks noChangeAspect="1"/>
          </p:cNvPicPr>
          <p:nvPr/>
        </p:nvPicPr>
        <p:blipFill rotWithShape="1">
          <a:blip r:embed="rId3"/>
          <a:srcRect t="17867"/>
          <a:stretch/>
        </p:blipFill>
        <p:spPr>
          <a:xfrm>
            <a:off x="4651512" y="1163857"/>
            <a:ext cx="4323933" cy="2570815"/>
          </a:xfrm>
          <a:prstGeom prst="rect">
            <a:avLst/>
          </a:prstGeom>
        </p:spPr>
      </p:pic>
      <p:sp>
        <p:nvSpPr>
          <p:cNvPr id="14" name="Rectangle 13">
            <a:extLst>
              <a:ext uri="{FF2B5EF4-FFF2-40B4-BE49-F238E27FC236}">
                <a16:creationId xmlns:a16="http://schemas.microsoft.com/office/drawing/2014/main" id="{09E05276-F2D5-A7F2-7CCE-904B2C23A964}"/>
              </a:ext>
            </a:extLst>
          </p:cNvPr>
          <p:cNvSpPr/>
          <p:nvPr/>
        </p:nvSpPr>
        <p:spPr bwMode="auto">
          <a:xfrm>
            <a:off x="4972038" y="1317452"/>
            <a:ext cx="131141" cy="18878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pic>
        <p:nvPicPr>
          <p:cNvPr id="10" name="Picture 9" descr="A graph of a number of patients with a number of patients with a number of patients with a number of patients with a number of patients with a number of patients with a number of patients with a&#10;&#10;Description automatically generated">
            <a:extLst>
              <a:ext uri="{FF2B5EF4-FFF2-40B4-BE49-F238E27FC236}">
                <a16:creationId xmlns:a16="http://schemas.microsoft.com/office/drawing/2014/main" id="{58683DE4-1148-A5CA-7E45-901A6EA871F9}"/>
              </a:ext>
            </a:extLst>
          </p:cNvPr>
          <p:cNvPicPr>
            <a:picLocks noChangeAspect="1"/>
          </p:cNvPicPr>
          <p:nvPr/>
        </p:nvPicPr>
        <p:blipFill rotWithShape="1">
          <a:blip r:embed="rId3"/>
          <a:srcRect l="14787" t="-1767" r="37547" b="94967"/>
          <a:stretch/>
        </p:blipFill>
        <p:spPr>
          <a:xfrm>
            <a:off x="5236044" y="887696"/>
            <a:ext cx="3014083" cy="282444"/>
          </a:xfrm>
          <a:prstGeom prst="rect">
            <a:avLst/>
          </a:prstGeom>
        </p:spPr>
      </p:pic>
      <p:sp>
        <p:nvSpPr>
          <p:cNvPr id="2" name="TextBox 1">
            <a:extLst>
              <a:ext uri="{FF2B5EF4-FFF2-40B4-BE49-F238E27FC236}">
                <a16:creationId xmlns:a16="http://schemas.microsoft.com/office/drawing/2014/main" id="{C68CEB88-B7D4-B8E0-5D32-DBFCB9FAB0F6}"/>
              </a:ext>
            </a:extLst>
          </p:cNvPr>
          <p:cNvSpPr txBox="1"/>
          <p:nvPr/>
        </p:nvSpPr>
        <p:spPr>
          <a:xfrm>
            <a:off x="7414327" y="1543153"/>
            <a:ext cx="1163143" cy="461665"/>
          </a:xfrm>
          <a:prstGeom prst="rect">
            <a:avLst/>
          </a:prstGeom>
          <a:noFill/>
        </p:spPr>
        <p:txBody>
          <a:bodyPr wrap="square" rtlCol="0">
            <a:spAutoFit/>
          </a:bodyPr>
          <a:lstStyle/>
          <a:p>
            <a:r>
              <a:rPr lang="en-US" sz="1200" dirty="0">
                <a:solidFill>
                  <a:srgbClr val="980405"/>
                </a:solidFill>
              </a:rPr>
              <a:t>Luspatercept: 128 weeks</a:t>
            </a:r>
          </a:p>
        </p:txBody>
      </p:sp>
      <p:sp>
        <p:nvSpPr>
          <p:cNvPr id="5" name="TextBox 4">
            <a:extLst>
              <a:ext uri="{FF2B5EF4-FFF2-40B4-BE49-F238E27FC236}">
                <a16:creationId xmlns:a16="http://schemas.microsoft.com/office/drawing/2014/main" id="{B4001825-C368-B70B-A119-221EF3AC9026}"/>
              </a:ext>
            </a:extLst>
          </p:cNvPr>
          <p:cNvSpPr txBox="1"/>
          <p:nvPr/>
        </p:nvSpPr>
        <p:spPr>
          <a:xfrm>
            <a:off x="5853209" y="1905617"/>
            <a:ext cx="1163143" cy="461665"/>
          </a:xfrm>
          <a:prstGeom prst="rect">
            <a:avLst/>
          </a:prstGeom>
          <a:noFill/>
        </p:spPr>
        <p:txBody>
          <a:bodyPr wrap="square" rtlCol="0">
            <a:spAutoFit/>
          </a:bodyPr>
          <a:lstStyle/>
          <a:p>
            <a:r>
              <a:rPr lang="en-US" sz="1200" dirty="0">
                <a:solidFill>
                  <a:srgbClr val="007DDB"/>
                </a:solidFill>
              </a:rPr>
              <a:t>Epoetin alfa: 90 weeks</a:t>
            </a:r>
          </a:p>
        </p:txBody>
      </p:sp>
    </p:spTree>
    <p:extLst>
      <p:ext uri="{BB962C8B-B14F-4D97-AF65-F5344CB8AC3E}">
        <p14:creationId xmlns:p14="http://schemas.microsoft.com/office/powerpoint/2010/main" val="349165850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6D66EF-7BE0-F70F-2826-A83F7FEAE7B2}"/>
            </a:ext>
          </a:extLst>
        </p:cNvPr>
        <p:cNvGrpSpPr/>
        <p:nvPr/>
      </p:nvGrpSpPr>
      <p:grpSpPr>
        <a:xfrm>
          <a:off x="0" y="0"/>
          <a:ext cx="0" cy="0"/>
          <a:chOff x="0" y="0"/>
          <a:chExt cx="0" cy="0"/>
        </a:xfrm>
      </p:grpSpPr>
      <p:sp>
        <p:nvSpPr>
          <p:cNvPr id="2" name="Subtitle 1">
            <a:extLst>
              <a:ext uri="{FF2B5EF4-FFF2-40B4-BE49-F238E27FC236}">
                <a16:creationId xmlns:a16="http://schemas.microsoft.com/office/drawing/2014/main" id="{55686E97-2C3B-203D-8EB5-6158EA6A5206}"/>
              </a:ext>
            </a:extLst>
          </p:cNvPr>
          <p:cNvSpPr>
            <a:spLocks noGrp="1"/>
          </p:cNvSpPr>
          <p:nvPr>
            <p:ph type="subTitle" idx="1"/>
          </p:nvPr>
        </p:nvSpPr>
        <p:spPr>
          <a:xfrm>
            <a:off x="288234" y="985521"/>
            <a:ext cx="8386209" cy="2915920"/>
          </a:xfrm>
        </p:spPr>
        <p:txBody>
          <a:bodyPr/>
          <a:lstStyle/>
          <a:p>
            <a:pPr marL="236538" indent="-236538" algn="l">
              <a:buFont typeface="Arial" panose="020B0604020202020204" pitchFamily="34" charset="0"/>
              <a:buChar char="•"/>
            </a:pPr>
            <a:r>
              <a:rPr lang="en-US" sz="2000" dirty="0">
                <a:solidFill>
                  <a:srgbClr val="002E51"/>
                </a:solidFill>
              </a:rPr>
              <a:t>All subgroups except RS-</a:t>
            </a:r>
          </a:p>
          <a:p>
            <a:pPr marL="236538" indent="-236538" algn="l">
              <a:buFont typeface="Arial" panose="020B0604020202020204" pitchFamily="34" charset="0"/>
              <a:buChar char="•"/>
            </a:pPr>
            <a:r>
              <a:rPr lang="en-US" sz="2000" dirty="0">
                <a:solidFill>
                  <a:srgbClr val="002E51"/>
                </a:solidFill>
              </a:rPr>
              <a:t>Highest response rates in </a:t>
            </a:r>
            <a:r>
              <a:rPr lang="en-US" sz="2000" i="1" dirty="0">
                <a:solidFill>
                  <a:srgbClr val="002E51"/>
                </a:solidFill>
              </a:rPr>
              <a:t>SF3B1</a:t>
            </a:r>
            <a:r>
              <a:rPr lang="en-US" sz="2000" dirty="0">
                <a:solidFill>
                  <a:srgbClr val="002E51"/>
                </a:solidFill>
              </a:rPr>
              <a:t> mutated, </a:t>
            </a:r>
            <a:r>
              <a:rPr lang="en-US" sz="2000" dirty="0" err="1">
                <a:solidFill>
                  <a:srgbClr val="002E51"/>
                </a:solidFill>
              </a:rPr>
              <a:t>sEPO</a:t>
            </a:r>
            <a:r>
              <a:rPr lang="en-US" sz="2000" dirty="0">
                <a:solidFill>
                  <a:srgbClr val="002E51"/>
                </a:solidFill>
              </a:rPr>
              <a:t> ≤200 U/L, RS+</a:t>
            </a:r>
          </a:p>
        </p:txBody>
      </p:sp>
      <p:sp>
        <p:nvSpPr>
          <p:cNvPr id="4" name="Title 3">
            <a:extLst>
              <a:ext uri="{FF2B5EF4-FFF2-40B4-BE49-F238E27FC236}">
                <a16:creationId xmlns:a16="http://schemas.microsoft.com/office/drawing/2014/main" id="{CEEC91BE-0A24-538A-9429-FB5604A00943}"/>
              </a:ext>
            </a:extLst>
          </p:cNvPr>
          <p:cNvSpPr>
            <a:spLocks noGrp="1"/>
          </p:cNvSpPr>
          <p:nvPr>
            <p:ph type="title"/>
          </p:nvPr>
        </p:nvSpPr>
        <p:spPr>
          <a:xfrm>
            <a:off x="0" y="127465"/>
            <a:ext cx="9144000" cy="807256"/>
          </a:xfrm>
        </p:spPr>
        <p:txBody>
          <a:bodyPr/>
          <a:lstStyle/>
          <a:p>
            <a:r>
              <a:rPr lang="en-US" sz="3200" b="1" dirty="0"/>
              <a:t>Who is likely to respond to luspatercept?</a:t>
            </a:r>
          </a:p>
        </p:txBody>
      </p:sp>
      <p:pic>
        <p:nvPicPr>
          <p:cNvPr id="5" name="Picture 4" descr="A table with numbers and percentages&#10;&#10;Description automatically generated">
            <a:extLst>
              <a:ext uri="{FF2B5EF4-FFF2-40B4-BE49-F238E27FC236}">
                <a16:creationId xmlns:a16="http://schemas.microsoft.com/office/drawing/2014/main" id="{9BA4423C-B047-07AC-4D9B-EEE7E7A2D234}"/>
              </a:ext>
            </a:extLst>
          </p:cNvPr>
          <p:cNvPicPr>
            <a:picLocks noChangeAspect="1"/>
          </p:cNvPicPr>
          <p:nvPr/>
        </p:nvPicPr>
        <p:blipFill>
          <a:blip r:embed="rId3"/>
          <a:stretch>
            <a:fillRect/>
          </a:stretch>
        </p:blipFill>
        <p:spPr>
          <a:xfrm>
            <a:off x="1365895" y="2124268"/>
            <a:ext cx="6412210" cy="1767144"/>
          </a:xfrm>
          <a:prstGeom prst="rect">
            <a:avLst/>
          </a:prstGeom>
        </p:spPr>
      </p:pic>
      <p:sp>
        <p:nvSpPr>
          <p:cNvPr id="10" name="Content Placeholder 6">
            <a:extLst>
              <a:ext uri="{FF2B5EF4-FFF2-40B4-BE49-F238E27FC236}">
                <a16:creationId xmlns:a16="http://schemas.microsoft.com/office/drawing/2014/main" id="{8E2AA4DD-6582-16F8-905A-C23EF26E1887}"/>
              </a:ext>
            </a:extLst>
          </p:cNvPr>
          <p:cNvSpPr txBox="1">
            <a:spLocks/>
          </p:cNvSpPr>
          <p:nvPr/>
        </p:nvSpPr>
        <p:spPr bwMode="auto">
          <a:xfrm>
            <a:off x="4983480" y="4107685"/>
            <a:ext cx="4171950" cy="524510"/>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r">
              <a:buFontTx/>
              <a:buNone/>
            </a:pPr>
            <a:r>
              <a:rPr lang="en-US" sz="1200" kern="0" dirty="0">
                <a:solidFill>
                  <a:srgbClr val="002E51"/>
                </a:solidFill>
              </a:rPr>
              <a:t>Garcia-</a:t>
            </a:r>
            <a:r>
              <a:rPr lang="en-US" sz="1200" kern="0" dirty="0" err="1">
                <a:solidFill>
                  <a:srgbClr val="002E51"/>
                </a:solidFill>
              </a:rPr>
              <a:t>Manero</a:t>
            </a:r>
            <a:r>
              <a:rPr lang="en-US" sz="1200" kern="0" dirty="0">
                <a:solidFill>
                  <a:srgbClr val="002E51"/>
                </a:solidFill>
              </a:rPr>
              <a:t> et al, ASH 2023, abstract 193</a:t>
            </a:r>
          </a:p>
        </p:txBody>
      </p:sp>
      <p:sp>
        <p:nvSpPr>
          <p:cNvPr id="11" name="Right Arrow 10">
            <a:extLst>
              <a:ext uri="{FF2B5EF4-FFF2-40B4-BE49-F238E27FC236}">
                <a16:creationId xmlns:a16="http://schemas.microsoft.com/office/drawing/2014/main" id="{7CB695D8-0225-83E2-A02C-1B0A0F8B5328}"/>
              </a:ext>
            </a:extLst>
          </p:cNvPr>
          <p:cNvSpPr/>
          <p:nvPr/>
        </p:nvSpPr>
        <p:spPr bwMode="auto">
          <a:xfrm>
            <a:off x="1203652" y="2658672"/>
            <a:ext cx="236891" cy="214604"/>
          </a:xfrm>
          <a:prstGeom prst="rightArrow">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12" name="Right Arrow 11">
            <a:extLst>
              <a:ext uri="{FF2B5EF4-FFF2-40B4-BE49-F238E27FC236}">
                <a16:creationId xmlns:a16="http://schemas.microsoft.com/office/drawing/2014/main" id="{DA96D835-CC96-4AAE-B91B-144CB9B8170A}"/>
              </a:ext>
            </a:extLst>
          </p:cNvPr>
          <p:cNvSpPr/>
          <p:nvPr/>
        </p:nvSpPr>
        <p:spPr bwMode="auto">
          <a:xfrm>
            <a:off x="1203652" y="3035008"/>
            <a:ext cx="236891" cy="214604"/>
          </a:xfrm>
          <a:prstGeom prst="rightArrow">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13" name="Right Arrow 12">
            <a:extLst>
              <a:ext uri="{FF2B5EF4-FFF2-40B4-BE49-F238E27FC236}">
                <a16:creationId xmlns:a16="http://schemas.microsoft.com/office/drawing/2014/main" id="{715793D9-990C-ECA8-2F59-A1A63E3740E5}"/>
              </a:ext>
            </a:extLst>
          </p:cNvPr>
          <p:cNvSpPr/>
          <p:nvPr/>
        </p:nvSpPr>
        <p:spPr bwMode="auto">
          <a:xfrm>
            <a:off x="1203652" y="3436225"/>
            <a:ext cx="236891" cy="214604"/>
          </a:xfrm>
          <a:prstGeom prst="rightArrow">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14" name="Subtitle 1">
            <a:extLst>
              <a:ext uri="{FF2B5EF4-FFF2-40B4-BE49-F238E27FC236}">
                <a16:creationId xmlns:a16="http://schemas.microsoft.com/office/drawing/2014/main" id="{09178AE5-EB39-A69D-A75B-C7BD6A0BC8B6}"/>
              </a:ext>
            </a:extLst>
          </p:cNvPr>
          <p:cNvSpPr txBox="1">
            <a:spLocks/>
          </p:cNvSpPr>
          <p:nvPr/>
        </p:nvSpPr>
        <p:spPr bwMode="auto">
          <a:xfrm>
            <a:off x="1386530" y="1939540"/>
            <a:ext cx="3992292" cy="282213"/>
          </a:xfrm>
          <a:prstGeom prst="rect">
            <a:avLst/>
          </a:prstGeom>
          <a:solidFill>
            <a:schemeClr val="bg1"/>
          </a:solid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eaLnBrk="1" fontAlgn="base" hangingPunct="1">
              <a:spcBef>
                <a:spcPct val="20000"/>
              </a:spcBef>
              <a:spcAft>
                <a:spcPct val="0"/>
              </a:spcAft>
              <a:buNone/>
              <a:defRPr sz="2400">
                <a:solidFill>
                  <a:schemeClr val="tx1"/>
                </a:solidFill>
                <a:latin typeface="+mn-lt"/>
                <a:ea typeface="+mn-ea"/>
                <a:cs typeface="+mn-cs"/>
              </a:defRPr>
            </a:lvl1pPr>
            <a:lvl2pPr marL="457200" indent="0" algn="ctr" rtl="0" eaLnBrk="1" fontAlgn="base" hangingPunct="1">
              <a:spcBef>
                <a:spcPct val="20000"/>
              </a:spcBef>
              <a:spcAft>
                <a:spcPct val="0"/>
              </a:spcAft>
              <a:buNone/>
              <a:defRPr sz="2000">
                <a:solidFill>
                  <a:schemeClr val="tx1"/>
                </a:solidFill>
                <a:latin typeface="+mn-lt"/>
                <a:ea typeface="+mn-ea"/>
              </a:defRPr>
            </a:lvl2pPr>
            <a:lvl3pPr marL="914400" indent="0" algn="ctr" rtl="0" eaLnBrk="1" fontAlgn="base" hangingPunct="1">
              <a:spcBef>
                <a:spcPct val="20000"/>
              </a:spcBef>
              <a:spcAft>
                <a:spcPct val="0"/>
              </a:spcAft>
              <a:buNone/>
              <a:defRPr>
                <a:solidFill>
                  <a:schemeClr val="tx1"/>
                </a:solidFill>
                <a:latin typeface="+mn-lt"/>
                <a:ea typeface="+mn-ea"/>
              </a:defRPr>
            </a:lvl3pPr>
            <a:lvl4pPr marL="1371600" indent="0" algn="ctr" rtl="0" eaLnBrk="1" fontAlgn="base" hangingPunct="1">
              <a:spcBef>
                <a:spcPct val="20000"/>
              </a:spcBef>
              <a:spcAft>
                <a:spcPct val="0"/>
              </a:spcAft>
              <a:buNone/>
              <a:defRPr sz="2000">
                <a:solidFill>
                  <a:schemeClr val="tx1"/>
                </a:solidFill>
                <a:latin typeface="+mn-lt"/>
                <a:ea typeface="+mn-ea"/>
              </a:defRPr>
            </a:lvl4pPr>
            <a:lvl5pPr marL="1828800" indent="0" algn="ctr" rtl="0" eaLnBrk="1" fontAlgn="base" hangingPunct="1">
              <a:spcBef>
                <a:spcPct val="20000"/>
              </a:spcBef>
              <a:spcAft>
                <a:spcPct val="0"/>
              </a:spcAft>
              <a:buNone/>
              <a:defRPr sz="2000">
                <a:solidFill>
                  <a:schemeClr val="tx1"/>
                </a:solidFill>
                <a:latin typeface="+mn-lt"/>
                <a:ea typeface="+mn-ea"/>
              </a:defRPr>
            </a:lvl5pPr>
            <a:lvl6pPr marL="2286000" indent="0" algn="ctr" rtl="0" eaLnBrk="1" fontAlgn="base" hangingPunct="1">
              <a:spcBef>
                <a:spcPct val="20000"/>
              </a:spcBef>
              <a:spcAft>
                <a:spcPct val="0"/>
              </a:spcAft>
              <a:buNone/>
              <a:defRPr sz="2000">
                <a:solidFill>
                  <a:schemeClr val="tx1"/>
                </a:solidFill>
                <a:latin typeface="+mn-lt"/>
                <a:ea typeface="+mn-ea"/>
              </a:defRPr>
            </a:lvl6pPr>
            <a:lvl7pPr marL="2743200" indent="0" algn="ctr" rtl="0" eaLnBrk="1" fontAlgn="base" hangingPunct="1">
              <a:spcBef>
                <a:spcPct val="20000"/>
              </a:spcBef>
              <a:spcAft>
                <a:spcPct val="0"/>
              </a:spcAft>
              <a:buNone/>
              <a:defRPr sz="2000">
                <a:solidFill>
                  <a:schemeClr val="tx1"/>
                </a:solidFill>
                <a:latin typeface="+mn-lt"/>
                <a:ea typeface="+mn-ea"/>
              </a:defRPr>
            </a:lvl7pPr>
            <a:lvl8pPr marL="3200400" indent="0" algn="ctr" rtl="0" eaLnBrk="1" fontAlgn="base" hangingPunct="1">
              <a:spcBef>
                <a:spcPct val="20000"/>
              </a:spcBef>
              <a:spcAft>
                <a:spcPct val="0"/>
              </a:spcAft>
              <a:buNone/>
              <a:defRPr sz="2000">
                <a:solidFill>
                  <a:schemeClr val="tx1"/>
                </a:solidFill>
                <a:latin typeface="+mn-lt"/>
                <a:ea typeface="+mn-ea"/>
              </a:defRPr>
            </a:lvl8pPr>
            <a:lvl9pPr marL="3657600" indent="0" algn="ctr" rtl="0" eaLnBrk="1" fontAlgn="base" hangingPunct="1">
              <a:spcBef>
                <a:spcPct val="20000"/>
              </a:spcBef>
              <a:spcAft>
                <a:spcPct val="0"/>
              </a:spcAft>
              <a:buNone/>
              <a:defRPr sz="2000">
                <a:solidFill>
                  <a:schemeClr val="tx1"/>
                </a:solidFill>
                <a:latin typeface="+mn-lt"/>
                <a:ea typeface="+mn-ea"/>
              </a:defRPr>
            </a:lvl9pPr>
          </a:lstStyle>
          <a:p>
            <a:pPr algn="l"/>
            <a:r>
              <a:rPr lang="en-US" sz="1400" kern="0" dirty="0">
                <a:solidFill>
                  <a:srgbClr val="002E51"/>
                </a:solidFill>
              </a:rPr>
              <a:t>Rates of transfusion independence </a:t>
            </a:r>
            <a:r>
              <a:rPr lang="en-US" sz="1400" dirty="0">
                <a:solidFill>
                  <a:srgbClr val="002E51"/>
                </a:solidFill>
              </a:rPr>
              <a:t>≥12 weeks</a:t>
            </a:r>
            <a:r>
              <a:rPr lang="en-US" sz="1400" kern="0" dirty="0">
                <a:solidFill>
                  <a:srgbClr val="002E51"/>
                </a:solidFill>
              </a:rPr>
              <a:t> </a:t>
            </a:r>
          </a:p>
        </p:txBody>
      </p:sp>
    </p:spTree>
    <p:extLst>
      <p:ext uri="{BB962C8B-B14F-4D97-AF65-F5344CB8AC3E}">
        <p14:creationId xmlns:p14="http://schemas.microsoft.com/office/powerpoint/2010/main" val="259602970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978F86-CC58-EBD6-6071-81BF6D265599}"/>
            </a:ext>
          </a:extLst>
        </p:cNvPr>
        <p:cNvGrpSpPr/>
        <p:nvPr/>
      </p:nvGrpSpPr>
      <p:grpSpPr>
        <a:xfrm>
          <a:off x="0" y="0"/>
          <a:ext cx="0" cy="0"/>
          <a:chOff x="0" y="0"/>
          <a:chExt cx="0" cy="0"/>
        </a:xfrm>
      </p:grpSpPr>
      <p:sp>
        <p:nvSpPr>
          <p:cNvPr id="2" name="Subtitle 1">
            <a:extLst>
              <a:ext uri="{FF2B5EF4-FFF2-40B4-BE49-F238E27FC236}">
                <a16:creationId xmlns:a16="http://schemas.microsoft.com/office/drawing/2014/main" id="{4D8FCDF1-2A33-8562-07C6-D494F93A2BA3}"/>
              </a:ext>
            </a:extLst>
          </p:cNvPr>
          <p:cNvSpPr>
            <a:spLocks noGrp="1"/>
          </p:cNvSpPr>
          <p:nvPr>
            <p:ph type="subTitle" idx="1"/>
          </p:nvPr>
        </p:nvSpPr>
        <p:spPr>
          <a:xfrm>
            <a:off x="288235" y="951231"/>
            <a:ext cx="8135676" cy="2915920"/>
          </a:xfrm>
        </p:spPr>
        <p:txBody>
          <a:bodyPr/>
          <a:lstStyle/>
          <a:p>
            <a:pPr marL="180975" indent="-180975" algn="l">
              <a:buFont typeface="Arial" panose="020B0604020202020204" pitchFamily="34" charset="0"/>
              <a:buChar char="•"/>
            </a:pPr>
            <a:r>
              <a:rPr lang="en-US" sz="2200" dirty="0">
                <a:solidFill>
                  <a:srgbClr val="002E51"/>
                </a:solidFill>
              </a:rPr>
              <a:t>Frontline luspatercept leads to higher and more durable transfusion independence rates in most low risk MDS patients compared to ESA</a:t>
            </a:r>
          </a:p>
          <a:p>
            <a:pPr marL="638175" lvl="1" indent="-180975" algn="l">
              <a:buFont typeface="Arial" panose="020B0604020202020204" pitchFamily="34" charset="0"/>
              <a:buChar char="•"/>
            </a:pPr>
            <a:r>
              <a:rPr lang="en-US" sz="2200" dirty="0">
                <a:solidFill>
                  <a:srgbClr val="002E51"/>
                </a:solidFill>
              </a:rPr>
              <a:t>Highest rates in </a:t>
            </a:r>
            <a:r>
              <a:rPr lang="en-US" sz="2200" i="1" dirty="0">
                <a:solidFill>
                  <a:srgbClr val="002E51"/>
                </a:solidFill>
              </a:rPr>
              <a:t>SF3B1</a:t>
            </a:r>
            <a:r>
              <a:rPr lang="en-US" sz="2200" dirty="0">
                <a:solidFill>
                  <a:srgbClr val="002E51"/>
                </a:solidFill>
              </a:rPr>
              <a:t> mutated and RS+</a:t>
            </a:r>
          </a:p>
          <a:p>
            <a:pPr marL="180975" indent="-180975" algn="l">
              <a:buFont typeface="Arial" panose="020B0604020202020204" pitchFamily="34" charset="0"/>
              <a:buChar char="•"/>
            </a:pPr>
            <a:endParaRPr lang="en-US" sz="1200" dirty="0">
              <a:solidFill>
                <a:srgbClr val="002E51"/>
              </a:solidFill>
            </a:endParaRPr>
          </a:p>
          <a:p>
            <a:pPr marL="180975" indent="-180975" algn="l">
              <a:buFont typeface="Arial" panose="020B0604020202020204" pitchFamily="34" charset="0"/>
              <a:buChar char="•"/>
            </a:pPr>
            <a:r>
              <a:rPr lang="en-US" sz="2200" i="1" dirty="0">
                <a:solidFill>
                  <a:srgbClr val="002E51"/>
                </a:solidFill>
              </a:rPr>
              <a:t>SF3B1</a:t>
            </a:r>
            <a:r>
              <a:rPr lang="en-US" sz="2200" dirty="0">
                <a:solidFill>
                  <a:srgbClr val="002E51"/>
                </a:solidFill>
              </a:rPr>
              <a:t> mutation associated with low risk disease</a:t>
            </a:r>
          </a:p>
          <a:p>
            <a:pPr marL="180975" indent="-180975" algn="l">
              <a:buFont typeface="Arial" panose="020B0604020202020204" pitchFamily="34" charset="0"/>
              <a:buChar char="•"/>
            </a:pPr>
            <a:endParaRPr lang="en-US" sz="1200" dirty="0">
              <a:solidFill>
                <a:srgbClr val="002E51"/>
              </a:solidFill>
            </a:endParaRPr>
          </a:p>
          <a:p>
            <a:pPr marL="180975" indent="-180975" algn="l">
              <a:buFont typeface="Arial" panose="020B0604020202020204" pitchFamily="34" charset="0"/>
              <a:buChar char="•"/>
            </a:pPr>
            <a:r>
              <a:rPr lang="en-US" sz="2200" dirty="0">
                <a:solidFill>
                  <a:srgbClr val="002E51"/>
                </a:solidFill>
              </a:rPr>
              <a:t>Broad </a:t>
            </a:r>
            <a:r>
              <a:rPr lang="en-US" sz="2200" dirty="0" err="1">
                <a:solidFill>
                  <a:srgbClr val="002E51"/>
                </a:solidFill>
              </a:rPr>
              <a:t>ddx</a:t>
            </a:r>
            <a:r>
              <a:rPr lang="en-US" sz="2200" dirty="0">
                <a:solidFill>
                  <a:srgbClr val="002E51"/>
                </a:solidFill>
              </a:rPr>
              <a:t> for sideroblastic anemias</a:t>
            </a:r>
          </a:p>
          <a:p>
            <a:pPr marL="638175" lvl="1" indent="-180975" algn="l">
              <a:buFont typeface="Arial" panose="020B0604020202020204" pitchFamily="34" charset="0"/>
              <a:buChar char="•"/>
            </a:pPr>
            <a:r>
              <a:rPr lang="en-US" sz="2200" dirty="0">
                <a:solidFill>
                  <a:srgbClr val="002E51"/>
                </a:solidFill>
              </a:rPr>
              <a:t>If multiple etiologies, fix modifiable causes </a:t>
            </a:r>
            <a:r>
              <a:rPr lang="en-US" sz="2200" i="1" dirty="0">
                <a:solidFill>
                  <a:srgbClr val="002E51"/>
                </a:solidFill>
              </a:rPr>
              <a:t>and</a:t>
            </a:r>
            <a:r>
              <a:rPr lang="en-US" sz="2200" dirty="0">
                <a:solidFill>
                  <a:srgbClr val="002E51"/>
                </a:solidFill>
              </a:rPr>
              <a:t> treat MDS</a:t>
            </a:r>
          </a:p>
        </p:txBody>
      </p:sp>
      <p:sp>
        <p:nvSpPr>
          <p:cNvPr id="4" name="Title 3">
            <a:extLst>
              <a:ext uri="{FF2B5EF4-FFF2-40B4-BE49-F238E27FC236}">
                <a16:creationId xmlns:a16="http://schemas.microsoft.com/office/drawing/2014/main" id="{96F1411C-A18C-A074-728C-4589C023BC1E}"/>
              </a:ext>
            </a:extLst>
          </p:cNvPr>
          <p:cNvSpPr>
            <a:spLocks noGrp="1"/>
          </p:cNvSpPr>
          <p:nvPr>
            <p:ph type="title"/>
          </p:nvPr>
        </p:nvSpPr>
        <p:spPr>
          <a:xfrm>
            <a:off x="0" y="127465"/>
            <a:ext cx="9144000" cy="807256"/>
          </a:xfrm>
        </p:spPr>
        <p:txBody>
          <a:bodyPr/>
          <a:lstStyle/>
          <a:p>
            <a:r>
              <a:rPr lang="en-US" sz="3200" b="1" dirty="0"/>
              <a:t>Key points</a:t>
            </a:r>
          </a:p>
        </p:txBody>
      </p:sp>
    </p:spTree>
    <p:extLst>
      <p:ext uri="{BB962C8B-B14F-4D97-AF65-F5344CB8AC3E}">
        <p14:creationId xmlns:p14="http://schemas.microsoft.com/office/powerpoint/2010/main" val="134905711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511910-83C2-97FA-D08F-EF5E6E6F3CFB}"/>
            </a:ext>
          </a:extLst>
        </p:cNvPr>
        <p:cNvGrpSpPr/>
        <p:nvPr/>
      </p:nvGrpSpPr>
      <p:grpSpPr>
        <a:xfrm>
          <a:off x="0" y="0"/>
          <a:ext cx="0" cy="0"/>
          <a:chOff x="0" y="0"/>
          <a:chExt cx="0" cy="0"/>
        </a:xfrm>
      </p:grpSpPr>
      <p:sp>
        <p:nvSpPr>
          <p:cNvPr id="2" name="Subtitle 1">
            <a:extLst>
              <a:ext uri="{FF2B5EF4-FFF2-40B4-BE49-F238E27FC236}">
                <a16:creationId xmlns:a16="http://schemas.microsoft.com/office/drawing/2014/main" id="{FD610226-F17B-CA67-9E50-2585622F41AB}"/>
              </a:ext>
            </a:extLst>
          </p:cNvPr>
          <p:cNvSpPr>
            <a:spLocks noGrp="1"/>
          </p:cNvSpPr>
          <p:nvPr>
            <p:ph type="subTitle" idx="1"/>
          </p:nvPr>
        </p:nvSpPr>
        <p:spPr>
          <a:xfrm>
            <a:off x="396195" y="1092202"/>
            <a:ext cx="8233455" cy="2915920"/>
          </a:xfrm>
        </p:spPr>
        <p:txBody>
          <a:bodyPr/>
          <a:lstStyle/>
          <a:p>
            <a:pPr algn="l"/>
            <a:r>
              <a:rPr lang="en-US" sz="2200" b="1" dirty="0">
                <a:solidFill>
                  <a:srgbClr val="002E51"/>
                </a:solidFill>
              </a:rPr>
              <a:t>MEDALIST Trial</a:t>
            </a:r>
            <a:r>
              <a:rPr lang="en-US" sz="2200" dirty="0">
                <a:solidFill>
                  <a:srgbClr val="002E51"/>
                </a:solidFill>
              </a:rPr>
              <a:t>: phase 3 RCT in transfusion dependent low risk MDS-RS</a:t>
            </a:r>
          </a:p>
          <a:p>
            <a:pPr marL="463550" lvl="1" indent="-238125" algn="l">
              <a:buFont typeface="Arial" panose="020B0604020202020204" pitchFamily="34" charset="0"/>
              <a:buChar char="•"/>
            </a:pPr>
            <a:r>
              <a:rPr lang="en-US" sz="2200" dirty="0">
                <a:solidFill>
                  <a:srgbClr val="002E51"/>
                </a:solidFill>
              </a:rPr>
              <a:t>2</a:t>
            </a:r>
            <a:r>
              <a:rPr lang="en-US" sz="2200" baseline="30000" dirty="0">
                <a:solidFill>
                  <a:srgbClr val="002E51"/>
                </a:solidFill>
              </a:rPr>
              <a:t>nd</a:t>
            </a:r>
            <a:r>
              <a:rPr lang="en-US" sz="2200" dirty="0">
                <a:solidFill>
                  <a:srgbClr val="002E51"/>
                </a:solidFill>
              </a:rPr>
              <a:t> line or 1</a:t>
            </a:r>
            <a:r>
              <a:rPr lang="en-US" sz="2200" baseline="30000" dirty="0">
                <a:solidFill>
                  <a:srgbClr val="002E51"/>
                </a:solidFill>
              </a:rPr>
              <a:t>st</a:t>
            </a:r>
            <a:r>
              <a:rPr lang="en-US" sz="2200" dirty="0">
                <a:solidFill>
                  <a:srgbClr val="002E51"/>
                </a:solidFill>
              </a:rPr>
              <a:t> line if unlikely to respond to ESA</a:t>
            </a:r>
          </a:p>
          <a:p>
            <a:pPr marL="638175" lvl="1" indent="-180975" algn="l">
              <a:buFont typeface="Arial" panose="020B0604020202020204" pitchFamily="34" charset="0"/>
              <a:buChar char="•"/>
            </a:pPr>
            <a:endParaRPr lang="en-US" sz="1200" dirty="0">
              <a:solidFill>
                <a:srgbClr val="002E51"/>
              </a:solidFill>
            </a:endParaRPr>
          </a:p>
          <a:p>
            <a:pPr marL="236538" indent="-236538" algn="l">
              <a:buFont typeface="Arial" panose="020B0604020202020204" pitchFamily="34" charset="0"/>
              <a:buChar char="•"/>
            </a:pPr>
            <a:r>
              <a:rPr lang="en-US" sz="2200" dirty="0">
                <a:solidFill>
                  <a:srgbClr val="002E51"/>
                </a:solidFill>
              </a:rPr>
              <a:t>Transfusion independence: 38% luspatercept vs. 13% placebo</a:t>
            </a:r>
          </a:p>
          <a:p>
            <a:pPr marL="236538" indent="-236538" algn="l">
              <a:buFont typeface="Arial" panose="020B0604020202020204" pitchFamily="34" charset="0"/>
              <a:buChar char="•"/>
            </a:pPr>
            <a:endParaRPr lang="en-US" sz="2200" dirty="0">
              <a:solidFill>
                <a:srgbClr val="002E51"/>
              </a:solidFill>
            </a:endParaRPr>
          </a:p>
          <a:p>
            <a:pPr algn="l"/>
            <a:r>
              <a:rPr lang="en-US" sz="2200" b="1" dirty="0">
                <a:solidFill>
                  <a:srgbClr val="002E51"/>
                </a:solidFill>
              </a:rPr>
              <a:t>FDA approved in 2020 as 2</a:t>
            </a:r>
            <a:r>
              <a:rPr lang="en-US" sz="2200" b="1" baseline="30000" dirty="0">
                <a:solidFill>
                  <a:srgbClr val="002E51"/>
                </a:solidFill>
              </a:rPr>
              <a:t>nd</a:t>
            </a:r>
            <a:r>
              <a:rPr lang="en-US" sz="2200" b="1" dirty="0">
                <a:solidFill>
                  <a:srgbClr val="002E51"/>
                </a:solidFill>
              </a:rPr>
              <a:t> line for transfusion dependent very low to intermediate risk MDS-RS and MDS/MPN-RS-T</a:t>
            </a:r>
          </a:p>
        </p:txBody>
      </p:sp>
      <p:sp>
        <p:nvSpPr>
          <p:cNvPr id="4" name="Title 3">
            <a:extLst>
              <a:ext uri="{FF2B5EF4-FFF2-40B4-BE49-F238E27FC236}">
                <a16:creationId xmlns:a16="http://schemas.microsoft.com/office/drawing/2014/main" id="{C98A4524-F770-AEA9-93DF-54C4538DBA0C}"/>
              </a:ext>
            </a:extLst>
          </p:cNvPr>
          <p:cNvSpPr>
            <a:spLocks noGrp="1"/>
          </p:cNvSpPr>
          <p:nvPr>
            <p:ph type="title"/>
          </p:nvPr>
        </p:nvSpPr>
        <p:spPr>
          <a:xfrm>
            <a:off x="0" y="127465"/>
            <a:ext cx="9144000" cy="807256"/>
          </a:xfrm>
        </p:spPr>
        <p:txBody>
          <a:bodyPr/>
          <a:lstStyle/>
          <a:p>
            <a:r>
              <a:rPr lang="en-US" sz="3200" b="1" dirty="0"/>
              <a:t>Luspatercept</a:t>
            </a:r>
          </a:p>
        </p:txBody>
      </p:sp>
      <p:sp>
        <p:nvSpPr>
          <p:cNvPr id="3" name="Content Placeholder 6">
            <a:extLst>
              <a:ext uri="{FF2B5EF4-FFF2-40B4-BE49-F238E27FC236}">
                <a16:creationId xmlns:a16="http://schemas.microsoft.com/office/drawing/2014/main" id="{C505D511-E131-A244-2074-6CB77AE42D04}"/>
              </a:ext>
            </a:extLst>
          </p:cNvPr>
          <p:cNvSpPr txBox="1">
            <a:spLocks/>
          </p:cNvSpPr>
          <p:nvPr/>
        </p:nvSpPr>
        <p:spPr bwMode="auto">
          <a:xfrm>
            <a:off x="5970270" y="4112896"/>
            <a:ext cx="3185160" cy="524510"/>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indent="0" algn="r">
              <a:buFontTx/>
              <a:buNone/>
            </a:pPr>
            <a:r>
              <a:rPr lang="en-US" sz="1200" kern="0" dirty="0" err="1">
                <a:solidFill>
                  <a:srgbClr val="002E51"/>
                </a:solidFill>
              </a:rPr>
              <a:t>Fenaux</a:t>
            </a:r>
            <a:r>
              <a:rPr lang="en-US" sz="1200" kern="0" dirty="0">
                <a:solidFill>
                  <a:srgbClr val="002E51"/>
                </a:solidFill>
              </a:rPr>
              <a:t> et al, NEJM 2020;382:140</a:t>
            </a:r>
          </a:p>
        </p:txBody>
      </p:sp>
    </p:spTree>
    <p:extLst>
      <p:ext uri="{BB962C8B-B14F-4D97-AF65-F5344CB8AC3E}">
        <p14:creationId xmlns:p14="http://schemas.microsoft.com/office/powerpoint/2010/main" val="100209448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764D8A-519B-DD4A-C642-A79DF134912A}"/>
              </a:ext>
            </a:extLst>
          </p:cNvPr>
          <p:cNvSpPr/>
          <p:nvPr/>
        </p:nvSpPr>
        <p:spPr>
          <a:xfrm>
            <a:off x="0" y="2586831"/>
            <a:ext cx="9129925" cy="461665"/>
          </a:xfrm>
          <a:prstGeom prst="rect">
            <a:avLst/>
          </a:prstGeom>
        </p:spPr>
        <p:txBody>
          <a:bodyPr wrap="square">
            <a:spAutoFit/>
          </a:bodyPr>
          <a:lstStyle/>
          <a:p>
            <a:pPr algn="ctr"/>
            <a:r>
              <a:rPr lang="en-US" spc="600" dirty="0">
                <a:solidFill>
                  <a:srgbClr val="FFC82C"/>
                </a:solidFill>
                <a:latin typeface="Corporate A Medium" panose="02000503080000020004" pitchFamily="2" charset="0"/>
              </a:rPr>
              <a:t>Hematologic Malignancies</a:t>
            </a:r>
          </a:p>
        </p:txBody>
      </p:sp>
      <p:sp>
        <p:nvSpPr>
          <p:cNvPr id="3" name="Rectangle 2">
            <a:extLst>
              <a:ext uri="{FF2B5EF4-FFF2-40B4-BE49-F238E27FC236}">
                <a16:creationId xmlns:a16="http://schemas.microsoft.com/office/drawing/2014/main" id="{2CD37E42-E2E3-0CF1-91DF-51880A7249F7}"/>
              </a:ext>
            </a:extLst>
          </p:cNvPr>
          <p:cNvSpPr/>
          <p:nvPr/>
        </p:nvSpPr>
        <p:spPr>
          <a:xfrm>
            <a:off x="14075" y="3073896"/>
            <a:ext cx="9129925" cy="338554"/>
          </a:xfrm>
          <a:prstGeom prst="rect">
            <a:avLst/>
          </a:prstGeom>
        </p:spPr>
        <p:txBody>
          <a:bodyPr wrap="square">
            <a:spAutoFit/>
          </a:bodyPr>
          <a:lstStyle/>
          <a:p>
            <a:pPr algn="ctr"/>
            <a:r>
              <a:rPr lang="en-US" sz="1600" dirty="0">
                <a:solidFill>
                  <a:schemeClr val="bg1"/>
                </a:solidFill>
                <a:latin typeface="Corporate S Demi" panose="02020500000000000000" pitchFamily="18" charset="0"/>
              </a:rPr>
              <a:t>May 9</a:t>
            </a:r>
            <a:r>
              <a:rPr lang="en-US" sz="1600" baseline="30000" dirty="0">
                <a:solidFill>
                  <a:schemeClr val="bg1"/>
                </a:solidFill>
                <a:latin typeface="Corporate S Demi" panose="02020500000000000000" pitchFamily="18" charset="0"/>
              </a:rPr>
              <a:t>th</a:t>
            </a:r>
            <a:r>
              <a:rPr lang="en-US" sz="1600" dirty="0">
                <a:solidFill>
                  <a:schemeClr val="bg1"/>
                </a:solidFill>
                <a:latin typeface="Corporate S Demi" panose="02020500000000000000" pitchFamily="18" charset="0"/>
              </a:rPr>
              <a:t>, 2024</a:t>
            </a:r>
          </a:p>
        </p:txBody>
      </p:sp>
    </p:spTree>
    <p:extLst>
      <p:ext uri="{BB962C8B-B14F-4D97-AF65-F5344CB8AC3E}">
        <p14:creationId xmlns:p14="http://schemas.microsoft.com/office/powerpoint/2010/main" val="427879153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1371600" y="1798064"/>
            <a:ext cx="6400800" cy="2204975"/>
          </a:xfrm>
        </p:spPr>
        <p:txBody>
          <a:bodyPr/>
          <a:lstStyle/>
          <a:p>
            <a:r>
              <a:rPr lang="en-US" b="1" dirty="0">
                <a:solidFill>
                  <a:srgbClr val="002E51"/>
                </a:solidFill>
              </a:rPr>
              <a:t>Annie Im, MD, FASCO</a:t>
            </a:r>
          </a:p>
          <a:p>
            <a:r>
              <a:rPr lang="en-US" dirty="0">
                <a:solidFill>
                  <a:srgbClr val="002E51"/>
                </a:solidFill>
              </a:rPr>
              <a:t>Associate Professor of Medicine</a:t>
            </a:r>
          </a:p>
          <a:p>
            <a:r>
              <a:rPr lang="en-US" dirty="0">
                <a:solidFill>
                  <a:srgbClr val="002E51"/>
                </a:solidFill>
              </a:rPr>
              <a:t>University of Pittsburgh, UPMC Hillman Cancer Center</a:t>
            </a:r>
          </a:p>
          <a:p>
            <a:r>
              <a:rPr lang="en-US" dirty="0">
                <a:solidFill>
                  <a:srgbClr val="002E51"/>
                </a:solidFill>
              </a:rPr>
              <a:t>Pittsburgh, PA</a:t>
            </a:r>
          </a:p>
        </p:txBody>
      </p:sp>
      <p:sp>
        <p:nvSpPr>
          <p:cNvPr id="4" name="Title 3"/>
          <p:cNvSpPr>
            <a:spLocks noGrp="1"/>
          </p:cNvSpPr>
          <p:nvPr>
            <p:ph type="title"/>
          </p:nvPr>
        </p:nvSpPr>
        <p:spPr>
          <a:xfrm>
            <a:off x="0" y="520933"/>
            <a:ext cx="9144000" cy="786936"/>
          </a:xfrm>
        </p:spPr>
        <p:txBody>
          <a:bodyPr/>
          <a:lstStyle/>
          <a:p>
            <a:r>
              <a:rPr lang="en-US" b="1" dirty="0">
                <a:solidFill>
                  <a:srgbClr val="002E51"/>
                </a:solidFill>
              </a:rPr>
              <a:t>Treatment of Older AML in 2024</a:t>
            </a:r>
          </a:p>
        </p:txBody>
      </p:sp>
    </p:spTree>
    <p:extLst>
      <p:ext uri="{BB962C8B-B14F-4D97-AF65-F5344CB8AC3E}">
        <p14:creationId xmlns:p14="http://schemas.microsoft.com/office/powerpoint/2010/main" val="5915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7567E0-9FB4-E2D0-F57B-56251EA6FA1C}"/>
              </a:ext>
            </a:extLst>
          </p:cNvPr>
          <p:cNvSpPr>
            <a:spLocks noGrp="1"/>
          </p:cNvSpPr>
          <p:nvPr>
            <p:ph sz="half" idx="2"/>
          </p:nvPr>
        </p:nvSpPr>
        <p:spPr>
          <a:xfrm>
            <a:off x="-1" y="927207"/>
            <a:ext cx="9143999" cy="3342714"/>
          </a:xfrm>
        </p:spPr>
        <p:txBody>
          <a:bodyPr/>
          <a:lstStyle/>
          <a:p>
            <a:pPr marL="0" indent="0" algn="ctr">
              <a:buNone/>
            </a:pPr>
            <a:r>
              <a:rPr lang="en-US" b="1" dirty="0">
                <a:solidFill>
                  <a:srgbClr val="002E51"/>
                </a:solidFill>
              </a:rPr>
              <a:t>Annie Im, MD, FASCO</a:t>
            </a:r>
          </a:p>
          <a:p>
            <a:pPr marL="0" indent="0" algn="ctr">
              <a:buNone/>
            </a:pPr>
            <a:r>
              <a:rPr lang="en-US" dirty="0">
                <a:solidFill>
                  <a:srgbClr val="002E51"/>
                </a:solidFill>
              </a:rPr>
              <a:t>Associate Professor of Medicine</a:t>
            </a:r>
          </a:p>
          <a:p>
            <a:pPr marL="0" indent="0" algn="ctr">
              <a:buNone/>
            </a:pPr>
            <a:r>
              <a:rPr lang="en-US" dirty="0">
                <a:solidFill>
                  <a:srgbClr val="002E51"/>
                </a:solidFill>
              </a:rPr>
              <a:t>University of Pittsburgh, UPMC Hillman Cancer Center</a:t>
            </a:r>
          </a:p>
          <a:p>
            <a:pPr marL="0" indent="0" algn="ctr">
              <a:buNone/>
            </a:pPr>
            <a:r>
              <a:rPr lang="en-US" dirty="0">
                <a:solidFill>
                  <a:srgbClr val="002E51"/>
                </a:solidFill>
              </a:rPr>
              <a:t>Pittsburgh, PA</a:t>
            </a:r>
          </a:p>
        </p:txBody>
      </p:sp>
      <p:sp>
        <p:nvSpPr>
          <p:cNvPr id="4" name="Title 3">
            <a:extLst>
              <a:ext uri="{FF2B5EF4-FFF2-40B4-BE49-F238E27FC236}">
                <a16:creationId xmlns:a16="http://schemas.microsoft.com/office/drawing/2014/main" id="{D85A5EB2-7AC2-92C2-D216-90AAF7FAD4AD}"/>
              </a:ext>
            </a:extLst>
          </p:cNvPr>
          <p:cNvSpPr>
            <a:spLocks noGrp="1"/>
          </p:cNvSpPr>
          <p:nvPr>
            <p:ph type="title"/>
          </p:nvPr>
        </p:nvSpPr>
        <p:spPr/>
        <p:txBody>
          <a:bodyPr/>
          <a:lstStyle/>
          <a:p>
            <a:r>
              <a:rPr lang="en-US" dirty="0"/>
              <a:t>Program Chair</a:t>
            </a:r>
          </a:p>
        </p:txBody>
      </p:sp>
    </p:spTree>
    <p:extLst>
      <p:ext uri="{BB962C8B-B14F-4D97-AF65-F5344CB8AC3E}">
        <p14:creationId xmlns:p14="http://schemas.microsoft.com/office/powerpoint/2010/main" val="311199606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236221" y="1260303"/>
            <a:ext cx="8602980" cy="2915920"/>
          </a:xfrm>
        </p:spPr>
        <p:txBody>
          <a:bodyPr/>
          <a:lstStyle/>
          <a:p>
            <a:pPr marL="342900" indent="-342900" algn="l">
              <a:buFont typeface="Arial" panose="020B0604020202020204" pitchFamily="34" charset="0"/>
              <a:buChar char="•"/>
            </a:pPr>
            <a:r>
              <a:rPr lang="en-US" sz="2000" dirty="0">
                <a:solidFill>
                  <a:srgbClr val="002E51"/>
                </a:solidFill>
              </a:rPr>
              <a:t>Describe the new standard of care in treatment of older AML</a:t>
            </a:r>
          </a:p>
          <a:p>
            <a:pPr marL="342900" indent="-342900" algn="l">
              <a:buFont typeface="Arial" panose="020B0604020202020204" pitchFamily="34" charset="0"/>
              <a:buChar char="•"/>
            </a:pPr>
            <a:endParaRPr lang="en-US" sz="2000" dirty="0">
              <a:solidFill>
                <a:srgbClr val="002E51"/>
              </a:solidFill>
            </a:endParaRPr>
          </a:p>
          <a:p>
            <a:pPr marL="342900" indent="-342900" algn="l">
              <a:buFont typeface="Arial" panose="020B0604020202020204" pitchFamily="34" charset="0"/>
              <a:buChar char="•"/>
            </a:pPr>
            <a:r>
              <a:rPr lang="en-US" sz="2000" dirty="0">
                <a:solidFill>
                  <a:srgbClr val="002E51"/>
                </a:solidFill>
              </a:rPr>
              <a:t>Recognize newly approved agents in older AML and indications for use</a:t>
            </a:r>
          </a:p>
          <a:p>
            <a:pPr marL="342900" indent="-342900" algn="l">
              <a:buFont typeface="Arial" panose="020B0604020202020204" pitchFamily="34" charset="0"/>
              <a:buChar char="•"/>
            </a:pPr>
            <a:endParaRPr lang="en-US" sz="2000" dirty="0">
              <a:solidFill>
                <a:srgbClr val="002E51"/>
              </a:solidFill>
            </a:endParaRPr>
          </a:p>
          <a:p>
            <a:endParaRPr lang="en-US" dirty="0">
              <a:solidFill>
                <a:srgbClr val="002E51"/>
              </a:solidFill>
            </a:endParaRPr>
          </a:p>
        </p:txBody>
      </p:sp>
      <p:sp>
        <p:nvSpPr>
          <p:cNvPr id="4" name="Title 3"/>
          <p:cNvSpPr>
            <a:spLocks noGrp="1"/>
          </p:cNvSpPr>
          <p:nvPr>
            <p:ph type="title"/>
          </p:nvPr>
        </p:nvSpPr>
        <p:spPr>
          <a:xfrm>
            <a:off x="0" y="127465"/>
            <a:ext cx="9144000" cy="807256"/>
          </a:xfrm>
        </p:spPr>
        <p:txBody>
          <a:bodyPr/>
          <a:lstStyle/>
          <a:p>
            <a:r>
              <a:rPr lang="en-US" sz="2800" b="1" dirty="0"/>
              <a:t>Learning Objectives</a:t>
            </a:r>
          </a:p>
        </p:txBody>
      </p:sp>
    </p:spTree>
    <p:extLst>
      <p:ext uri="{BB962C8B-B14F-4D97-AF65-F5344CB8AC3E}">
        <p14:creationId xmlns:p14="http://schemas.microsoft.com/office/powerpoint/2010/main" val="253754769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918E336-DA55-CDDB-178F-17E598020B2E}"/>
              </a:ext>
            </a:extLst>
          </p:cNvPr>
          <p:cNvSpPr>
            <a:spLocks noGrp="1"/>
          </p:cNvSpPr>
          <p:nvPr>
            <p:ph type="title"/>
          </p:nvPr>
        </p:nvSpPr>
        <p:spPr/>
        <p:txBody>
          <a:bodyPr/>
          <a:lstStyle/>
          <a:p>
            <a:endParaRPr lang="en-US"/>
          </a:p>
        </p:txBody>
      </p:sp>
      <p:sp>
        <p:nvSpPr>
          <p:cNvPr id="5" name="Text Placeholder 4">
            <a:extLst>
              <a:ext uri="{FF2B5EF4-FFF2-40B4-BE49-F238E27FC236}">
                <a16:creationId xmlns:a16="http://schemas.microsoft.com/office/drawing/2014/main" id="{91D38F3E-6A05-AB92-B640-8A00FF1509E1}"/>
              </a:ext>
            </a:extLst>
          </p:cNvPr>
          <p:cNvSpPr>
            <a:spLocks noGrp="1"/>
          </p:cNvSpPr>
          <p:nvPr>
            <p:ph type="body" idx="1"/>
          </p:nvPr>
        </p:nvSpPr>
        <p:spPr/>
        <p:txBody>
          <a:bodyPr/>
          <a:lstStyle/>
          <a:p>
            <a:r>
              <a:rPr lang="en-US" sz="3600" dirty="0">
                <a:solidFill>
                  <a:srgbClr val="003767"/>
                </a:solidFill>
                <a:latin typeface="Calibri Light" panose="020F0302020204030204" pitchFamily="34" charset="0"/>
                <a:cs typeface="Calibri Light" panose="020F0302020204030204" pitchFamily="34" charset="0"/>
              </a:rPr>
              <a:t>Current outcomes for older AML</a:t>
            </a:r>
            <a:endParaRPr lang="en-US" sz="3600" dirty="0">
              <a:solidFill>
                <a:srgbClr val="003767"/>
              </a:solidFill>
            </a:endParaRPr>
          </a:p>
        </p:txBody>
      </p:sp>
    </p:spTree>
    <p:extLst>
      <p:ext uri="{BB962C8B-B14F-4D97-AF65-F5344CB8AC3E}">
        <p14:creationId xmlns:p14="http://schemas.microsoft.com/office/powerpoint/2010/main" val="323130493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4">
            <a:extLst>
              <a:ext uri="{FF2B5EF4-FFF2-40B4-BE49-F238E27FC236}">
                <a16:creationId xmlns:a16="http://schemas.microsoft.com/office/drawing/2014/main" id="{69864C1B-B311-1CE2-E054-BF5088E951BA}"/>
              </a:ext>
            </a:extLst>
          </p:cNvPr>
          <p:cNvPicPr>
            <a:picLocks noChangeAspect="1"/>
          </p:cNvPicPr>
          <p:nvPr/>
        </p:nvPicPr>
        <p:blipFill>
          <a:blip r:embed="rId2"/>
          <a:stretch>
            <a:fillRect/>
          </a:stretch>
        </p:blipFill>
        <p:spPr bwMode="auto">
          <a:xfrm>
            <a:off x="2679113" y="597070"/>
            <a:ext cx="3207051" cy="3706643"/>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Slide Number Placeholder 3">
            <a:extLst>
              <a:ext uri="{FF2B5EF4-FFF2-40B4-BE49-F238E27FC236}">
                <a16:creationId xmlns:a16="http://schemas.microsoft.com/office/drawing/2014/main" id="{F24DC561-ADE9-C636-7BC5-876E4285C3D0}"/>
              </a:ext>
            </a:extLst>
          </p:cNvPr>
          <p:cNvSpPr txBox="1">
            <a:spLocks/>
          </p:cNvSpPr>
          <p:nvPr/>
        </p:nvSpPr>
        <p:spPr>
          <a:xfrm>
            <a:off x="6464888" y="4009363"/>
            <a:ext cx="2562787" cy="273844"/>
          </a:xfrm>
          <a:prstGeom prst="rect">
            <a:avLst/>
          </a:prstGeom>
        </p:spPr>
        <p:txBody>
          <a:bodyPr/>
          <a:lstStyle>
            <a:defPPr>
              <a:defRPr lang="en-US"/>
            </a:defPPr>
            <a:lvl1pPr algn="l" rtl="0" fontAlgn="base">
              <a:spcBef>
                <a:spcPct val="0"/>
              </a:spcBef>
              <a:spcAft>
                <a:spcPct val="0"/>
              </a:spcAft>
              <a:defRPr sz="2400"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2400"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2400"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2400"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2400"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kern="1200">
                <a:solidFill>
                  <a:schemeClr val="tx1"/>
                </a:solidFill>
                <a:latin typeface="Arial" charset="0"/>
                <a:ea typeface="ＭＳ Ｐゴシック" charset="0"/>
                <a:cs typeface="ＭＳ Ｐゴシック" charset="0"/>
              </a:defRPr>
            </a:lvl9pPr>
          </a:lstStyle>
          <a:p>
            <a:r>
              <a:rPr lang="en-US" sz="1000" dirty="0">
                <a:solidFill>
                  <a:srgbClr val="003767"/>
                </a:solidFill>
                <a:latin typeface="Calibri Light" panose="020F0302020204030204" pitchFamily="34" charset="0"/>
                <a:cs typeface="Calibri Light" panose="020F0302020204030204" pitchFamily="34" charset="0"/>
              </a:rPr>
              <a:t>Oran B and </a:t>
            </a:r>
            <a:r>
              <a:rPr lang="en-US" sz="1000" dirty="0" err="1">
                <a:solidFill>
                  <a:srgbClr val="003767"/>
                </a:solidFill>
                <a:latin typeface="Calibri Light" panose="020F0302020204030204" pitchFamily="34" charset="0"/>
                <a:cs typeface="Calibri Light" panose="020F0302020204030204" pitchFamily="34" charset="0"/>
              </a:rPr>
              <a:t>Weisdorf</a:t>
            </a:r>
            <a:r>
              <a:rPr lang="en-US" sz="1000" dirty="0">
                <a:solidFill>
                  <a:srgbClr val="003767"/>
                </a:solidFill>
                <a:latin typeface="Calibri Light" panose="020F0302020204030204" pitchFamily="34" charset="0"/>
                <a:cs typeface="Calibri Light" panose="020F0302020204030204" pitchFamily="34" charset="0"/>
              </a:rPr>
              <a:t> DJ, </a:t>
            </a:r>
            <a:r>
              <a:rPr lang="en-US" sz="1000" dirty="0" err="1">
                <a:solidFill>
                  <a:srgbClr val="003767"/>
                </a:solidFill>
                <a:latin typeface="Calibri Light" panose="020F0302020204030204" pitchFamily="34" charset="0"/>
                <a:cs typeface="Calibri Light" panose="020F0302020204030204" pitchFamily="34" charset="0"/>
              </a:rPr>
              <a:t>Haematologica</a:t>
            </a:r>
            <a:r>
              <a:rPr lang="en-US" sz="1000" dirty="0">
                <a:solidFill>
                  <a:srgbClr val="003767"/>
                </a:solidFill>
                <a:latin typeface="Calibri Light" panose="020F0302020204030204" pitchFamily="34" charset="0"/>
                <a:cs typeface="Calibri Light" panose="020F0302020204030204" pitchFamily="34" charset="0"/>
              </a:rPr>
              <a:t> 2012</a:t>
            </a:r>
          </a:p>
        </p:txBody>
      </p:sp>
      <p:sp>
        <p:nvSpPr>
          <p:cNvPr id="7" name="TextBox 6">
            <a:extLst>
              <a:ext uri="{FF2B5EF4-FFF2-40B4-BE49-F238E27FC236}">
                <a16:creationId xmlns:a16="http://schemas.microsoft.com/office/drawing/2014/main" id="{0F7440C3-5D6E-B272-ECD1-D0B2E21EDE23}"/>
              </a:ext>
            </a:extLst>
          </p:cNvPr>
          <p:cNvSpPr txBox="1"/>
          <p:nvPr/>
        </p:nvSpPr>
        <p:spPr>
          <a:xfrm>
            <a:off x="1617518" y="158450"/>
            <a:ext cx="5908964" cy="461665"/>
          </a:xfrm>
          <a:prstGeom prst="rect">
            <a:avLst/>
          </a:prstGeom>
          <a:noFill/>
        </p:spPr>
        <p:txBody>
          <a:bodyPr wrap="square" rtlCol="0">
            <a:spAutoFit/>
          </a:bodyPr>
          <a:lstStyle/>
          <a:p>
            <a:pPr algn="ctr"/>
            <a:r>
              <a:rPr lang="en-US" sz="2400" dirty="0">
                <a:solidFill>
                  <a:srgbClr val="003767"/>
                </a:solidFill>
              </a:rPr>
              <a:t>AML incidence and survival by age</a:t>
            </a:r>
            <a:endParaRPr lang="en-US" dirty="0">
              <a:solidFill>
                <a:srgbClr val="003767"/>
              </a:solidFill>
            </a:endParaRPr>
          </a:p>
        </p:txBody>
      </p:sp>
    </p:spTree>
    <p:extLst>
      <p:ext uri="{BB962C8B-B14F-4D97-AF65-F5344CB8AC3E}">
        <p14:creationId xmlns:p14="http://schemas.microsoft.com/office/powerpoint/2010/main" val="6779475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D1F898-8837-CECF-A625-EA06CD73849B}"/>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03F7276F-D0C3-C509-099C-2BBF1158912A}"/>
              </a:ext>
            </a:extLst>
          </p:cNvPr>
          <p:cNvSpPr txBox="1"/>
          <p:nvPr/>
        </p:nvSpPr>
        <p:spPr>
          <a:xfrm>
            <a:off x="249383" y="158450"/>
            <a:ext cx="8589818" cy="400110"/>
          </a:xfrm>
          <a:prstGeom prst="rect">
            <a:avLst/>
          </a:prstGeom>
          <a:noFill/>
        </p:spPr>
        <p:txBody>
          <a:bodyPr wrap="square" rtlCol="0">
            <a:spAutoFit/>
          </a:bodyPr>
          <a:lstStyle/>
          <a:p>
            <a:pPr algn="ctr"/>
            <a:r>
              <a:rPr lang="en-US" sz="2000" dirty="0">
                <a:solidFill>
                  <a:srgbClr val="003767"/>
                </a:solidFill>
              </a:rPr>
              <a:t>Older patients with AML may not benefit from intensive chemotherapy</a:t>
            </a:r>
          </a:p>
        </p:txBody>
      </p:sp>
      <p:pic>
        <p:nvPicPr>
          <p:cNvPr id="2" name="Content Placeholder 5">
            <a:extLst>
              <a:ext uri="{FF2B5EF4-FFF2-40B4-BE49-F238E27FC236}">
                <a16:creationId xmlns:a16="http://schemas.microsoft.com/office/drawing/2014/main" id="{F80A6C4F-3AA6-8211-5E1D-A3B71CF25FE9}"/>
              </a:ext>
            </a:extLst>
          </p:cNvPr>
          <p:cNvPicPr>
            <a:picLocks noGrp="1" noChangeAspect="1"/>
          </p:cNvPicPr>
          <p:nvPr>
            <p:ph idx="1"/>
          </p:nvPr>
        </p:nvPicPr>
        <p:blipFill>
          <a:blip r:embed="rId3"/>
          <a:stretch>
            <a:fillRect/>
          </a:stretch>
        </p:blipFill>
        <p:spPr>
          <a:xfrm>
            <a:off x="4389736" y="1059524"/>
            <a:ext cx="3714750" cy="2721769"/>
          </a:xfrm>
          <a:prstGeom prst="rect">
            <a:avLst/>
          </a:prstGeom>
        </p:spPr>
      </p:pic>
      <p:sp>
        <p:nvSpPr>
          <p:cNvPr id="5" name="TextBox 4">
            <a:extLst>
              <a:ext uri="{FF2B5EF4-FFF2-40B4-BE49-F238E27FC236}">
                <a16:creationId xmlns:a16="http://schemas.microsoft.com/office/drawing/2014/main" id="{5353B9E6-7535-9EDD-2B9D-0C64C57CF9AC}"/>
              </a:ext>
            </a:extLst>
          </p:cNvPr>
          <p:cNvSpPr txBox="1"/>
          <p:nvPr/>
        </p:nvSpPr>
        <p:spPr>
          <a:xfrm>
            <a:off x="381000" y="1147375"/>
            <a:ext cx="3602181" cy="2308324"/>
          </a:xfrm>
          <a:prstGeom prst="rect">
            <a:avLst/>
          </a:prstGeom>
          <a:noFill/>
        </p:spPr>
        <p:txBody>
          <a:bodyPr wrap="square" rtlCol="0">
            <a:spAutoFit/>
          </a:bodyPr>
          <a:lstStyle/>
          <a:p>
            <a:r>
              <a:rPr lang="en-US" sz="2000" dirty="0">
                <a:solidFill>
                  <a:srgbClr val="003767"/>
                </a:solidFill>
                <a:latin typeface="Calibri Light" panose="020F0302020204030204" pitchFamily="34" charset="0"/>
                <a:cs typeface="Calibri Light" panose="020F0302020204030204" pitchFamily="34" charset="0"/>
              </a:rPr>
              <a:t>Patients age ≥70 years treated with 7+3:</a:t>
            </a:r>
          </a:p>
          <a:p>
            <a:endParaRPr lang="en-US" sz="2000" dirty="0">
              <a:solidFill>
                <a:srgbClr val="003767"/>
              </a:solidFill>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sz="2000" dirty="0">
                <a:solidFill>
                  <a:srgbClr val="003767"/>
                </a:solidFill>
                <a:latin typeface="Calibri Light" panose="020F0302020204030204" pitchFamily="34" charset="0"/>
                <a:cs typeface="Calibri Light" panose="020F0302020204030204" pitchFamily="34" charset="0"/>
              </a:rPr>
              <a:t>CR 45%</a:t>
            </a:r>
          </a:p>
          <a:p>
            <a:pPr marL="285750" indent="-285750">
              <a:buFont typeface="Arial" panose="020B0604020202020204" pitchFamily="34" charset="0"/>
              <a:buChar char="•"/>
            </a:pPr>
            <a:r>
              <a:rPr lang="en-US" sz="2000" dirty="0">
                <a:solidFill>
                  <a:srgbClr val="003767"/>
                </a:solidFill>
                <a:latin typeface="Calibri Light" panose="020F0302020204030204" pitchFamily="34" charset="0"/>
                <a:cs typeface="Calibri Light" panose="020F0302020204030204" pitchFamily="34" charset="0"/>
              </a:rPr>
              <a:t>8-week mortality 36%</a:t>
            </a:r>
          </a:p>
          <a:p>
            <a:pPr marL="285750" indent="-285750">
              <a:buFont typeface="Arial" panose="020B0604020202020204" pitchFamily="34" charset="0"/>
              <a:buChar char="•"/>
            </a:pPr>
            <a:r>
              <a:rPr lang="en-US" sz="2000" dirty="0">
                <a:solidFill>
                  <a:srgbClr val="003767"/>
                </a:solidFill>
                <a:latin typeface="Calibri Light" panose="020F0302020204030204" pitchFamily="34" charset="0"/>
                <a:cs typeface="Calibri Light" panose="020F0302020204030204" pitchFamily="34" charset="0"/>
              </a:rPr>
              <a:t>Overall survival 4.6 months</a:t>
            </a:r>
          </a:p>
          <a:p>
            <a:endParaRPr lang="en-US" dirty="0">
              <a:solidFill>
                <a:srgbClr val="003767"/>
              </a:solidFill>
            </a:endParaRPr>
          </a:p>
        </p:txBody>
      </p:sp>
      <p:sp>
        <p:nvSpPr>
          <p:cNvPr id="6" name="TextBox 5">
            <a:extLst>
              <a:ext uri="{FF2B5EF4-FFF2-40B4-BE49-F238E27FC236}">
                <a16:creationId xmlns:a16="http://schemas.microsoft.com/office/drawing/2014/main" id="{225DFED3-57E5-801F-45B7-84165EF7C89B}"/>
              </a:ext>
            </a:extLst>
          </p:cNvPr>
          <p:cNvSpPr txBox="1"/>
          <p:nvPr/>
        </p:nvSpPr>
        <p:spPr>
          <a:xfrm>
            <a:off x="7153300" y="4044515"/>
            <a:ext cx="2071688" cy="253916"/>
          </a:xfrm>
          <a:prstGeom prst="rect">
            <a:avLst/>
          </a:prstGeom>
          <a:noFill/>
        </p:spPr>
        <p:txBody>
          <a:bodyPr wrap="square" rtlCol="0">
            <a:spAutoFit/>
          </a:bodyPr>
          <a:lstStyle/>
          <a:p>
            <a:r>
              <a:rPr lang="en-US" sz="1000" dirty="0" err="1">
                <a:solidFill>
                  <a:srgbClr val="003767"/>
                </a:solidFill>
              </a:rPr>
              <a:t>Kantarjian</a:t>
            </a:r>
            <a:r>
              <a:rPr lang="en-US" sz="1000" dirty="0">
                <a:solidFill>
                  <a:srgbClr val="003767"/>
                </a:solidFill>
              </a:rPr>
              <a:t> H, et al</a:t>
            </a:r>
            <a:r>
              <a:rPr lang="en-US" sz="1000" i="1" dirty="0">
                <a:solidFill>
                  <a:srgbClr val="003767"/>
                </a:solidFill>
              </a:rPr>
              <a:t>. </a:t>
            </a:r>
            <a:r>
              <a:rPr lang="en-US" sz="1000" dirty="0">
                <a:solidFill>
                  <a:srgbClr val="003767"/>
                </a:solidFill>
              </a:rPr>
              <a:t>Blood 2010</a:t>
            </a:r>
          </a:p>
        </p:txBody>
      </p:sp>
    </p:spTree>
    <p:extLst>
      <p:ext uri="{BB962C8B-B14F-4D97-AF65-F5344CB8AC3E}">
        <p14:creationId xmlns:p14="http://schemas.microsoft.com/office/powerpoint/2010/main" val="218574107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DA7E39B-81C7-7942-4282-95383E5FFFBC}"/>
              </a:ext>
            </a:extLst>
          </p:cNvPr>
          <p:cNvSpPr txBox="1"/>
          <p:nvPr/>
        </p:nvSpPr>
        <p:spPr>
          <a:xfrm>
            <a:off x="249383" y="158450"/>
            <a:ext cx="8589818" cy="400110"/>
          </a:xfrm>
          <a:prstGeom prst="rect">
            <a:avLst/>
          </a:prstGeom>
          <a:noFill/>
        </p:spPr>
        <p:txBody>
          <a:bodyPr wrap="square" rtlCol="0">
            <a:spAutoFit/>
          </a:bodyPr>
          <a:lstStyle/>
          <a:p>
            <a:pPr algn="ctr"/>
            <a:r>
              <a:rPr lang="en-US" sz="2000" dirty="0">
                <a:solidFill>
                  <a:srgbClr val="003767"/>
                </a:solidFill>
              </a:rPr>
              <a:t>Outcomes with hypomethylating agents alone</a:t>
            </a:r>
          </a:p>
        </p:txBody>
      </p:sp>
      <p:pic>
        <p:nvPicPr>
          <p:cNvPr id="4" name="Content Placeholder 3">
            <a:extLst>
              <a:ext uri="{FF2B5EF4-FFF2-40B4-BE49-F238E27FC236}">
                <a16:creationId xmlns:a16="http://schemas.microsoft.com/office/drawing/2014/main" id="{73EB7097-3C21-0F54-425C-5852FDFDA514}"/>
              </a:ext>
            </a:extLst>
          </p:cNvPr>
          <p:cNvPicPr>
            <a:picLocks noChangeAspect="1"/>
          </p:cNvPicPr>
          <p:nvPr/>
        </p:nvPicPr>
        <p:blipFill rotWithShape="1">
          <a:blip r:embed="rId2"/>
          <a:srcRect t="-48814" b="48814"/>
          <a:stretch/>
        </p:blipFill>
        <p:spPr bwMode="auto">
          <a:xfrm>
            <a:off x="916235" y="-767402"/>
            <a:ext cx="3548690" cy="3964980"/>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4">
            <a:extLst>
              <a:ext uri="{FF2B5EF4-FFF2-40B4-BE49-F238E27FC236}">
                <a16:creationId xmlns:a16="http://schemas.microsoft.com/office/drawing/2014/main" id="{F3C66A21-16E1-2009-D266-08B62A9FEB38}"/>
              </a:ext>
            </a:extLst>
          </p:cNvPr>
          <p:cNvPicPr>
            <a:picLocks noChangeAspect="1"/>
          </p:cNvPicPr>
          <p:nvPr/>
        </p:nvPicPr>
        <p:blipFill rotWithShape="1">
          <a:blip r:embed="rId3"/>
          <a:srcRect l="-1" t="48889" r="-909"/>
          <a:stretch/>
        </p:blipFill>
        <p:spPr>
          <a:xfrm>
            <a:off x="4575355" y="958080"/>
            <a:ext cx="3337539" cy="2303491"/>
          </a:xfrm>
          <a:prstGeom prst="rect">
            <a:avLst/>
          </a:prstGeom>
        </p:spPr>
      </p:pic>
      <p:sp>
        <p:nvSpPr>
          <p:cNvPr id="6" name="TextBox 5">
            <a:extLst>
              <a:ext uri="{FF2B5EF4-FFF2-40B4-BE49-F238E27FC236}">
                <a16:creationId xmlns:a16="http://schemas.microsoft.com/office/drawing/2014/main" id="{235947DC-4D4D-18C8-D411-E99EB9AA6E2C}"/>
              </a:ext>
            </a:extLst>
          </p:cNvPr>
          <p:cNvSpPr txBox="1"/>
          <p:nvPr/>
        </p:nvSpPr>
        <p:spPr>
          <a:xfrm>
            <a:off x="1236582" y="3389497"/>
            <a:ext cx="3067161"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srgbClr val="003767"/>
                </a:solidFill>
                <a:latin typeface="Calibri Light" panose="020F0302020204030204" pitchFamily="34" charset="0"/>
                <a:cs typeface="Calibri Light" panose="020F0302020204030204" pitchFamily="34" charset="0"/>
              </a:rPr>
              <a:t>CR 20%</a:t>
            </a:r>
          </a:p>
          <a:p>
            <a:pPr marL="285750" indent="-285750">
              <a:buFont typeface="Arial" panose="020B0604020202020204" pitchFamily="34" charset="0"/>
              <a:buChar char="•"/>
            </a:pPr>
            <a:r>
              <a:rPr lang="en-US" sz="1600" dirty="0">
                <a:solidFill>
                  <a:srgbClr val="003767"/>
                </a:solidFill>
                <a:latin typeface="Calibri Light" panose="020F0302020204030204" pitchFamily="34" charset="0"/>
                <a:cs typeface="Calibri Light" panose="020F0302020204030204" pitchFamily="34" charset="0"/>
              </a:rPr>
              <a:t>Overall survival 10.4 months</a:t>
            </a:r>
          </a:p>
        </p:txBody>
      </p:sp>
      <p:sp>
        <p:nvSpPr>
          <p:cNvPr id="7" name="TextBox 6">
            <a:extLst>
              <a:ext uri="{FF2B5EF4-FFF2-40B4-BE49-F238E27FC236}">
                <a16:creationId xmlns:a16="http://schemas.microsoft.com/office/drawing/2014/main" id="{1A765B2C-AF7F-DAFE-4858-84B4C5F8A564}"/>
              </a:ext>
            </a:extLst>
          </p:cNvPr>
          <p:cNvSpPr txBox="1"/>
          <p:nvPr/>
        </p:nvSpPr>
        <p:spPr>
          <a:xfrm>
            <a:off x="4854525" y="3407053"/>
            <a:ext cx="3146475"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srgbClr val="003767"/>
                </a:solidFill>
                <a:latin typeface="Calibri Light" panose="020F0302020204030204" pitchFamily="34" charset="0"/>
                <a:cs typeface="Calibri Light" panose="020F0302020204030204" pitchFamily="34" charset="0"/>
              </a:rPr>
              <a:t>CR 18%</a:t>
            </a:r>
          </a:p>
          <a:p>
            <a:pPr marL="285750" indent="-285750">
              <a:buFont typeface="Arial" panose="020B0604020202020204" pitchFamily="34" charset="0"/>
              <a:buChar char="•"/>
            </a:pPr>
            <a:r>
              <a:rPr lang="en-US" sz="1600" dirty="0">
                <a:solidFill>
                  <a:srgbClr val="003767"/>
                </a:solidFill>
                <a:latin typeface="Calibri Light" panose="020F0302020204030204" pitchFamily="34" charset="0"/>
                <a:cs typeface="Calibri Light" panose="020F0302020204030204" pitchFamily="34" charset="0"/>
              </a:rPr>
              <a:t>Overall survival 7.8 months</a:t>
            </a:r>
          </a:p>
        </p:txBody>
      </p:sp>
      <p:sp>
        <p:nvSpPr>
          <p:cNvPr id="8" name="TextBox 7">
            <a:extLst>
              <a:ext uri="{FF2B5EF4-FFF2-40B4-BE49-F238E27FC236}">
                <a16:creationId xmlns:a16="http://schemas.microsoft.com/office/drawing/2014/main" id="{9A30F5BC-6C7D-4E53-C430-1DD3202642E6}"/>
              </a:ext>
            </a:extLst>
          </p:cNvPr>
          <p:cNvSpPr txBox="1"/>
          <p:nvPr/>
        </p:nvSpPr>
        <p:spPr>
          <a:xfrm>
            <a:off x="7547047" y="4051099"/>
            <a:ext cx="1721644" cy="338554"/>
          </a:xfrm>
          <a:prstGeom prst="rect">
            <a:avLst/>
          </a:prstGeom>
          <a:noFill/>
        </p:spPr>
        <p:txBody>
          <a:bodyPr wrap="square" rtlCol="0">
            <a:spAutoFit/>
          </a:bodyPr>
          <a:lstStyle/>
          <a:p>
            <a:r>
              <a:rPr lang="en-US" sz="800" dirty="0" err="1">
                <a:solidFill>
                  <a:srgbClr val="003767"/>
                </a:solidFill>
              </a:rPr>
              <a:t>Dombret</a:t>
            </a:r>
            <a:r>
              <a:rPr lang="en-US" sz="800" dirty="0">
                <a:solidFill>
                  <a:srgbClr val="003767"/>
                </a:solidFill>
              </a:rPr>
              <a:t> H, et al</a:t>
            </a:r>
            <a:r>
              <a:rPr lang="en-US" sz="800" i="1" dirty="0">
                <a:solidFill>
                  <a:srgbClr val="003767"/>
                </a:solidFill>
              </a:rPr>
              <a:t>. </a:t>
            </a:r>
            <a:r>
              <a:rPr lang="en-US" sz="800" dirty="0">
                <a:solidFill>
                  <a:srgbClr val="003767"/>
                </a:solidFill>
              </a:rPr>
              <a:t>Blood 2015</a:t>
            </a:r>
          </a:p>
          <a:p>
            <a:r>
              <a:rPr lang="en-US" sz="800" dirty="0" err="1">
                <a:solidFill>
                  <a:srgbClr val="003767"/>
                </a:solidFill>
              </a:rPr>
              <a:t>Kantarjian</a:t>
            </a:r>
            <a:r>
              <a:rPr lang="en-US" sz="800" dirty="0">
                <a:solidFill>
                  <a:srgbClr val="003767"/>
                </a:solidFill>
              </a:rPr>
              <a:t> H, et al. J Clin Oncol </a:t>
            </a:r>
          </a:p>
        </p:txBody>
      </p:sp>
    </p:spTree>
    <p:extLst>
      <p:ext uri="{BB962C8B-B14F-4D97-AF65-F5344CB8AC3E}">
        <p14:creationId xmlns:p14="http://schemas.microsoft.com/office/powerpoint/2010/main" val="199838942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solidFill>
                  <a:srgbClr val="003767"/>
                </a:solidFill>
              </a:rPr>
              <a:t>AML: Prognostic factors</a:t>
            </a:r>
          </a:p>
        </p:txBody>
      </p:sp>
      <p:sp>
        <p:nvSpPr>
          <p:cNvPr id="3" name="Content Placeholder 2"/>
          <p:cNvSpPr>
            <a:spLocks noGrp="1"/>
          </p:cNvSpPr>
          <p:nvPr>
            <p:ph sz="half" idx="1"/>
          </p:nvPr>
        </p:nvSpPr>
        <p:spPr/>
        <p:txBody>
          <a:bodyPr>
            <a:normAutofit/>
          </a:bodyPr>
          <a:lstStyle/>
          <a:p>
            <a:pPr marL="0" indent="0">
              <a:buNone/>
            </a:pPr>
            <a:r>
              <a:rPr lang="en-US" sz="2000" dirty="0">
                <a:solidFill>
                  <a:srgbClr val="003767"/>
                </a:solidFill>
                <a:latin typeface="Calibri Light" panose="020F0302020204030204" pitchFamily="34" charset="0"/>
                <a:cs typeface="Calibri Light" panose="020F0302020204030204" pitchFamily="34" charset="0"/>
              </a:rPr>
              <a:t>Patient related:</a:t>
            </a:r>
          </a:p>
          <a:p>
            <a:r>
              <a:rPr lang="en-US" sz="2000" dirty="0">
                <a:solidFill>
                  <a:srgbClr val="FF0000"/>
                </a:solidFill>
                <a:latin typeface="Calibri Light" panose="020F0302020204030204" pitchFamily="34" charset="0"/>
                <a:cs typeface="Calibri Light" panose="020F0302020204030204" pitchFamily="34" charset="0"/>
              </a:rPr>
              <a:t>Advanced age</a:t>
            </a:r>
          </a:p>
          <a:p>
            <a:r>
              <a:rPr lang="en-US" sz="2000" dirty="0">
                <a:solidFill>
                  <a:srgbClr val="FF0000"/>
                </a:solidFill>
                <a:latin typeface="Calibri Light" panose="020F0302020204030204" pitchFamily="34" charset="0"/>
                <a:cs typeface="Calibri Light" panose="020F0302020204030204" pitchFamily="34" charset="0"/>
              </a:rPr>
              <a:t>Poor performance status/High comorbidity index score</a:t>
            </a:r>
          </a:p>
          <a:p>
            <a:endParaRPr lang="en-US" sz="1800" dirty="0">
              <a:solidFill>
                <a:srgbClr val="003767"/>
              </a:solidFill>
              <a:latin typeface="Calibri Light" panose="020F0302020204030204" pitchFamily="34" charset="0"/>
              <a:cs typeface="Calibri Light" panose="020F0302020204030204" pitchFamily="34" charset="0"/>
            </a:endParaRPr>
          </a:p>
        </p:txBody>
      </p:sp>
      <p:sp>
        <p:nvSpPr>
          <p:cNvPr id="5" name="Content Placeholder 4"/>
          <p:cNvSpPr>
            <a:spLocks noGrp="1"/>
          </p:cNvSpPr>
          <p:nvPr>
            <p:ph sz="half" idx="2"/>
          </p:nvPr>
        </p:nvSpPr>
        <p:spPr/>
        <p:txBody>
          <a:bodyPr>
            <a:normAutofit fontScale="70000" lnSpcReduction="20000"/>
          </a:bodyPr>
          <a:lstStyle/>
          <a:p>
            <a:pPr marL="0" indent="0">
              <a:buNone/>
            </a:pPr>
            <a:r>
              <a:rPr lang="en-US" dirty="0">
                <a:solidFill>
                  <a:srgbClr val="003767"/>
                </a:solidFill>
                <a:latin typeface="Calibri Light" panose="020F0302020204030204" pitchFamily="34" charset="0"/>
                <a:cs typeface="Calibri Light" panose="020F0302020204030204" pitchFamily="34" charset="0"/>
              </a:rPr>
              <a:t>Disease related:</a:t>
            </a:r>
          </a:p>
          <a:p>
            <a:r>
              <a:rPr lang="en-US" dirty="0">
                <a:solidFill>
                  <a:srgbClr val="003767"/>
                </a:solidFill>
                <a:latin typeface="Calibri Light" panose="020F0302020204030204" pitchFamily="34" charset="0"/>
                <a:cs typeface="Calibri Light" panose="020F0302020204030204" pitchFamily="34" charset="0"/>
              </a:rPr>
              <a:t>Poor risk cytogenetics</a:t>
            </a:r>
          </a:p>
          <a:p>
            <a:r>
              <a:rPr lang="en-US" dirty="0">
                <a:solidFill>
                  <a:srgbClr val="003767"/>
                </a:solidFill>
                <a:latin typeface="Calibri Light" panose="020F0302020204030204" pitchFamily="34" charset="0"/>
                <a:cs typeface="Calibri Light" panose="020F0302020204030204" pitchFamily="34" charset="0"/>
              </a:rPr>
              <a:t>Molecular mutations</a:t>
            </a:r>
          </a:p>
          <a:p>
            <a:r>
              <a:rPr lang="en-US" dirty="0" err="1">
                <a:solidFill>
                  <a:srgbClr val="003767"/>
                </a:solidFill>
                <a:latin typeface="Calibri Light" panose="020F0302020204030204" pitchFamily="34" charset="0"/>
                <a:cs typeface="Calibri Light" panose="020F0302020204030204" pitchFamily="34" charset="0"/>
              </a:rPr>
              <a:t>Extramedullary</a:t>
            </a:r>
            <a:r>
              <a:rPr lang="en-US" dirty="0">
                <a:solidFill>
                  <a:srgbClr val="003767"/>
                </a:solidFill>
                <a:latin typeface="Calibri Light" panose="020F0302020204030204" pitchFamily="34" charset="0"/>
                <a:cs typeface="Calibri Light" panose="020F0302020204030204" pitchFamily="34" charset="0"/>
              </a:rPr>
              <a:t> disease (</a:t>
            </a:r>
            <a:r>
              <a:rPr lang="en-US" dirty="0" err="1">
                <a:solidFill>
                  <a:srgbClr val="003767"/>
                </a:solidFill>
                <a:latin typeface="Calibri Light" panose="020F0302020204030204" pitchFamily="34" charset="0"/>
                <a:cs typeface="Calibri Light" panose="020F0302020204030204" pitchFamily="34" charset="0"/>
              </a:rPr>
              <a:t>ie</a:t>
            </a:r>
            <a:r>
              <a:rPr lang="en-US" dirty="0">
                <a:solidFill>
                  <a:srgbClr val="003767"/>
                </a:solidFill>
                <a:latin typeface="Calibri Light" panose="020F0302020204030204" pitchFamily="34" charset="0"/>
                <a:cs typeface="Calibri Light" panose="020F0302020204030204" pitchFamily="34" charset="0"/>
              </a:rPr>
              <a:t> CNS)</a:t>
            </a:r>
          </a:p>
          <a:p>
            <a:r>
              <a:rPr lang="en-US" dirty="0">
                <a:solidFill>
                  <a:srgbClr val="FF0000"/>
                </a:solidFill>
                <a:latin typeface="Calibri Light" panose="020F0302020204030204" pitchFamily="34" charset="0"/>
                <a:cs typeface="Calibri Light" panose="020F0302020204030204" pitchFamily="34" charset="0"/>
              </a:rPr>
              <a:t>Treatment-related AML: previous chemotherapy/radiation </a:t>
            </a:r>
          </a:p>
          <a:p>
            <a:r>
              <a:rPr lang="en-US" dirty="0">
                <a:solidFill>
                  <a:srgbClr val="FF0000"/>
                </a:solidFill>
                <a:latin typeface="Calibri Light" panose="020F0302020204030204" pitchFamily="34" charset="0"/>
                <a:cs typeface="Calibri Light" panose="020F0302020204030204" pitchFamily="34" charset="0"/>
              </a:rPr>
              <a:t>Secondary AML: underlying hematologic disorder</a:t>
            </a:r>
          </a:p>
          <a:p>
            <a:r>
              <a:rPr lang="en-US" dirty="0">
                <a:solidFill>
                  <a:srgbClr val="003767"/>
                </a:solidFill>
                <a:latin typeface="Calibri Light" panose="020F0302020204030204" pitchFamily="34" charset="0"/>
                <a:cs typeface="Calibri Light" panose="020F0302020204030204" pitchFamily="34" charset="0"/>
              </a:rPr>
              <a:t>WBC &gt;50,000 at diagnosis</a:t>
            </a:r>
          </a:p>
          <a:p>
            <a:pPr marL="0" indent="0">
              <a:buNone/>
            </a:pPr>
            <a:endParaRPr lang="en-US" dirty="0">
              <a:solidFill>
                <a:srgbClr val="003767"/>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89557860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C59D51-D12F-9146-81B1-31D65082B6C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7A15C69-143E-F09C-E595-4681CC14FEDC}"/>
              </a:ext>
            </a:extLst>
          </p:cNvPr>
          <p:cNvSpPr>
            <a:spLocks noGrp="1"/>
          </p:cNvSpPr>
          <p:nvPr>
            <p:ph type="title"/>
          </p:nvPr>
        </p:nvSpPr>
        <p:spPr/>
        <p:txBody>
          <a:bodyPr/>
          <a:lstStyle/>
          <a:p>
            <a:endParaRPr lang="en-US"/>
          </a:p>
        </p:txBody>
      </p:sp>
      <p:sp>
        <p:nvSpPr>
          <p:cNvPr id="5" name="Text Placeholder 4">
            <a:extLst>
              <a:ext uri="{FF2B5EF4-FFF2-40B4-BE49-F238E27FC236}">
                <a16:creationId xmlns:a16="http://schemas.microsoft.com/office/drawing/2014/main" id="{DEAAEAEA-1362-2620-C9C5-941ABF86CC39}"/>
              </a:ext>
            </a:extLst>
          </p:cNvPr>
          <p:cNvSpPr>
            <a:spLocks noGrp="1"/>
          </p:cNvSpPr>
          <p:nvPr>
            <p:ph type="body" idx="1"/>
          </p:nvPr>
        </p:nvSpPr>
        <p:spPr/>
        <p:txBody>
          <a:bodyPr/>
          <a:lstStyle/>
          <a:p>
            <a:r>
              <a:rPr lang="en-US" sz="3600" dirty="0">
                <a:solidFill>
                  <a:srgbClr val="003767"/>
                </a:solidFill>
                <a:latin typeface="Calibri Light" panose="020F0302020204030204" pitchFamily="34" charset="0"/>
                <a:cs typeface="Calibri Light" panose="020F0302020204030204" pitchFamily="34" charset="0"/>
              </a:rPr>
              <a:t>Novel therapies for older AML</a:t>
            </a:r>
            <a:endParaRPr lang="en-US" sz="3600" dirty="0">
              <a:solidFill>
                <a:srgbClr val="003767"/>
              </a:solidFill>
            </a:endParaRPr>
          </a:p>
        </p:txBody>
      </p:sp>
    </p:spTree>
    <p:extLst>
      <p:ext uri="{BB962C8B-B14F-4D97-AF65-F5344CB8AC3E}">
        <p14:creationId xmlns:p14="http://schemas.microsoft.com/office/powerpoint/2010/main" val="237325004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ight Arrow 3">
            <a:extLst>
              <a:ext uri="{FF2B5EF4-FFF2-40B4-BE49-F238E27FC236}">
                <a16:creationId xmlns:a16="http://schemas.microsoft.com/office/drawing/2014/main" id="{AB9A7209-263E-F846-A00F-92071FB14910}"/>
              </a:ext>
            </a:extLst>
          </p:cNvPr>
          <p:cNvSpPr/>
          <p:nvPr/>
        </p:nvSpPr>
        <p:spPr>
          <a:xfrm>
            <a:off x="1558637" y="1690904"/>
            <a:ext cx="6130637" cy="155864"/>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23461" eaLnBrk="0" hangingPunct="0">
              <a:defRPr/>
            </a:pPr>
            <a:endParaRPr lang="en-US" sz="1227">
              <a:solidFill>
                <a:prstClr val="white"/>
              </a:solidFill>
              <a:latin typeface="Calibri"/>
            </a:endParaRPr>
          </a:p>
        </p:txBody>
      </p:sp>
      <p:sp>
        <p:nvSpPr>
          <p:cNvPr id="4099" name="TextBox 4">
            <a:extLst>
              <a:ext uri="{FF2B5EF4-FFF2-40B4-BE49-F238E27FC236}">
                <a16:creationId xmlns:a16="http://schemas.microsoft.com/office/drawing/2014/main" id="{0A113E1E-CDFC-48C3-80E9-8B2502173478}"/>
              </a:ext>
            </a:extLst>
          </p:cNvPr>
          <p:cNvSpPr txBox="1">
            <a:spLocks noChangeArrowheads="1"/>
          </p:cNvSpPr>
          <p:nvPr/>
        </p:nvSpPr>
        <p:spPr bwMode="auto">
          <a:xfrm>
            <a:off x="1131094" y="911586"/>
            <a:ext cx="1002197" cy="82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623461" eaLnBrk="0" hangingPunct="0">
              <a:defRPr/>
            </a:pPr>
            <a:endParaRPr lang="en-US" altLang="en-US" sz="955">
              <a:solidFill>
                <a:srgbClr val="FFC000"/>
              </a:solidFill>
              <a:ea typeface="+mn-ea"/>
            </a:endParaRPr>
          </a:p>
          <a:p>
            <a:pPr defTabSz="623461" eaLnBrk="0" hangingPunct="0">
              <a:defRPr/>
            </a:pPr>
            <a:r>
              <a:rPr lang="en-US" altLang="en-US" sz="955">
                <a:solidFill>
                  <a:srgbClr val="FFC000"/>
                </a:solidFill>
                <a:ea typeface="+mn-ea"/>
              </a:rPr>
              <a:t>Leukamie</a:t>
            </a:r>
          </a:p>
          <a:p>
            <a:pPr defTabSz="623461" eaLnBrk="0" hangingPunct="0">
              <a:defRPr/>
            </a:pPr>
            <a:r>
              <a:rPr lang="en-US" altLang="en-US" sz="955">
                <a:solidFill>
                  <a:srgbClr val="FFC000"/>
                </a:solidFill>
                <a:ea typeface="+mn-ea"/>
              </a:rPr>
              <a:t>(Virchow)</a:t>
            </a:r>
          </a:p>
          <a:p>
            <a:pPr defTabSz="623461" eaLnBrk="0" hangingPunct="0">
              <a:defRPr/>
            </a:pPr>
            <a:r>
              <a:rPr lang="en-US" altLang="en-US" sz="955">
                <a:solidFill>
                  <a:srgbClr val="FFC000"/>
                </a:solidFill>
                <a:ea typeface="+mn-ea"/>
              </a:rPr>
              <a:t>Leucocythemia</a:t>
            </a:r>
          </a:p>
          <a:p>
            <a:pPr defTabSz="623461" eaLnBrk="0" hangingPunct="0">
              <a:defRPr/>
            </a:pPr>
            <a:r>
              <a:rPr lang="en-US" altLang="en-US" sz="955">
                <a:solidFill>
                  <a:srgbClr val="FFC000"/>
                </a:solidFill>
                <a:ea typeface="+mn-ea"/>
              </a:rPr>
              <a:t>(Bennett)</a:t>
            </a:r>
          </a:p>
        </p:txBody>
      </p:sp>
      <p:cxnSp>
        <p:nvCxnSpPr>
          <p:cNvPr id="7" name="Straight Connector 6">
            <a:extLst>
              <a:ext uri="{FF2B5EF4-FFF2-40B4-BE49-F238E27FC236}">
                <a16:creationId xmlns:a16="http://schemas.microsoft.com/office/drawing/2014/main" id="{A08C9D9F-0D0A-C44B-AAA5-83D579048AFE}"/>
              </a:ext>
            </a:extLst>
          </p:cNvPr>
          <p:cNvCxnSpPr>
            <a:cxnSpLocks/>
          </p:cNvCxnSpPr>
          <p:nvPr/>
        </p:nvCxnSpPr>
        <p:spPr>
          <a:xfrm>
            <a:off x="2389909" y="1690904"/>
            <a:ext cx="0" cy="155864"/>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4101" name="Rectangle 9">
            <a:extLst>
              <a:ext uri="{FF2B5EF4-FFF2-40B4-BE49-F238E27FC236}">
                <a16:creationId xmlns:a16="http://schemas.microsoft.com/office/drawing/2014/main" id="{42022CD5-252D-45F7-AD04-DA8D3CD6DD10}"/>
              </a:ext>
            </a:extLst>
          </p:cNvPr>
          <p:cNvSpPr>
            <a:spLocks noChangeArrowheads="1"/>
          </p:cNvSpPr>
          <p:nvPr/>
        </p:nvSpPr>
        <p:spPr bwMode="auto">
          <a:xfrm>
            <a:off x="1359479" y="1846769"/>
            <a:ext cx="6329795" cy="260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623461" eaLnBrk="0" hangingPunct="0">
              <a:defRPr/>
            </a:pPr>
            <a:r>
              <a:rPr lang="en-US" altLang="en-US" sz="1091" dirty="0">
                <a:solidFill>
                  <a:srgbClr val="FFC000"/>
                </a:solidFill>
                <a:ea typeface="+mn-ea"/>
              </a:rPr>
              <a:t>1847</a:t>
            </a:r>
            <a:r>
              <a:rPr lang="en-US" altLang="en-US" sz="1091" dirty="0">
                <a:solidFill>
                  <a:prstClr val="white"/>
                </a:solidFill>
                <a:ea typeface="+mn-ea"/>
              </a:rPr>
              <a:t>	     1900		1950		2000		2010	              2021</a:t>
            </a:r>
          </a:p>
        </p:txBody>
      </p:sp>
      <p:sp>
        <p:nvSpPr>
          <p:cNvPr id="4102" name="TextBox 13">
            <a:extLst>
              <a:ext uri="{FF2B5EF4-FFF2-40B4-BE49-F238E27FC236}">
                <a16:creationId xmlns:a16="http://schemas.microsoft.com/office/drawing/2014/main" id="{1E2024ED-8EBA-498A-8E55-351BD2E4304F}"/>
              </a:ext>
            </a:extLst>
          </p:cNvPr>
          <p:cNvSpPr txBox="1">
            <a:spLocks noChangeArrowheads="1"/>
          </p:cNvSpPr>
          <p:nvPr/>
        </p:nvSpPr>
        <p:spPr bwMode="auto">
          <a:xfrm>
            <a:off x="1735068" y="807677"/>
            <a:ext cx="1797287" cy="386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623461" eaLnBrk="0" hangingPunct="0">
              <a:defRPr/>
            </a:pPr>
            <a:r>
              <a:rPr lang="en-US" altLang="en-US" sz="955">
                <a:solidFill>
                  <a:prstClr val="white"/>
                </a:solidFill>
                <a:ea typeface="+mn-ea"/>
              </a:rPr>
              <a:t>BM Disease, BM Biopsy</a:t>
            </a:r>
          </a:p>
          <a:p>
            <a:pPr defTabSz="623461" eaLnBrk="0" hangingPunct="0">
              <a:defRPr/>
            </a:pPr>
            <a:r>
              <a:rPr lang="en-US" altLang="en-US" sz="955">
                <a:solidFill>
                  <a:prstClr val="white"/>
                </a:solidFill>
                <a:ea typeface="+mn-ea"/>
              </a:rPr>
              <a:t>(Neumann 1872, Mosler1876)</a:t>
            </a:r>
          </a:p>
        </p:txBody>
      </p:sp>
      <p:sp>
        <p:nvSpPr>
          <p:cNvPr id="4103" name="TextBox 14">
            <a:extLst>
              <a:ext uri="{FF2B5EF4-FFF2-40B4-BE49-F238E27FC236}">
                <a16:creationId xmlns:a16="http://schemas.microsoft.com/office/drawing/2014/main" id="{0A827BC0-D397-49E0-9C3F-8D11BBA13A85}"/>
              </a:ext>
            </a:extLst>
          </p:cNvPr>
          <p:cNvSpPr txBox="1">
            <a:spLocks noChangeArrowheads="1"/>
          </p:cNvSpPr>
          <p:nvPr/>
        </p:nvSpPr>
        <p:spPr bwMode="auto">
          <a:xfrm>
            <a:off x="2389910" y="1334801"/>
            <a:ext cx="4758170" cy="281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623461" eaLnBrk="0" hangingPunct="0">
              <a:defRPr/>
            </a:pPr>
            <a:r>
              <a:rPr lang="en-US" altLang="en-US" sz="1227" dirty="0">
                <a:solidFill>
                  <a:prstClr val="white"/>
                </a:solidFill>
                <a:ea typeface="+mn-ea"/>
              </a:rPr>
              <a:t>Morphology       Cytogenetic	 Molecular        Genomic/NGS</a:t>
            </a:r>
          </a:p>
        </p:txBody>
      </p:sp>
      <p:cxnSp>
        <p:nvCxnSpPr>
          <p:cNvPr id="16" name="Straight Connector 15">
            <a:extLst>
              <a:ext uri="{FF2B5EF4-FFF2-40B4-BE49-F238E27FC236}">
                <a16:creationId xmlns:a16="http://schemas.microsoft.com/office/drawing/2014/main" id="{32A843F0-0821-FD4A-BC4B-848162EE2CC9}"/>
              </a:ext>
            </a:extLst>
          </p:cNvPr>
          <p:cNvCxnSpPr>
            <a:cxnSpLocks/>
          </p:cNvCxnSpPr>
          <p:nvPr/>
        </p:nvCxnSpPr>
        <p:spPr>
          <a:xfrm>
            <a:off x="3429000" y="1690904"/>
            <a:ext cx="0" cy="155864"/>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66B73EF-67A6-2349-B603-FF4575036C6D}"/>
              </a:ext>
            </a:extLst>
          </p:cNvPr>
          <p:cNvCxnSpPr>
            <a:cxnSpLocks/>
          </p:cNvCxnSpPr>
          <p:nvPr/>
        </p:nvCxnSpPr>
        <p:spPr>
          <a:xfrm>
            <a:off x="4675909" y="1690904"/>
            <a:ext cx="0" cy="155864"/>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7C38FB5-8F8B-F547-8096-F68F6623476D}"/>
              </a:ext>
            </a:extLst>
          </p:cNvPr>
          <p:cNvCxnSpPr>
            <a:cxnSpLocks/>
          </p:cNvCxnSpPr>
          <p:nvPr/>
        </p:nvCxnSpPr>
        <p:spPr>
          <a:xfrm>
            <a:off x="5974773" y="1690904"/>
            <a:ext cx="0" cy="155864"/>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ED4EEA5-C051-EF47-A393-0A00A9BE1688}"/>
              </a:ext>
            </a:extLst>
          </p:cNvPr>
          <p:cNvCxnSpPr>
            <a:cxnSpLocks/>
          </p:cNvCxnSpPr>
          <p:nvPr/>
        </p:nvCxnSpPr>
        <p:spPr>
          <a:xfrm>
            <a:off x="2078182" y="1216820"/>
            <a:ext cx="0" cy="422131"/>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8" name="Title 21">
            <a:extLst>
              <a:ext uri="{FF2B5EF4-FFF2-40B4-BE49-F238E27FC236}">
                <a16:creationId xmlns:a16="http://schemas.microsoft.com/office/drawing/2014/main" id="{8B19409F-4074-4F59-BAEE-FCC2F91B0FE2}"/>
              </a:ext>
            </a:extLst>
          </p:cNvPr>
          <p:cNvSpPr>
            <a:spLocks noGrp="1"/>
          </p:cNvSpPr>
          <p:nvPr>
            <p:ph type="title"/>
          </p:nvPr>
        </p:nvSpPr>
        <p:spPr>
          <a:xfrm>
            <a:off x="1203615" y="236176"/>
            <a:ext cx="6641523" cy="503310"/>
          </a:xfrm>
        </p:spPr>
        <p:txBody>
          <a:bodyPr/>
          <a:lstStyle/>
          <a:p>
            <a:r>
              <a:rPr lang="en-US" altLang="en-US" sz="2182" b="1" dirty="0">
                <a:solidFill>
                  <a:srgbClr val="FFFF00"/>
                </a:solidFill>
              </a:rPr>
              <a:t>A Historical Perspective of Acute Myeloid Leukemia</a:t>
            </a:r>
          </a:p>
        </p:txBody>
      </p:sp>
      <p:cxnSp>
        <p:nvCxnSpPr>
          <p:cNvPr id="23" name="Straight Connector 22">
            <a:extLst>
              <a:ext uri="{FF2B5EF4-FFF2-40B4-BE49-F238E27FC236}">
                <a16:creationId xmlns:a16="http://schemas.microsoft.com/office/drawing/2014/main" id="{F0D1B44D-9A86-FE41-849C-1CE147AC6CF6}"/>
              </a:ext>
            </a:extLst>
          </p:cNvPr>
          <p:cNvCxnSpPr>
            <a:cxnSpLocks/>
          </p:cNvCxnSpPr>
          <p:nvPr/>
        </p:nvCxnSpPr>
        <p:spPr>
          <a:xfrm>
            <a:off x="1558637" y="1690904"/>
            <a:ext cx="0" cy="155864"/>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4110" name="TextBox 25">
            <a:extLst>
              <a:ext uri="{FF2B5EF4-FFF2-40B4-BE49-F238E27FC236}">
                <a16:creationId xmlns:a16="http://schemas.microsoft.com/office/drawing/2014/main" id="{7AB4BF95-9E29-41C4-8690-AF894DB32A13}"/>
              </a:ext>
            </a:extLst>
          </p:cNvPr>
          <p:cNvSpPr txBox="1">
            <a:spLocks noChangeArrowheads="1"/>
          </p:cNvSpPr>
          <p:nvPr/>
        </p:nvSpPr>
        <p:spPr bwMode="auto">
          <a:xfrm>
            <a:off x="3419261" y="2122776"/>
            <a:ext cx="1257075" cy="827150"/>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623461" eaLnBrk="0" hangingPunct="0">
              <a:defRPr/>
            </a:pPr>
            <a:r>
              <a:rPr lang="en-US" altLang="en-US" sz="955">
                <a:solidFill>
                  <a:prstClr val="white"/>
                </a:solidFill>
                <a:ea typeface="+mn-ea"/>
              </a:rPr>
              <a:t>FAB Classification</a:t>
            </a:r>
          </a:p>
          <a:p>
            <a:pPr defTabSz="623461" eaLnBrk="0" hangingPunct="0">
              <a:defRPr/>
            </a:pPr>
            <a:r>
              <a:rPr lang="en-US" altLang="en-US" sz="955">
                <a:solidFill>
                  <a:prstClr val="white"/>
                </a:solidFill>
                <a:ea typeface="+mn-ea"/>
              </a:rPr>
              <a:t>(1976)</a:t>
            </a:r>
          </a:p>
          <a:p>
            <a:pPr defTabSz="623461" eaLnBrk="0" hangingPunct="0">
              <a:defRPr/>
            </a:pPr>
            <a:r>
              <a:rPr lang="en-US" altLang="en-US" sz="955">
                <a:solidFill>
                  <a:prstClr val="white"/>
                </a:solidFill>
                <a:ea typeface="+mn-ea"/>
              </a:rPr>
              <a:t>--</a:t>
            </a:r>
          </a:p>
          <a:p>
            <a:pPr defTabSz="623461" eaLnBrk="0" hangingPunct="0">
              <a:defRPr/>
            </a:pPr>
            <a:r>
              <a:rPr lang="en-US" altLang="en-US" sz="955">
                <a:solidFill>
                  <a:prstClr val="white"/>
                </a:solidFill>
                <a:ea typeface="+mn-ea"/>
              </a:rPr>
              <a:t>No cytogenetics</a:t>
            </a:r>
          </a:p>
          <a:p>
            <a:pPr defTabSz="623461" eaLnBrk="0" hangingPunct="0">
              <a:defRPr/>
            </a:pPr>
            <a:r>
              <a:rPr lang="en-US" altLang="en-US" sz="955">
                <a:solidFill>
                  <a:prstClr val="white"/>
                </a:solidFill>
                <a:ea typeface="+mn-ea"/>
              </a:rPr>
              <a:t>No prognostic value</a:t>
            </a:r>
          </a:p>
        </p:txBody>
      </p:sp>
      <p:sp>
        <p:nvSpPr>
          <p:cNvPr id="4111" name="TextBox 26">
            <a:extLst>
              <a:ext uri="{FF2B5EF4-FFF2-40B4-BE49-F238E27FC236}">
                <a16:creationId xmlns:a16="http://schemas.microsoft.com/office/drawing/2014/main" id="{4AE65ACF-A29A-48D6-B856-49F8696B751E}"/>
              </a:ext>
            </a:extLst>
          </p:cNvPr>
          <p:cNvSpPr txBox="1">
            <a:spLocks noChangeArrowheads="1"/>
          </p:cNvSpPr>
          <p:nvPr/>
        </p:nvSpPr>
        <p:spPr bwMode="auto">
          <a:xfrm>
            <a:off x="1298865" y="2111953"/>
            <a:ext cx="1989647" cy="595804"/>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623461" eaLnBrk="0" hangingPunct="0">
              <a:defRPr/>
            </a:pPr>
            <a:r>
              <a:rPr lang="en-US" altLang="en-US" sz="818">
                <a:solidFill>
                  <a:prstClr val="white"/>
                </a:solidFill>
                <a:ea typeface="+mn-ea"/>
              </a:rPr>
              <a:t>Acute monoblastic leukemia (1913)</a:t>
            </a:r>
          </a:p>
          <a:p>
            <a:pPr defTabSz="623461" eaLnBrk="0" hangingPunct="0">
              <a:defRPr/>
            </a:pPr>
            <a:r>
              <a:rPr lang="en-US" altLang="en-US" sz="818">
                <a:solidFill>
                  <a:prstClr val="white"/>
                </a:solidFill>
                <a:ea typeface="+mn-ea"/>
              </a:rPr>
              <a:t>Acute Erythroleukemia (1917)</a:t>
            </a:r>
          </a:p>
          <a:p>
            <a:pPr defTabSz="623461" eaLnBrk="0" hangingPunct="0">
              <a:defRPr/>
            </a:pPr>
            <a:r>
              <a:rPr lang="en-US" altLang="en-US" sz="818">
                <a:solidFill>
                  <a:prstClr val="white"/>
                </a:solidFill>
                <a:ea typeface="+mn-ea"/>
              </a:rPr>
              <a:t>Acute Megakaryocytic leukemia (1931)</a:t>
            </a:r>
          </a:p>
          <a:p>
            <a:pPr defTabSz="623461" eaLnBrk="0" hangingPunct="0">
              <a:defRPr/>
            </a:pPr>
            <a:r>
              <a:rPr lang="en-US" altLang="en-US" sz="818">
                <a:solidFill>
                  <a:prstClr val="white"/>
                </a:solidFill>
                <a:ea typeface="+mn-ea"/>
              </a:rPr>
              <a:t>Acute Promyelocytic leukemia (1957)</a:t>
            </a:r>
          </a:p>
        </p:txBody>
      </p:sp>
      <p:sp>
        <p:nvSpPr>
          <p:cNvPr id="4112" name="TextBox 28">
            <a:extLst>
              <a:ext uri="{FF2B5EF4-FFF2-40B4-BE49-F238E27FC236}">
                <a16:creationId xmlns:a16="http://schemas.microsoft.com/office/drawing/2014/main" id="{CDEC0DA8-0B5A-4B14-8323-B0E59E653294}"/>
              </a:ext>
            </a:extLst>
          </p:cNvPr>
          <p:cNvSpPr txBox="1">
            <a:spLocks noChangeArrowheads="1"/>
          </p:cNvSpPr>
          <p:nvPr/>
        </p:nvSpPr>
        <p:spPr bwMode="auto">
          <a:xfrm>
            <a:off x="4839352" y="2122776"/>
            <a:ext cx="1835759" cy="827150"/>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623461" eaLnBrk="0" hangingPunct="0">
              <a:defRPr/>
            </a:pPr>
            <a:r>
              <a:rPr lang="en-US" altLang="en-US" sz="955">
                <a:solidFill>
                  <a:prstClr val="white"/>
                </a:solidFill>
                <a:ea typeface="+mn-ea"/>
              </a:rPr>
              <a:t>WHO Classification</a:t>
            </a:r>
          </a:p>
          <a:p>
            <a:pPr defTabSz="623461" eaLnBrk="0" hangingPunct="0">
              <a:defRPr/>
            </a:pPr>
            <a:r>
              <a:rPr lang="en-US" altLang="en-US" sz="955">
                <a:solidFill>
                  <a:prstClr val="white"/>
                </a:solidFill>
                <a:ea typeface="+mn-ea"/>
              </a:rPr>
              <a:t>(2001,	 2008,         2016)</a:t>
            </a:r>
          </a:p>
          <a:p>
            <a:pPr defTabSz="623461" eaLnBrk="0" hangingPunct="0">
              <a:defRPr/>
            </a:pPr>
            <a:r>
              <a:rPr lang="en-US" altLang="en-US" sz="955">
                <a:solidFill>
                  <a:prstClr val="white"/>
                </a:solidFill>
                <a:ea typeface="+mn-ea"/>
              </a:rPr>
              <a:t>--</a:t>
            </a:r>
          </a:p>
          <a:p>
            <a:pPr defTabSz="623461" eaLnBrk="0" hangingPunct="0">
              <a:defRPr/>
            </a:pPr>
            <a:r>
              <a:rPr lang="en-US" altLang="en-US" sz="955">
                <a:solidFill>
                  <a:prstClr val="white"/>
                </a:solidFill>
                <a:ea typeface="+mn-ea"/>
              </a:rPr>
              <a:t>Cytogenetics</a:t>
            </a:r>
          </a:p>
          <a:p>
            <a:pPr defTabSz="623461" eaLnBrk="0" hangingPunct="0">
              <a:defRPr/>
            </a:pPr>
            <a:r>
              <a:rPr lang="en-US" altLang="en-US" sz="955">
                <a:solidFill>
                  <a:prstClr val="white"/>
                </a:solidFill>
                <a:ea typeface="+mn-ea"/>
              </a:rPr>
              <a:t>Prognostic group   + Molecular</a:t>
            </a:r>
          </a:p>
        </p:txBody>
      </p:sp>
      <p:sp>
        <p:nvSpPr>
          <p:cNvPr id="4113" name="TextBox 31">
            <a:extLst>
              <a:ext uri="{FF2B5EF4-FFF2-40B4-BE49-F238E27FC236}">
                <a16:creationId xmlns:a16="http://schemas.microsoft.com/office/drawing/2014/main" id="{E1EBF4CE-A8C4-403D-95FE-919882B046EE}"/>
              </a:ext>
            </a:extLst>
          </p:cNvPr>
          <p:cNvSpPr txBox="1">
            <a:spLocks noChangeArrowheads="1"/>
          </p:cNvSpPr>
          <p:nvPr/>
        </p:nvSpPr>
        <p:spPr bwMode="auto">
          <a:xfrm>
            <a:off x="6754091" y="2106540"/>
            <a:ext cx="1114408" cy="47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623461" eaLnBrk="0" hangingPunct="0">
              <a:defRPr/>
            </a:pPr>
            <a:r>
              <a:rPr lang="en-US" altLang="en-US" sz="1227">
                <a:solidFill>
                  <a:prstClr val="white"/>
                </a:solidFill>
                <a:ea typeface="+mn-ea"/>
              </a:rPr>
              <a:t>Genomic </a:t>
            </a:r>
          </a:p>
          <a:p>
            <a:pPr defTabSz="623461" eaLnBrk="0" hangingPunct="0">
              <a:defRPr/>
            </a:pPr>
            <a:r>
              <a:rPr lang="en-US" altLang="en-US" sz="1227">
                <a:solidFill>
                  <a:prstClr val="white"/>
                </a:solidFill>
                <a:ea typeface="+mn-ea"/>
              </a:rPr>
              <a:t>Classification</a:t>
            </a:r>
          </a:p>
        </p:txBody>
      </p:sp>
      <p:sp>
        <p:nvSpPr>
          <p:cNvPr id="4114" name="TextBox 33">
            <a:extLst>
              <a:ext uri="{FF2B5EF4-FFF2-40B4-BE49-F238E27FC236}">
                <a16:creationId xmlns:a16="http://schemas.microsoft.com/office/drawing/2014/main" id="{E4F06CC9-79A2-4E84-A5D1-584E60EB1ED6}"/>
              </a:ext>
            </a:extLst>
          </p:cNvPr>
          <p:cNvSpPr txBox="1">
            <a:spLocks noChangeArrowheads="1"/>
          </p:cNvSpPr>
          <p:nvPr/>
        </p:nvSpPr>
        <p:spPr bwMode="auto">
          <a:xfrm>
            <a:off x="2805547" y="3258199"/>
            <a:ext cx="1595309" cy="1267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623461" eaLnBrk="0" hangingPunct="0">
              <a:defRPr/>
            </a:pPr>
            <a:r>
              <a:rPr lang="en-US" altLang="en-US" sz="1091" b="1" dirty="0">
                <a:solidFill>
                  <a:prstClr val="white"/>
                </a:solidFill>
                <a:ea typeface="+mn-ea"/>
              </a:rPr>
              <a:t>Cytarabine  (1968)</a:t>
            </a:r>
          </a:p>
          <a:p>
            <a:pPr defTabSz="623461" eaLnBrk="0" hangingPunct="0">
              <a:defRPr/>
            </a:pPr>
            <a:r>
              <a:rPr lang="en-US" altLang="en-US" sz="1091" b="1" dirty="0">
                <a:solidFill>
                  <a:prstClr val="white"/>
                </a:solidFill>
                <a:ea typeface="+mn-ea"/>
              </a:rPr>
              <a:t>Anthracycline  (1973)</a:t>
            </a:r>
          </a:p>
          <a:p>
            <a:pPr defTabSz="623461" eaLnBrk="0" hangingPunct="0">
              <a:defRPr/>
            </a:pPr>
            <a:r>
              <a:rPr lang="en-US" altLang="en-US" sz="1091" b="1" dirty="0">
                <a:solidFill>
                  <a:prstClr val="white"/>
                </a:solidFill>
                <a:ea typeface="+mn-ea"/>
              </a:rPr>
              <a:t>Mitoxantrone</a:t>
            </a:r>
          </a:p>
          <a:p>
            <a:pPr defTabSz="623461" eaLnBrk="0" hangingPunct="0">
              <a:defRPr/>
            </a:pPr>
            <a:r>
              <a:rPr lang="en-US" altLang="en-US" sz="1091" b="1" dirty="0">
                <a:solidFill>
                  <a:prstClr val="white"/>
                </a:solidFill>
                <a:ea typeface="+mn-ea"/>
              </a:rPr>
              <a:t>Etoposide</a:t>
            </a:r>
          </a:p>
          <a:p>
            <a:pPr defTabSz="623461" eaLnBrk="0" hangingPunct="0">
              <a:defRPr/>
            </a:pPr>
            <a:r>
              <a:rPr lang="en-US" altLang="en-US" sz="1091" b="1" dirty="0">
                <a:solidFill>
                  <a:prstClr val="white"/>
                </a:solidFill>
                <a:ea typeface="+mn-ea"/>
              </a:rPr>
              <a:t>Fludarabine</a:t>
            </a:r>
          </a:p>
          <a:p>
            <a:pPr defTabSz="623461" eaLnBrk="0" hangingPunct="0">
              <a:defRPr/>
            </a:pPr>
            <a:endParaRPr lang="en-US" altLang="en-US" sz="1091" b="1" dirty="0">
              <a:solidFill>
                <a:prstClr val="white"/>
              </a:solidFill>
              <a:ea typeface="+mn-ea"/>
            </a:endParaRPr>
          </a:p>
          <a:p>
            <a:pPr defTabSz="623461" eaLnBrk="0" hangingPunct="0">
              <a:defRPr/>
            </a:pPr>
            <a:r>
              <a:rPr lang="en-US" altLang="en-US" sz="1091" b="1" dirty="0">
                <a:solidFill>
                  <a:prstClr val="white"/>
                </a:solidFill>
                <a:ea typeface="+mn-ea"/>
              </a:rPr>
              <a:t>BMT (1977)</a:t>
            </a:r>
          </a:p>
        </p:txBody>
      </p:sp>
      <p:sp>
        <p:nvSpPr>
          <p:cNvPr id="4115" name="TextBox 34">
            <a:extLst>
              <a:ext uri="{FF2B5EF4-FFF2-40B4-BE49-F238E27FC236}">
                <a16:creationId xmlns:a16="http://schemas.microsoft.com/office/drawing/2014/main" id="{4079DABD-F1C8-40EF-B707-0A2E0BB5FCC6}"/>
              </a:ext>
            </a:extLst>
          </p:cNvPr>
          <p:cNvSpPr txBox="1">
            <a:spLocks noChangeArrowheads="1"/>
          </p:cNvSpPr>
          <p:nvPr/>
        </p:nvSpPr>
        <p:spPr bwMode="auto">
          <a:xfrm>
            <a:off x="1194956" y="3253870"/>
            <a:ext cx="1122423" cy="47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623461" eaLnBrk="0" hangingPunct="0">
              <a:defRPr/>
            </a:pPr>
            <a:r>
              <a:rPr lang="en-US" altLang="en-US" sz="1227" b="1">
                <a:solidFill>
                  <a:prstClr val="white"/>
                </a:solidFill>
                <a:ea typeface="+mn-ea"/>
              </a:rPr>
              <a:t>Therapeutic </a:t>
            </a:r>
          </a:p>
          <a:p>
            <a:pPr defTabSz="623461" eaLnBrk="0" hangingPunct="0">
              <a:defRPr/>
            </a:pPr>
            <a:r>
              <a:rPr lang="en-US" altLang="en-US" sz="1227" b="1">
                <a:solidFill>
                  <a:prstClr val="white"/>
                </a:solidFill>
                <a:ea typeface="+mn-ea"/>
              </a:rPr>
              <a:t>Agents</a:t>
            </a:r>
          </a:p>
        </p:txBody>
      </p:sp>
      <p:sp>
        <p:nvSpPr>
          <p:cNvPr id="4116" name="TextBox 40">
            <a:extLst>
              <a:ext uri="{FF2B5EF4-FFF2-40B4-BE49-F238E27FC236}">
                <a16:creationId xmlns:a16="http://schemas.microsoft.com/office/drawing/2014/main" id="{618A5653-577E-4FDB-AEEC-7E9C14A97725}"/>
              </a:ext>
            </a:extLst>
          </p:cNvPr>
          <p:cNvSpPr txBox="1">
            <a:spLocks noChangeArrowheads="1"/>
          </p:cNvSpPr>
          <p:nvPr/>
        </p:nvSpPr>
        <p:spPr bwMode="auto">
          <a:xfrm>
            <a:off x="4381502" y="3249540"/>
            <a:ext cx="768159" cy="428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623461" eaLnBrk="0" hangingPunct="0">
              <a:defRPr/>
            </a:pPr>
            <a:r>
              <a:rPr lang="en-US" altLang="en-US" sz="1091" b="1" dirty="0" err="1">
                <a:solidFill>
                  <a:prstClr val="white"/>
                </a:solidFill>
                <a:ea typeface="+mn-ea"/>
              </a:rPr>
              <a:t>Mylotarg</a:t>
            </a:r>
            <a:endParaRPr lang="en-US" altLang="en-US" sz="1091" b="1" dirty="0">
              <a:solidFill>
                <a:prstClr val="white"/>
              </a:solidFill>
              <a:ea typeface="+mn-ea"/>
            </a:endParaRPr>
          </a:p>
          <a:p>
            <a:pPr defTabSz="623461" eaLnBrk="0" hangingPunct="0">
              <a:defRPr/>
            </a:pPr>
            <a:r>
              <a:rPr lang="en-US" altLang="en-US" sz="1091" b="1" dirty="0">
                <a:solidFill>
                  <a:prstClr val="white"/>
                </a:solidFill>
                <a:ea typeface="+mn-ea"/>
              </a:rPr>
              <a:t>(2000)</a:t>
            </a:r>
          </a:p>
        </p:txBody>
      </p:sp>
      <p:cxnSp>
        <p:nvCxnSpPr>
          <p:cNvPr id="44" name="Straight Connector 43">
            <a:extLst>
              <a:ext uri="{FF2B5EF4-FFF2-40B4-BE49-F238E27FC236}">
                <a16:creationId xmlns:a16="http://schemas.microsoft.com/office/drawing/2014/main" id="{CDFBB4BF-826D-414C-88BC-BB65FE4098A9}"/>
              </a:ext>
            </a:extLst>
          </p:cNvPr>
          <p:cNvCxnSpPr>
            <a:cxnSpLocks/>
          </p:cNvCxnSpPr>
          <p:nvPr/>
        </p:nvCxnSpPr>
        <p:spPr>
          <a:xfrm>
            <a:off x="7116646" y="1699443"/>
            <a:ext cx="0" cy="155864"/>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4118" name="TextBox 44">
            <a:extLst>
              <a:ext uri="{FF2B5EF4-FFF2-40B4-BE49-F238E27FC236}">
                <a16:creationId xmlns:a16="http://schemas.microsoft.com/office/drawing/2014/main" id="{D807B025-C7D7-4EC1-8316-F2EE4CC0DBF9}"/>
              </a:ext>
            </a:extLst>
          </p:cNvPr>
          <p:cNvSpPr txBox="1">
            <a:spLocks noChangeArrowheads="1"/>
          </p:cNvSpPr>
          <p:nvPr/>
        </p:nvSpPr>
        <p:spPr bwMode="auto">
          <a:xfrm>
            <a:off x="5072019" y="3235198"/>
            <a:ext cx="1016625" cy="47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623461" eaLnBrk="0" hangingPunct="0">
              <a:defRPr/>
            </a:pPr>
            <a:r>
              <a:rPr lang="en-US" altLang="en-US" sz="1227" b="1" dirty="0">
                <a:solidFill>
                  <a:prstClr val="white"/>
                </a:solidFill>
                <a:ea typeface="+mn-ea"/>
              </a:rPr>
              <a:t>Azacitidine</a:t>
            </a:r>
          </a:p>
          <a:p>
            <a:pPr defTabSz="623461" eaLnBrk="0" hangingPunct="0">
              <a:defRPr/>
            </a:pPr>
            <a:r>
              <a:rPr lang="en-US" altLang="en-US" sz="1227" b="1" dirty="0">
                <a:solidFill>
                  <a:prstClr val="white"/>
                </a:solidFill>
                <a:ea typeface="+mn-ea"/>
              </a:rPr>
              <a:t>Decitabine</a:t>
            </a:r>
          </a:p>
        </p:txBody>
      </p:sp>
      <p:sp>
        <p:nvSpPr>
          <p:cNvPr id="4119" name="TextBox 45">
            <a:extLst>
              <a:ext uri="{FF2B5EF4-FFF2-40B4-BE49-F238E27FC236}">
                <a16:creationId xmlns:a16="http://schemas.microsoft.com/office/drawing/2014/main" id="{DD911225-B2D8-4069-8302-19AF1CEAC56A}"/>
              </a:ext>
            </a:extLst>
          </p:cNvPr>
          <p:cNvSpPr txBox="1">
            <a:spLocks noChangeArrowheads="1"/>
          </p:cNvSpPr>
          <p:nvPr/>
        </p:nvSpPr>
        <p:spPr bwMode="auto">
          <a:xfrm>
            <a:off x="6031040" y="3189099"/>
            <a:ext cx="976549" cy="1099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623461" eaLnBrk="0" hangingPunct="0">
              <a:defRPr/>
            </a:pPr>
            <a:r>
              <a:rPr lang="en-US" altLang="en-US" sz="1091" b="1" dirty="0" err="1">
                <a:solidFill>
                  <a:prstClr val="white"/>
                </a:solidFill>
                <a:ea typeface="+mn-ea"/>
              </a:rPr>
              <a:t>Midostaurin</a:t>
            </a:r>
            <a:endParaRPr lang="en-US" altLang="en-US" sz="1091" b="1" dirty="0">
              <a:solidFill>
                <a:prstClr val="white"/>
              </a:solidFill>
              <a:ea typeface="+mn-ea"/>
            </a:endParaRPr>
          </a:p>
          <a:p>
            <a:pPr defTabSz="623461" eaLnBrk="0" hangingPunct="0">
              <a:defRPr/>
            </a:pPr>
            <a:r>
              <a:rPr lang="en-US" altLang="en-US" sz="1091" b="1" dirty="0" err="1">
                <a:solidFill>
                  <a:prstClr val="white"/>
                </a:solidFill>
                <a:ea typeface="+mn-ea"/>
              </a:rPr>
              <a:t>Enasidenib</a:t>
            </a:r>
            <a:endParaRPr lang="en-US" altLang="en-US" sz="1091" b="1" dirty="0">
              <a:solidFill>
                <a:prstClr val="white"/>
              </a:solidFill>
              <a:ea typeface="+mn-ea"/>
            </a:endParaRPr>
          </a:p>
          <a:p>
            <a:pPr defTabSz="623461" eaLnBrk="0" hangingPunct="0">
              <a:defRPr/>
            </a:pPr>
            <a:r>
              <a:rPr lang="en-US" altLang="en-US" sz="1091" b="1" dirty="0">
                <a:solidFill>
                  <a:prstClr val="white"/>
                </a:solidFill>
                <a:ea typeface="+mn-ea"/>
              </a:rPr>
              <a:t>CPX-351</a:t>
            </a:r>
          </a:p>
          <a:p>
            <a:pPr defTabSz="623461" eaLnBrk="0" hangingPunct="0">
              <a:defRPr/>
            </a:pPr>
            <a:r>
              <a:rPr lang="en-US" altLang="en-US" sz="1091" b="1" dirty="0" err="1">
                <a:solidFill>
                  <a:prstClr val="white"/>
                </a:solidFill>
                <a:ea typeface="+mn-ea"/>
              </a:rPr>
              <a:t>Mylotarg</a:t>
            </a:r>
            <a:endParaRPr lang="en-US" altLang="en-US" sz="1091" b="1" dirty="0">
              <a:solidFill>
                <a:prstClr val="white"/>
              </a:solidFill>
              <a:ea typeface="+mn-ea"/>
            </a:endParaRPr>
          </a:p>
          <a:p>
            <a:pPr defTabSz="623461" eaLnBrk="0" hangingPunct="0">
              <a:defRPr/>
            </a:pPr>
            <a:r>
              <a:rPr lang="en-US" altLang="en-US" sz="1091" b="1" dirty="0">
                <a:solidFill>
                  <a:prstClr val="white"/>
                </a:solidFill>
                <a:ea typeface="+mn-ea"/>
              </a:rPr>
              <a:t>(2017)</a:t>
            </a:r>
          </a:p>
          <a:p>
            <a:pPr defTabSz="623461" eaLnBrk="0" hangingPunct="0">
              <a:defRPr/>
            </a:pPr>
            <a:endParaRPr lang="en-US" altLang="en-US" sz="1091" b="1" dirty="0">
              <a:solidFill>
                <a:prstClr val="white"/>
              </a:solidFill>
              <a:ea typeface="+mn-ea"/>
            </a:endParaRPr>
          </a:p>
        </p:txBody>
      </p:sp>
      <p:sp>
        <p:nvSpPr>
          <p:cNvPr id="4120" name="TextBox 46">
            <a:extLst>
              <a:ext uri="{FF2B5EF4-FFF2-40B4-BE49-F238E27FC236}">
                <a16:creationId xmlns:a16="http://schemas.microsoft.com/office/drawing/2014/main" id="{0D0F9933-ED42-45F9-B17A-026FC538C24C}"/>
              </a:ext>
            </a:extLst>
          </p:cNvPr>
          <p:cNvSpPr txBox="1">
            <a:spLocks noChangeArrowheads="1"/>
          </p:cNvSpPr>
          <p:nvPr/>
        </p:nvSpPr>
        <p:spPr bwMode="auto">
          <a:xfrm>
            <a:off x="6970023" y="3207056"/>
            <a:ext cx="954107" cy="93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623461" eaLnBrk="0" hangingPunct="0">
              <a:defRPr/>
            </a:pPr>
            <a:r>
              <a:rPr lang="en-US" altLang="en-US" sz="1091" b="1" dirty="0" err="1">
                <a:solidFill>
                  <a:srgbClr val="FFC000"/>
                </a:solidFill>
                <a:ea typeface="+mn-ea"/>
              </a:rPr>
              <a:t>Venetoclax</a:t>
            </a:r>
            <a:endParaRPr lang="en-US" altLang="en-US" sz="1091" b="1" dirty="0">
              <a:solidFill>
                <a:srgbClr val="FFC000"/>
              </a:solidFill>
              <a:ea typeface="+mn-ea"/>
            </a:endParaRPr>
          </a:p>
          <a:p>
            <a:pPr defTabSz="623461" eaLnBrk="0" hangingPunct="0">
              <a:defRPr/>
            </a:pPr>
            <a:r>
              <a:rPr lang="en-US" altLang="en-US" sz="1091" b="1" dirty="0" err="1">
                <a:solidFill>
                  <a:prstClr val="white"/>
                </a:solidFill>
                <a:ea typeface="+mn-ea"/>
              </a:rPr>
              <a:t>Ivosidenib</a:t>
            </a:r>
            <a:endParaRPr lang="en-US" altLang="en-US" sz="1091" b="1" dirty="0">
              <a:solidFill>
                <a:prstClr val="white"/>
              </a:solidFill>
              <a:ea typeface="+mn-ea"/>
            </a:endParaRPr>
          </a:p>
          <a:p>
            <a:pPr defTabSz="623461" eaLnBrk="0" hangingPunct="0">
              <a:defRPr/>
            </a:pPr>
            <a:r>
              <a:rPr lang="en-US" altLang="en-US" sz="1091" b="1" dirty="0" err="1">
                <a:solidFill>
                  <a:prstClr val="white"/>
                </a:solidFill>
                <a:ea typeface="+mn-ea"/>
              </a:rPr>
              <a:t>Glasdegib</a:t>
            </a:r>
            <a:endParaRPr lang="en-US" altLang="en-US" sz="1091" b="1" dirty="0">
              <a:solidFill>
                <a:prstClr val="white"/>
              </a:solidFill>
              <a:ea typeface="+mn-ea"/>
            </a:endParaRPr>
          </a:p>
          <a:p>
            <a:pPr defTabSz="623461" eaLnBrk="0" hangingPunct="0">
              <a:defRPr/>
            </a:pPr>
            <a:r>
              <a:rPr lang="en-US" altLang="en-US" sz="1091" b="1" dirty="0" err="1">
                <a:solidFill>
                  <a:prstClr val="white"/>
                </a:solidFill>
                <a:ea typeface="+mn-ea"/>
              </a:rPr>
              <a:t>Gilteritinib</a:t>
            </a:r>
            <a:endParaRPr lang="en-US" altLang="en-US" sz="1091" b="1" dirty="0">
              <a:solidFill>
                <a:prstClr val="white"/>
              </a:solidFill>
              <a:ea typeface="+mn-ea"/>
            </a:endParaRPr>
          </a:p>
          <a:p>
            <a:pPr defTabSz="623461" eaLnBrk="0" hangingPunct="0">
              <a:defRPr/>
            </a:pPr>
            <a:r>
              <a:rPr lang="en-US" altLang="en-US" sz="1091" b="1" dirty="0">
                <a:solidFill>
                  <a:prstClr val="white"/>
                </a:solidFill>
                <a:ea typeface="+mn-ea"/>
              </a:rPr>
              <a:t>(2018)</a:t>
            </a:r>
          </a:p>
        </p:txBody>
      </p:sp>
      <p:sp>
        <p:nvSpPr>
          <p:cNvPr id="4121" name="TextBox 1">
            <a:extLst>
              <a:ext uri="{FF2B5EF4-FFF2-40B4-BE49-F238E27FC236}">
                <a16:creationId xmlns:a16="http://schemas.microsoft.com/office/drawing/2014/main" id="{1D1D376B-6F72-402B-880C-4E25A5E5CE05}"/>
              </a:ext>
            </a:extLst>
          </p:cNvPr>
          <p:cNvSpPr txBox="1">
            <a:spLocks noChangeArrowheads="1"/>
          </p:cNvSpPr>
          <p:nvPr/>
        </p:nvSpPr>
        <p:spPr bwMode="auto">
          <a:xfrm>
            <a:off x="5678199" y="859632"/>
            <a:ext cx="1040670" cy="386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623461" eaLnBrk="0" hangingPunct="0">
              <a:defRPr/>
            </a:pPr>
            <a:r>
              <a:rPr lang="en-US" altLang="en-US" sz="955" b="1">
                <a:solidFill>
                  <a:prstClr val="white"/>
                </a:solidFill>
                <a:ea typeface="+mn-ea"/>
              </a:rPr>
              <a:t>AML Genomic </a:t>
            </a:r>
          </a:p>
          <a:p>
            <a:pPr defTabSz="623461" eaLnBrk="0" hangingPunct="0">
              <a:defRPr/>
            </a:pPr>
            <a:r>
              <a:rPr lang="en-US" altLang="en-US" sz="955" b="1">
                <a:solidFill>
                  <a:prstClr val="white"/>
                </a:solidFill>
                <a:ea typeface="+mn-ea"/>
              </a:rPr>
              <a:t>Sequencing</a:t>
            </a:r>
          </a:p>
        </p:txBody>
      </p:sp>
      <p:cxnSp>
        <p:nvCxnSpPr>
          <p:cNvPr id="26" name="Straight Arrow Connector 25">
            <a:extLst>
              <a:ext uri="{FF2B5EF4-FFF2-40B4-BE49-F238E27FC236}">
                <a16:creationId xmlns:a16="http://schemas.microsoft.com/office/drawing/2014/main" id="{D7246F72-B6AC-E847-9852-B1CBE5D071DE}"/>
              </a:ext>
            </a:extLst>
          </p:cNvPr>
          <p:cNvCxnSpPr>
            <a:cxnSpLocks/>
          </p:cNvCxnSpPr>
          <p:nvPr/>
        </p:nvCxnSpPr>
        <p:spPr>
          <a:xfrm>
            <a:off x="5922818" y="1223315"/>
            <a:ext cx="0" cy="422131"/>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46">
            <a:extLst>
              <a:ext uri="{FF2B5EF4-FFF2-40B4-BE49-F238E27FC236}">
                <a16:creationId xmlns:a16="http://schemas.microsoft.com/office/drawing/2014/main" id="{11A9192D-5B48-4275-862A-E3B7A0C005D0}"/>
              </a:ext>
            </a:extLst>
          </p:cNvPr>
          <p:cNvSpPr txBox="1">
            <a:spLocks noChangeArrowheads="1"/>
          </p:cNvSpPr>
          <p:nvPr/>
        </p:nvSpPr>
        <p:spPr bwMode="auto">
          <a:xfrm>
            <a:off x="7845138" y="3233348"/>
            <a:ext cx="681597" cy="428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623461" eaLnBrk="0" hangingPunct="0">
              <a:defRPr/>
            </a:pPr>
            <a:r>
              <a:rPr lang="en-US" altLang="en-US" sz="1091" b="1" dirty="0" err="1">
                <a:solidFill>
                  <a:prstClr val="white"/>
                </a:solidFill>
                <a:ea typeface="+mn-ea"/>
              </a:rPr>
              <a:t>Onureg</a:t>
            </a:r>
            <a:endParaRPr lang="en-US" altLang="en-US" sz="1091" b="1" dirty="0">
              <a:solidFill>
                <a:prstClr val="white"/>
              </a:solidFill>
              <a:ea typeface="+mn-ea"/>
            </a:endParaRPr>
          </a:p>
          <a:p>
            <a:pPr defTabSz="623461" eaLnBrk="0" hangingPunct="0">
              <a:defRPr/>
            </a:pPr>
            <a:r>
              <a:rPr lang="en-US" altLang="en-US" sz="1091" b="1" dirty="0">
                <a:solidFill>
                  <a:prstClr val="white"/>
                </a:solidFill>
                <a:ea typeface="+mn-ea"/>
              </a:rPr>
              <a:t>(2020)</a:t>
            </a:r>
          </a:p>
        </p:txBody>
      </p:sp>
      <p:sp>
        <p:nvSpPr>
          <p:cNvPr id="2" name="TextBox 1">
            <a:extLst>
              <a:ext uri="{FF2B5EF4-FFF2-40B4-BE49-F238E27FC236}">
                <a16:creationId xmlns:a16="http://schemas.microsoft.com/office/drawing/2014/main" id="{92B6AB81-5D56-4A4A-A1A5-84748248A965}"/>
              </a:ext>
            </a:extLst>
          </p:cNvPr>
          <p:cNvSpPr txBox="1"/>
          <p:nvPr/>
        </p:nvSpPr>
        <p:spPr>
          <a:xfrm>
            <a:off x="116914" y="4788976"/>
            <a:ext cx="2629787" cy="246221"/>
          </a:xfrm>
          <a:prstGeom prst="rect">
            <a:avLst/>
          </a:prstGeom>
          <a:noFill/>
        </p:spPr>
        <p:txBody>
          <a:bodyPr wrap="square" rtlCol="0">
            <a:spAutoFit/>
          </a:bodyPr>
          <a:lstStyle/>
          <a:p>
            <a:pPr defTabSz="457200" fontAlgn="auto">
              <a:spcBef>
                <a:spcPts val="0"/>
              </a:spcBef>
              <a:spcAft>
                <a:spcPts val="0"/>
              </a:spcAft>
            </a:pPr>
            <a:r>
              <a:rPr lang="en-US" sz="1000" dirty="0">
                <a:solidFill>
                  <a:prstClr val="white"/>
                </a:solidFill>
                <a:latin typeface="Calibri Light" panose="020F0302020204030204" pitchFamily="34" charset="0"/>
                <a:ea typeface="+mn-ea"/>
                <a:cs typeface="Calibri Light" panose="020F0302020204030204" pitchFamily="34" charset="0"/>
              </a:rPr>
              <a:t>Adapted slide from Jing-Zhou Hou, MD, PhD</a:t>
            </a:r>
          </a:p>
        </p:txBody>
      </p:sp>
    </p:spTree>
    <p:extLst>
      <p:ext uri="{BB962C8B-B14F-4D97-AF65-F5344CB8AC3E}">
        <p14:creationId xmlns:p14="http://schemas.microsoft.com/office/powerpoint/2010/main" val="293014571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2C83C79A-F5D3-6AC2-37FA-395095C7F2E1}"/>
              </a:ext>
            </a:extLst>
          </p:cNvPr>
          <p:cNvSpPr>
            <a:spLocks noGrp="1"/>
          </p:cNvSpPr>
          <p:nvPr>
            <p:ph sz="half" idx="1"/>
          </p:nvPr>
        </p:nvSpPr>
        <p:spPr>
          <a:xfrm>
            <a:off x="685801" y="822961"/>
            <a:ext cx="3810000" cy="2936240"/>
          </a:xfrm>
        </p:spPr>
        <p:txBody>
          <a:bodyPr/>
          <a:lstStyle/>
          <a:p>
            <a:pPr marL="0" indent="0">
              <a:buNone/>
            </a:pPr>
            <a:r>
              <a:rPr lang="en-US" sz="1200" u="sng" dirty="0">
                <a:solidFill>
                  <a:srgbClr val="003767"/>
                </a:solidFill>
                <a:latin typeface="Calibri Light" panose="020F0302020204030204" pitchFamily="34" charset="0"/>
                <a:cs typeface="Calibri Light" panose="020F0302020204030204" pitchFamily="34" charset="0"/>
              </a:rPr>
              <a:t>BCL2 inhibitors:</a:t>
            </a:r>
          </a:p>
          <a:p>
            <a:r>
              <a:rPr lang="en-US" sz="1200" dirty="0" err="1">
                <a:solidFill>
                  <a:srgbClr val="003767"/>
                </a:solidFill>
                <a:latin typeface="Calibri Light" panose="020F0302020204030204" pitchFamily="34" charset="0"/>
                <a:cs typeface="Calibri Light" panose="020F0302020204030204" pitchFamily="34" charset="0"/>
              </a:rPr>
              <a:t>Venetoclax</a:t>
            </a:r>
            <a:r>
              <a:rPr lang="en-US" sz="1200" dirty="0">
                <a:solidFill>
                  <a:srgbClr val="003767"/>
                </a:solidFill>
                <a:latin typeface="Calibri Light" panose="020F0302020204030204" pitchFamily="34" charset="0"/>
                <a:cs typeface="Calibri Light" panose="020F0302020204030204" pitchFamily="34" charset="0"/>
              </a:rPr>
              <a:t> (</a:t>
            </a:r>
            <a:r>
              <a:rPr lang="en-US" sz="1200" dirty="0" err="1">
                <a:solidFill>
                  <a:srgbClr val="003767"/>
                </a:solidFill>
                <a:latin typeface="Calibri Light" panose="020F0302020204030204" pitchFamily="34" charset="0"/>
                <a:cs typeface="Calibri Light" panose="020F0302020204030204" pitchFamily="34" charset="0"/>
              </a:rPr>
              <a:t>Venclexta</a:t>
            </a:r>
            <a:r>
              <a:rPr lang="en-US" sz="1200" dirty="0">
                <a:solidFill>
                  <a:srgbClr val="003767"/>
                </a:solidFill>
                <a:latin typeface="Calibri Light" panose="020F0302020204030204" pitchFamily="34" charset="0"/>
                <a:cs typeface="Calibri Light" panose="020F0302020204030204" pitchFamily="34" charset="0"/>
              </a:rPr>
              <a:t>)</a:t>
            </a:r>
          </a:p>
          <a:p>
            <a:pPr lvl="1"/>
            <a:r>
              <a:rPr lang="en-US" sz="1200" dirty="0">
                <a:solidFill>
                  <a:srgbClr val="003767"/>
                </a:solidFill>
                <a:latin typeface="Calibri Light" panose="020F0302020204030204" pitchFamily="34" charset="0"/>
                <a:cs typeface="Calibri Light" panose="020F0302020204030204" pitchFamily="34" charset="0"/>
              </a:rPr>
              <a:t>In combination with hypomethylating agent or cytarabine in age ≥75 or comorbidities precluding induction chemo</a:t>
            </a:r>
          </a:p>
          <a:p>
            <a:pPr marL="0" indent="0">
              <a:buNone/>
            </a:pPr>
            <a:endParaRPr lang="en-US" sz="1200" dirty="0">
              <a:solidFill>
                <a:srgbClr val="003767"/>
              </a:solidFill>
              <a:latin typeface="Calibri Light" panose="020F0302020204030204" pitchFamily="34" charset="0"/>
              <a:cs typeface="Calibri Light" panose="020F0302020204030204" pitchFamily="34" charset="0"/>
            </a:endParaRPr>
          </a:p>
          <a:p>
            <a:pPr marL="0" indent="0">
              <a:buNone/>
            </a:pPr>
            <a:r>
              <a:rPr lang="en-US" sz="1200" u="sng" dirty="0">
                <a:solidFill>
                  <a:srgbClr val="003767"/>
                </a:solidFill>
                <a:latin typeface="Calibri Light" panose="020F0302020204030204" pitchFamily="34" charset="0"/>
                <a:cs typeface="Calibri Light" panose="020F0302020204030204" pitchFamily="34" charset="0"/>
              </a:rPr>
              <a:t>FLT3 inhibitors:</a:t>
            </a:r>
          </a:p>
          <a:p>
            <a:r>
              <a:rPr lang="en-US" sz="1200" dirty="0" err="1">
                <a:solidFill>
                  <a:srgbClr val="003767"/>
                </a:solidFill>
                <a:latin typeface="Calibri Light" panose="020F0302020204030204" pitchFamily="34" charset="0"/>
                <a:cs typeface="Calibri Light" panose="020F0302020204030204" pitchFamily="34" charset="0"/>
              </a:rPr>
              <a:t>Midostaurin</a:t>
            </a:r>
            <a:r>
              <a:rPr lang="en-US" sz="1200" dirty="0">
                <a:solidFill>
                  <a:srgbClr val="003767"/>
                </a:solidFill>
                <a:latin typeface="Calibri Light" panose="020F0302020204030204" pitchFamily="34" charset="0"/>
                <a:cs typeface="Calibri Light" panose="020F0302020204030204" pitchFamily="34" charset="0"/>
              </a:rPr>
              <a:t> (</a:t>
            </a:r>
            <a:r>
              <a:rPr lang="en-US" sz="1200" dirty="0" err="1">
                <a:solidFill>
                  <a:srgbClr val="003767"/>
                </a:solidFill>
                <a:latin typeface="Calibri Light" panose="020F0302020204030204" pitchFamily="34" charset="0"/>
                <a:cs typeface="Calibri Light" panose="020F0302020204030204" pitchFamily="34" charset="0"/>
              </a:rPr>
              <a:t>Rydapt</a:t>
            </a:r>
            <a:r>
              <a:rPr lang="en-US" sz="1200" dirty="0">
                <a:solidFill>
                  <a:srgbClr val="003767"/>
                </a:solidFill>
                <a:latin typeface="Calibri Light" panose="020F0302020204030204" pitchFamily="34" charset="0"/>
                <a:cs typeface="Calibri Light" panose="020F0302020204030204" pitchFamily="34" charset="0"/>
              </a:rPr>
              <a:t>)</a:t>
            </a:r>
          </a:p>
          <a:p>
            <a:pPr lvl="1"/>
            <a:r>
              <a:rPr lang="en-US" sz="1200" dirty="0">
                <a:solidFill>
                  <a:srgbClr val="003767"/>
                </a:solidFill>
                <a:latin typeface="Calibri Light" panose="020F0302020204030204" pitchFamily="34" charset="0"/>
                <a:cs typeface="Calibri Light" panose="020F0302020204030204" pitchFamily="34" charset="0"/>
              </a:rPr>
              <a:t>Newly diagnosed AML with FLT3 mutation, in combination with 7+3</a:t>
            </a:r>
          </a:p>
          <a:p>
            <a:r>
              <a:rPr lang="en-US" sz="1200" dirty="0" err="1">
                <a:solidFill>
                  <a:srgbClr val="003767"/>
                </a:solidFill>
                <a:latin typeface="Calibri Light" panose="020F0302020204030204" pitchFamily="34" charset="0"/>
                <a:cs typeface="Calibri Light" panose="020F0302020204030204" pitchFamily="34" charset="0"/>
              </a:rPr>
              <a:t>Gilteritinib</a:t>
            </a:r>
            <a:r>
              <a:rPr lang="en-US" sz="1200" dirty="0">
                <a:solidFill>
                  <a:srgbClr val="003767"/>
                </a:solidFill>
                <a:latin typeface="Calibri Light" panose="020F0302020204030204" pitchFamily="34" charset="0"/>
                <a:cs typeface="Calibri Light" panose="020F0302020204030204" pitchFamily="34" charset="0"/>
              </a:rPr>
              <a:t> (</a:t>
            </a:r>
            <a:r>
              <a:rPr lang="en-US" sz="1200" dirty="0" err="1">
                <a:solidFill>
                  <a:srgbClr val="003767"/>
                </a:solidFill>
                <a:latin typeface="Calibri Light" panose="020F0302020204030204" pitchFamily="34" charset="0"/>
                <a:cs typeface="Calibri Light" panose="020F0302020204030204" pitchFamily="34" charset="0"/>
              </a:rPr>
              <a:t>Xospata</a:t>
            </a:r>
            <a:r>
              <a:rPr lang="en-US" sz="1200" dirty="0">
                <a:solidFill>
                  <a:srgbClr val="003767"/>
                </a:solidFill>
                <a:latin typeface="Calibri Light" panose="020F0302020204030204" pitchFamily="34" charset="0"/>
                <a:cs typeface="Calibri Light" panose="020F0302020204030204" pitchFamily="34" charset="0"/>
              </a:rPr>
              <a:t>)</a:t>
            </a:r>
          </a:p>
          <a:p>
            <a:pPr lvl="1"/>
            <a:r>
              <a:rPr lang="en-US" sz="1200" dirty="0">
                <a:solidFill>
                  <a:srgbClr val="003767"/>
                </a:solidFill>
                <a:latin typeface="Calibri Light" panose="020F0302020204030204" pitchFamily="34" charset="0"/>
                <a:cs typeface="Calibri Light" panose="020F0302020204030204" pitchFamily="34" charset="0"/>
              </a:rPr>
              <a:t>Relapsed/refractory AML with FLT3 mutation</a:t>
            </a:r>
          </a:p>
          <a:p>
            <a:r>
              <a:rPr lang="en-US" sz="1200" dirty="0" err="1">
                <a:solidFill>
                  <a:srgbClr val="003767"/>
                </a:solidFill>
                <a:latin typeface="Calibri Light" panose="020F0302020204030204" pitchFamily="34" charset="0"/>
                <a:cs typeface="Calibri Light" panose="020F0302020204030204" pitchFamily="34" charset="0"/>
              </a:rPr>
              <a:t>Quizartinib</a:t>
            </a:r>
            <a:r>
              <a:rPr lang="en-US" sz="1200" dirty="0">
                <a:solidFill>
                  <a:srgbClr val="003767"/>
                </a:solidFill>
                <a:latin typeface="Calibri Light" panose="020F0302020204030204" pitchFamily="34" charset="0"/>
                <a:cs typeface="Calibri Light" panose="020F0302020204030204" pitchFamily="34" charset="0"/>
              </a:rPr>
              <a:t> (</a:t>
            </a:r>
            <a:r>
              <a:rPr lang="en-US" sz="1200" dirty="0" err="1">
                <a:solidFill>
                  <a:srgbClr val="003767"/>
                </a:solidFill>
                <a:latin typeface="Calibri Light" panose="020F0302020204030204" pitchFamily="34" charset="0"/>
                <a:cs typeface="Calibri Light" panose="020F0302020204030204" pitchFamily="34" charset="0"/>
              </a:rPr>
              <a:t>Vanflyta</a:t>
            </a:r>
            <a:r>
              <a:rPr lang="en-US" sz="1200" dirty="0">
                <a:solidFill>
                  <a:srgbClr val="003767"/>
                </a:solidFill>
                <a:latin typeface="Calibri Light" panose="020F0302020204030204" pitchFamily="34" charset="0"/>
                <a:cs typeface="Calibri Light" panose="020F0302020204030204" pitchFamily="34" charset="0"/>
              </a:rPr>
              <a:t>)</a:t>
            </a:r>
          </a:p>
          <a:p>
            <a:pPr lvl="1"/>
            <a:r>
              <a:rPr lang="en-US" sz="1200" dirty="0">
                <a:solidFill>
                  <a:srgbClr val="003767"/>
                </a:solidFill>
                <a:latin typeface="Calibri Light" panose="020F0302020204030204" pitchFamily="34" charset="0"/>
                <a:cs typeface="Calibri Light" panose="020F0302020204030204" pitchFamily="34" charset="0"/>
              </a:rPr>
              <a:t>Newly diagnosed AML with FLT3 mutation, in combination with 7+3</a:t>
            </a:r>
          </a:p>
          <a:p>
            <a:pPr marL="57150" indent="0">
              <a:buNone/>
            </a:pPr>
            <a:endParaRPr lang="en-US" sz="1200" dirty="0">
              <a:solidFill>
                <a:srgbClr val="003767"/>
              </a:solidFill>
              <a:latin typeface="Calibri Light" panose="020F0302020204030204" pitchFamily="34" charset="0"/>
              <a:cs typeface="Calibri Light" panose="020F0302020204030204" pitchFamily="34" charset="0"/>
            </a:endParaRPr>
          </a:p>
          <a:p>
            <a:pPr marL="0" indent="0">
              <a:buNone/>
            </a:pPr>
            <a:endParaRPr lang="en-US" sz="1200" dirty="0">
              <a:solidFill>
                <a:srgbClr val="003767"/>
              </a:solidFill>
              <a:latin typeface="Calibri Light" panose="020F0302020204030204" pitchFamily="34" charset="0"/>
              <a:cs typeface="Calibri Light" panose="020F0302020204030204" pitchFamily="34" charset="0"/>
            </a:endParaRPr>
          </a:p>
          <a:p>
            <a:endParaRPr lang="en-US" sz="1200" dirty="0">
              <a:solidFill>
                <a:srgbClr val="003767"/>
              </a:solidFill>
            </a:endParaRPr>
          </a:p>
        </p:txBody>
      </p:sp>
      <p:sp>
        <p:nvSpPr>
          <p:cNvPr id="8" name="Content Placeholder 7">
            <a:extLst>
              <a:ext uri="{FF2B5EF4-FFF2-40B4-BE49-F238E27FC236}">
                <a16:creationId xmlns:a16="http://schemas.microsoft.com/office/drawing/2014/main" id="{CF077D0B-C4DB-649A-3E1C-4906ED84FA3A}"/>
              </a:ext>
            </a:extLst>
          </p:cNvPr>
          <p:cNvSpPr>
            <a:spLocks noGrp="1"/>
          </p:cNvSpPr>
          <p:nvPr>
            <p:ph sz="half" idx="2"/>
          </p:nvPr>
        </p:nvSpPr>
        <p:spPr>
          <a:xfrm>
            <a:off x="4648203" y="822961"/>
            <a:ext cx="3810000" cy="2936240"/>
          </a:xfrm>
        </p:spPr>
        <p:txBody>
          <a:bodyPr/>
          <a:lstStyle/>
          <a:p>
            <a:pPr marL="0" indent="0">
              <a:buNone/>
            </a:pPr>
            <a:r>
              <a:rPr lang="en-US" sz="1200" u="sng" dirty="0">
                <a:solidFill>
                  <a:srgbClr val="003767"/>
                </a:solidFill>
                <a:latin typeface="Calibri Light" panose="020F0302020204030204" pitchFamily="34" charset="0"/>
                <a:cs typeface="Calibri Light" panose="020F0302020204030204" pitchFamily="34" charset="0"/>
              </a:rPr>
              <a:t>IDH inhibitors:</a:t>
            </a:r>
          </a:p>
          <a:p>
            <a:r>
              <a:rPr lang="en-US" sz="1200" dirty="0" err="1">
                <a:solidFill>
                  <a:srgbClr val="003767"/>
                </a:solidFill>
                <a:latin typeface="Calibri Light" panose="020F0302020204030204" pitchFamily="34" charset="0"/>
                <a:cs typeface="Calibri Light" panose="020F0302020204030204" pitchFamily="34" charset="0"/>
              </a:rPr>
              <a:t>Enasidenib</a:t>
            </a:r>
            <a:r>
              <a:rPr lang="en-US" sz="1200" dirty="0">
                <a:solidFill>
                  <a:srgbClr val="003767"/>
                </a:solidFill>
                <a:latin typeface="Calibri Light" panose="020F0302020204030204" pitchFamily="34" charset="0"/>
                <a:cs typeface="Calibri Light" panose="020F0302020204030204" pitchFamily="34" charset="0"/>
              </a:rPr>
              <a:t> (</a:t>
            </a:r>
            <a:r>
              <a:rPr lang="en-US" sz="1200" dirty="0" err="1">
                <a:solidFill>
                  <a:srgbClr val="003767"/>
                </a:solidFill>
                <a:latin typeface="Calibri Light" panose="020F0302020204030204" pitchFamily="34" charset="0"/>
                <a:cs typeface="Calibri Light" panose="020F0302020204030204" pitchFamily="34" charset="0"/>
              </a:rPr>
              <a:t>Idhifa</a:t>
            </a:r>
            <a:r>
              <a:rPr lang="en-US" sz="1200" dirty="0">
                <a:solidFill>
                  <a:srgbClr val="003767"/>
                </a:solidFill>
                <a:latin typeface="Calibri Light" panose="020F0302020204030204" pitchFamily="34" charset="0"/>
                <a:cs typeface="Calibri Light" panose="020F0302020204030204" pitchFamily="34" charset="0"/>
              </a:rPr>
              <a:t>)</a:t>
            </a:r>
          </a:p>
          <a:p>
            <a:pPr lvl="1"/>
            <a:r>
              <a:rPr lang="en-US" sz="1200" dirty="0">
                <a:solidFill>
                  <a:srgbClr val="003767"/>
                </a:solidFill>
                <a:latin typeface="Calibri Light" panose="020F0302020204030204" pitchFamily="34" charset="0"/>
                <a:cs typeface="Calibri Light" panose="020F0302020204030204" pitchFamily="34" charset="0"/>
              </a:rPr>
              <a:t>Relapsed/refractory AML with IDH2 mutation</a:t>
            </a:r>
          </a:p>
          <a:p>
            <a:r>
              <a:rPr lang="en-US" sz="1200" dirty="0" err="1">
                <a:solidFill>
                  <a:srgbClr val="003767"/>
                </a:solidFill>
                <a:latin typeface="Calibri Light" panose="020F0302020204030204" pitchFamily="34" charset="0"/>
                <a:cs typeface="Calibri Light" panose="020F0302020204030204" pitchFamily="34" charset="0"/>
              </a:rPr>
              <a:t>Ivosidenib</a:t>
            </a:r>
            <a:r>
              <a:rPr lang="en-US" sz="1200" dirty="0">
                <a:solidFill>
                  <a:srgbClr val="003767"/>
                </a:solidFill>
                <a:latin typeface="Calibri Light" panose="020F0302020204030204" pitchFamily="34" charset="0"/>
                <a:cs typeface="Calibri Light" panose="020F0302020204030204" pitchFamily="34" charset="0"/>
              </a:rPr>
              <a:t> (</a:t>
            </a:r>
            <a:r>
              <a:rPr lang="en-US" sz="1200" dirty="0" err="1">
                <a:solidFill>
                  <a:srgbClr val="003767"/>
                </a:solidFill>
                <a:latin typeface="Calibri Light" panose="020F0302020204030204" pitchFamily="34" charset="0"/>
                <a:cs typeface="Calibri Light" panose="020F0302020204030204" pitchFamily="34" charset="0"/>
              </a:rPr>
              <a:t>Tibsovo</a:t>
            </a:r>
            <a:r>
              <a:rPr lang="en-US" sz="1200" dirty="0">
                <a:solidFill>
                  <a:srgbClr val="003767"/>
                </a:solidFill>
                <a:latin typeface="Calibri Light" panose="020F0302020204030204" pitchFamily="34" charset="0"/>
                <a:cs typeface="Calibri Light" panose="020F0302020204030204" pitchFamily="34" charset="0"/>
              </a:rPr>
              <a:t>)</a:t>
            </a:r>
          </a:p>
          <a:p>
            <a:pPr lvl="1"/>
            <a:r>
              <a:rPr lang="en-US" sz="1200" dirty="0">
                <a:solidFill>
                  <a:srgbClr val="003767"/>
                </a:solidFill>
                <a:latin typeface="Calibri Light" panose="020F0302020204030204" pitchFamily="34" charset="0"/>
                <a:cs typeface="Calibri Light" panose="020F0302020204030204" pitchFamily="34" charset="0"/>
              </a:rPr>
              <a:t>Relapsed/refractory AML with IDH1 mutation</a:t>
            </a:r>
          </a:p>
          <a:p>
            <a:pPr lvl="1"/>
            <a:r>
              <a:rPr lang="en-US" sz="1200" dirty="0">
                <a:solidFill>
                  <a:srgbClr val="003767"/>
                </a:solidFill>
                <a:latin typeface="Calibri Light" panose="020F0302020204030204" pitchFamily="34" charset="0"/>
                <a:cs typeface="Calibri Light" panose="020F0302020204030204" pitchFamily="34" charset="0"/>
              </a:rPr>
              <a:t>In combination with hypomethylating agent in age ≥75 years or comorbidities precluding induction chemo</a:t>
            </a:r>
          </a:p>
          <a:p>
            <a:r>
              <a:rPr lang="en-US" sz="1200" dirty="0" err="1">
                <a:solidFill>
                  <a:srgbClr val="003767"/>
                </a:solidFill>
                <a:latin typeface="Calibri Light" panose="020F0302020204030204" pitchFamily="34" charset="0"/>
                <a:cs typeface="Calibri Light" panose="020F0302020204030204" pitchFamily="34" charset="0"/>
              </a:rPr>
              <a:t>Olutasidenib</a:t>
            </a:r>
            <a:r>
              <a:rPr lang="en-US" sz="1200" dirty="0">
                <a:solidFill>
                  <a:srgbClr val="003767"/>
                </a:solidFill>
                <a:latin typeface="Calibri Light" panose="020F0302020204030204" pitchFamily="34" charset="0"/>
                <a:cs typeface="Calibri Light" panose="020F0302020204030204" pitchFamily="34" charset="0"/>
              </a:rPr>
              <a:t> (</a:t>
            </a:r>
            <a:r>
              <a:rPr lang="en-US" sz="1200" dirty="0" err="1">
                <a:solidFill>
                  <a:srgbClr val="003767"/>
                </a:solidFill>
                <a:latin typeface="Calibri Light" panose="020F0302020204030204" pitchFamily="34" charset="0"/>
                <a:cs typeface="Calibri Light" panose="020F0302020204030204" pitchFamily="34" charset="0"/>
              </a:rPr>
              <a:t>Rizlidhia</a:t>
            </a:r>
            <a:r>
              <a:rPr lang="en-US" sz="1200" dirty="0">
                <a:solidFill>
                  <a:srgbClr val="003767"/>
                </a:solidFill>
                <a:latin typeface="Calibri Light" panose="020F0302020204030204" pitchFamily="34" charset="0"/>
                <a:cs typeface="Calibri Light" panose="020F0302020204030204" pitchFamily="34" charset="0"/>
              </a:rPr>
              <a:t>)</a:t>
            </a:r>
          </a:p>
          <a:p>
            <a:pPr lvl="1"/>
            <a:r>
              <a:rPr lang="en-US" sz="1200" dirty="0">
                <a:solidFill>
                  <a:srgbClr val="003767"/>
                </a:solidFill>
                <a:latin typeface="Calibri Light" panose="020F0302020204030204" pitchFamily="34" charset="0"/>
                <a:cs typeface="Calibri Light" panose="020F0302020204030204" pitchFamily="34" charset="0"/>
              </a:rPr>
              <a:t>Relapsed/refractory AML with IDH2 mutation </a:t>
            </a:r>
          </a:p>
          <a:p>
            <a:endParaRPr lang="en-US" dirty="0">
              <a:solidFill>
                <a:srgbClr val="003767"/>
              </a:solidFill>
            </a:endParaRPr>
          </a:p>
        </p:txBody>
      </p:sp>
      <p:sp>
        <p:nvSpPr>
          <p:cNvPr id="6" name="Title 5">
            <a:extLst>
              <a:ext uri="{FF2B5EF4-FFF2-40B4-BE49-F238E27FC236}">
                <a16:creationId xmlns:a16="http://schemas.microsoft.com/office/drawing/2014/main" id="{210D7523-A227-8716-52CB-CE94AB28A79C}"/>
              </a:ext>
            </a:extLst>
          </p:cNvPr>
          <p:cNvSpPr>
            <a:spLocks noGrp="1"/>
          </p:cNvSpPr>
          <p:nvPr>
            <p:ph type="title"/>
          </p:nvPr>
        </p:nvSpPr>
        <p:spPr/>
        <p:txBody>
          <a:bodyPr/>
          <a:lstStyle/>
          <a:p>
            <a:r>
              <a:rPr lang="en-US" sz="2400" dirty="0">
                <a:solidFill>
                  <a:srgbClr val="003767"/>
                </a:solidFill>
              </a:rPr>
              <a:t>Recent FDA approvals in AML</a:t>
            </a:r>
          </a:p>
        </p:txBody>
      </p:sp>
    </p:spTree>
    <p:extLst>
      <p:ext uri="{BB962C8B-B14F-4D97-AF65-F5344CB8AC3E}">
        <p14:creationId xmlns:p14="http://schemas.microsoft.com/office/powerpoint/2010/main" val="128717609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5C078D-C4F7-3EB0-0AC6-465ADDF8252E}"/>
            </a:ext>
          </a:extLst>
        </p:cNvPr>
        <p:cNvGrpSpPr/>
        <p:nvPr/>
      </p:nvGrpSpPr>
      <p:grpSpPr>
        <a:xfrm>
          <a:off x="0" y="0"/>
          <a:ext cx="0" cy="0"/>
          <a:chOff x="0" y="0"/>
          <a:chExt cx="0" cy="0"/>
        </a:xfrm>
      </p:grpSpPr>
      <p:sp>
        <p:nvSpPr>
          <p:cNvPr id="7" name="Content Placeholder 6">
            <a:extLst>
              <a:ext uri="{FF2B5EF4-FFF2-40B4-BE49-F238E27FC236}">
                <a16:creationId xmlns:a16="http://schemas.microsoft.com/office/drawing/2014/main" id="{F1226942-DEC0-5388-3EB4-46D891FAC590}"/>
              </a:ext>
            </a:extLst>
          </p:cNvPr>
          <p:cNvSpPr>
            <a:spLocks noGrp="1"/>
          </p:cNvSpPr>
          <p:nvPr>
            <p:ph sz="half" idx="1"/>
          </p:nvPr>
        </p:nvSpPr>
        <p:spPr>
          <a:xfrm>
            <a:off x="685801" y="822961"/>
            <a:ext cx="3810000" cy="2936240"/>
          </a:xfrm>
        </p:spPr>
        <p:txBody>
          <a:bodyPr/>
          <a:lstStyle/>
          <a:p>
            <a:pPr marL="0" indent="0">
              <a:buNone/>
            </a:pPr>
            <a:r>
              <a:rPr lang="en-US" sz="1200" u="sng" dirty="0">
                <a:solidFill>
                  <a:srgbClr val="003767"/>
                </a:solidFill>
                <a:latin typeface="Calibri Light" panose="020F0302020204030204" pitchFamily="34" charset="0"/>
                <a:cs typeface="Calibri Light" panose="020F0302020204030204" pitchFamily="34" charset="0"/>
              </a:rPr>
              <a:t>Hedgehog inhibitors:</a:t>
            </a:r>
          </a:p>
          <a:p>
            <a:r>
              <a:rPr lang="en-US" sz="1200" dirty="0" err="1">
                <a:solidFill>
                  <a:srgbClr val="003767"/>
                </a:solidFill>
                <a:latin typeface="Calibri Light" panose="020F0302020204030204" pitchFamily="34" charset="0"/>
                <a:cs typeface="Calibri Light" panose="020F0302020204030204" pitchFamily="34" charset="0"/>
              </a:rPr>
              <a:t>Glasdegib</a:t>
            </a:r>
            <a:r>
              <a:rPr lang="en-US" sz="1200" dirty="0">
                <a:solidFill>
                  <a:srgbClr val="003767"/>
                </a:solidFill>
                <a:latin typeface="Calibri Light" panose="020F0302020204030204" pitchFamily="34" charset="0"/>
                <a:cs typeface="Calibri Light" panose="020F0302020204030204" pitchFamily="34" charset="0"/>
              </a:rPr>
              <a:t> (</a:t>
            </a:r>
            <a:r>
              <a:rPr lang="en-US" sz="1200" dirty="0" err="1">
                <a:solidFill>
                  <a:srgbClr val="003767"/>
                </a:solidFill>
                <a:latin typeface="Calibri Light" panose="020F0302020204030204" pitchFamily="34" charset="0"/>
                <a:cs typeface="Calibri Light" panose="020F0302020204030204" pitchFamily="34" charset="0"/>
              </a:rPr>
              <a:t>Daurismo</a:t>
            </a:r>
            <a:r>
              <a:rPr lang="en-US" sz="1200" dirty="0">
                <a:solidFill>
                  <a:srgbClr val="003767"/>
                </a:solidFill>
                <a:latin typeface="Calibri Light" panose="020F0302020204030204" pitchFamily="34" charset="0"/>
                <a:cs typeface="Calibri Light" panose="020F0302020204030204" pitchFamily="34" charset="0"/>
              </a:rPr>
              <a:t>) </a:t>
            </a:r>
          </a:p>
          <a:p>
            <a:pPr lvl="1"/>
            <a:r>
              <a:rPr lang="en-US" sz="1200" dirty="0">
                <a:solidFill>
                  <a:srgbClr val="003767"/>
                </a:solidFill>
                <a:latin typeface="Calibri Light" panose="020F0302020204030204" pitchFamily="34" charset="0"/>
                <a:cs typeface="Calibri Light" panose="020F0302020204030204" pitchFamily="34" charset="0"/>
              </a:rPr>
              <a:t>In combination with low dose cytarabine in age ≥75 or comorbidities precluding induction chemo</a:t>
            </a:r>
          </a:p>
          <a:p>
            <a:endParaRPr lang="en-US" sz="1200" dirty="0">
              <a:solidFill>
                <a:srgbClr val="003767"/>
              </a:solidFill>
              <a:latin typeface="Calibri Light" panose="020F0302020204030204" pitchFamily="34" charset="0"/>
              <a:cs typeface="Calibri Light" panose="020F0302020204030204" pitchFamily="34" charset="0"/>
            </a:endParaRPr>
          </a:p>
          <a:p>
            <a:pPr marL="0" indent="0">
              <a:buNone/>
            </a:pPr>
            <a:r>
              <a:rPr lang="en-US" sz="1200" u="sng" dirty="0">
                <a:solidFill>
                  <a:srgbClr val="003767"/>
                </a:solidFill>
                <a:latin typeface="Calibri Light" panose="020F0302020204030204" pitchFamily="34" charset="0"/>
                <a:cs typeface="Calibri Light" panose="020F0302020204030204" pitchFamily="34" charset="0"/>
              </a:rPr>
              <a:t>Hypomethylating agent</a:t>
            </a:r>
          </a:p>
          <a:p>
            <a:r>
              <a:rPr lang="en-US" sz="1200" dirty="0" err="1">
                <a:solidFill>
                  <a:srgbClr val="003767"/>
                </a:solidFill>
                <a:latin typeface="Calibri Light" panose="020F0302020204030204" pitchFamily="34" charset="0"/>
                <a:cs typeface="Calibri Light" panose="020F0302020204030204" pitchFamily="34" charset="0"/>
              </a:rPr>
              <a:t>Onureg</a:t>
            </a:r>
            <a:r>
              <a:rPr lang="en-US" sz="1200" dirty="0">
                <a:solidFill>
                  <a:srgbClr val="003767"/>
                </a:solidFill>
                <a:latin typeface="Calibri Light" panose="020F0302020204030204" pitchFamily="34" charset="0"/>
                <a:cs typeface="Calibri Light" panose="020F0302020204030204" pitchFamily="34" charset="0"/>
              </a:rPr>
              <a:t> (oral azacitidine)</a:t>
            </a:r>
          </a:p>
          <a:p>
            <a:pPr lvl="1"/>
            <a:r>
              <a:rPr lang="en-US" sz="1200" dirty="0">
                <a:solidFill>
                  <a:srgbClr val="003767"/>
                </a:solidFill>
                <a:latin typeface="Calibri Light" panose="020F0302020204030204" pitchFamily="34" charset="0"/>
                <a:cs typeface="Calibri Light" panose="020F0302020204030204" pitchFamily="34" charset="0"/>
              </a:rPr>
              <a:t>Maintenance for patients with CR/</a:t>
            </a:r>
            <a:r>
              <a:rPr lang="en-US" sz="1200" dirty="0" err="1">
                <a:solidFill>
                  <a:srgbClr val="003767"/>
                </a:solidFill>
                <a:latin typeface="Calibri Light" panose="020F0302020204030204" pitchFamily="34" charset="0"/>
                <a:cs typeface="Calibri Light" panose="020F0302020204030204" pitchFamily="34" charset="0"/>
              </a:rPr>
              <a:t>CRi</a:t>
            </a:r>
            <a:r>
              <a:rPr lang="en-US" sz="1200" dirty="0">
                <a:solidFill>
                  <a:srgbClr val="003767"/>
                </a:solidFill>
                <a:latin typeface="Calibri Light" panose="020F0302020204030204" pitchFamily="34" charset="0"/>
                <a:cs typeface="Calibri Light" panose="020F0302020204030204" pitchFamily="34" charset="0"/>
              </a:rPr>
              <a:t> and who are not able to complete intensive curative therapy</a:t>
            </a:r>
          </a:p>
          <a:p>
            <a:pPr marL="0" indent="0">
              <a:buNone/>
            </a:pPr>
            <a:endParaRPr lang="en-US" sz="1200" u="sng" dirty="0">
              <a:solidFill>
                <a:srgbClr val="003767"/>
              </a:solidFill>
              <a:latin typeface="Calibri Light" panose="020F0302020204030204" pitchFamily="34" charset="0"/>
              <a:cs typeface="Calibri Light" panose="020F0302020204030204" pitchFamily="34" charset="0"/>
            </a:endParaRPr>
          </a:p>
          <a:p>
            <a:endParaRPr lang="en-US" sz="1200" dirty="0">
              <a:solidFill>
                <a:srgbClr val="003767"/>
              </a:solidFill>
            </a:endParaRPr>
          </a:p>
        </p:txBody>
      </p:sp>
      <p:sp>
        <p:nvSpPr>
          <p:cNvPr id="8" name="Content Placeholder 7">
            <a:extLst>
              <a:ext uri="{FF2B5EF4-FFF2-40B4-BE49-F238E27FC236}">
                <a16:creationId xmlns:a16="http://schemas.microsoft.com/office/drawing/2014/main" id="{6D005EC5-18E3-417A-57D4-62BCF3943CE0}"/>
              </a:ext>
            </a:extLst>
          </p:cNvPr>
          <p:cNvSpPr>
            <a:spLocks noGrp="1"/>
          </p:cNvSpPr>
          <p:nvPr>
            <p:ph sz="half" idx="2"/>
          </p:nvPr>
        </p:nvSpPr>
        <p:spPr>
          <a:xfrm>
            <a:off x="4648203" y="822961"/>
            <a:ext cx="3810000" cy="2936240"/>
          </a:xfrm>
        </p:spPr>
        <p:txBody>
          <a:bodyPr/>
          <a:lstStyle/>
          <a:p>
            <a:pPr marL="0" indent="0">
              <a:buNone/>
            </a:pPr>
            <a:r>
              <a:rPr lang="en-US" sz="1200" u="sng" dirty="0">
                <a:solidFill>
                  <a:srgbClr val="003767"/>
                </a:solidFill>
                <a:latin typeface="Calibri Light" panose="020F0302020204030204" pitchFamily="34" charset="0"/>
                <a:cs typeface="Calibri Light" panose="020F0302020204030204" pitchFamily="34" charset="0"/>
              </a:rPr>
              <a:t>Chemotherapy:</a:t>
            </a:r>
          </a:p>
          <a:p>
            <a:r>
              <a:rPr lang="en-US" sz="1200" dirty="0">
                <a:solidFill>
                  <a:srgbClr val="003767"/>
                </a:solidFill>
                <a:latin typeface="Calibri Light" panose="020F0302020204030204" pitchFamily="34" charset="0"/>
                <a:cs typeface="Calibri Light" panose="020F0302020204030204" pitchFamily="34" charset="0"/>
              </a:rPr>
              <a:t>CPX-351 (</a:t>
            </a:r>
            <a:r>
              <a:rPr lang="en-US" sz="1200" dirty="0" err="1">
                <a:solidFill>
                  <a:srgbClr val="003767"/>
                </a:solidFill>
                <a:latin typeface="Calibri Light" panose="020F0302020204030204" pitchFamily="34" charset="0"/>
                <a:cs typeface="Calibri Light" panose="020F0302020204030204" pitchFamily="34" charset="0"/>
              </a:rPr>
              <a:t>Vyxeos</a:t>
            </a:r>
            <a:r>
              <a:rPr lang="en-US" sz="1200" dirty="0">
                <a:solidFill>
                  <a:srgbClr val="003767"/>
                </a:solidFill>
                <a:latin typeface="Calibri Light" panose="020F0302020204030204" pitchFamily="34" charset="0"/>
                <a:cs typeface="Calibri Light" panose="020F0302020204030204" pitchFamily="34" charset="0"/>
              </a:rPr>
              <a:t>)</a:t>
            </a:r>
          </a:p>
          <a:p>
            <a:pPr lvl="1"/>
            <a:r>
              <a:rPr lang="en-US" sz="1200" dirty="0">
                <a:solidFill>
                  <a:srgbClr val="003767"/>
                </a:solidFill>
                <a:latin typeface="Calibri Light" panose="020F0302020204030204" pitchFamily="34" charset="0"/>
                <a:cs typeface="Calibri Light" panose="020F0302020204030204" pitchFamily="34" charset="0"/>
              </a:rPr>
              <a:t>Newly diagnosed therapy-related AML or AML with MDS-related change</a:t>
            </a:r>
          </a:p>
          <a:p>
            <a:pPr marL="0" indent="0">
              <a:buNone/>
            </a:pPr>
            <a:endParaRPr lang="en-US" sz="1200" u="sng" dirty="0">
              <a:solidFill>
                <a:srgbClr val="003767"/>
              </a:solidFill>
              <a:latin typeface="Calibri Light" panose="020F0302020204030204" pitchFamily="34" charset="0"/>
              <a:cs typeface="Calibri Light" panose="020F0302020204030204" pitchFamily="34" charset="0"/>
            </a:endParaRPr>
          </a:p>
          <a:p>
            <a:pPr marL="0" indent="0">
              <a:buNone/>
            </a:pPr>
            <a:r>
              <a:rPr lang="en-US" sz="1200" u="sng" dirty="0">
                <a:solidFill>
                  <a:srgbClr val="003767"/>
                </a:solidFill>
                <a:latin typeface="Calibri Light" panose="020F0302020204030204" pitchFamily="34" charset="0"/>
                <a:cs typeface="Calibri Light" panose="020F0302020204030204" pitchFamily="34" charset="0"/>
              </a:rPr>
              <a:t>Immunotherapy:</a:t>
            </a:r>
          </a:p>
          <a:p>
            <a:r>
              <a:rPr lang="en-US" sz="1200" dirty="0" err="1">
                <a:solidFill>
                  <a:srgbClr val="003767"/>
                </a:solidFill>
                <a:latin typeface="Calibri Light" panose="020F0302020204030204" pitchFamily="34" charset="0"/>
                <a:cs typeface="Calibri Light" panose="020F0302020204030204" pitchFamily="34" charset="0"/>
              </a:rPr>
              <a:t>Gemtuzumab</a:t>
            </a:r>
            <a:r>
              <a:rPr lang="en-US" sz="1200" dirty="0">
                <a:solidFill>
                  <a:srgbClr val="003767"/>
                </a:solidFill>
                <a:latin typeface="Calibri Light" panose="020F0302020204030204" pitchFamily="34" charset="0"/>
                <a:cs typeface="Calibri Light" panose="020F0302020204030204" pitchFamily="34" charset="0"/>
              </a:rPr>
              <a:t> </a:t>
            </a:r>
            <a:r>
              <a:rPr lang="en-US" sz="1200" dirty="0" err="1">
                <a:solidFill>
                  <a:srgbClr val="003767"/>
                </a:solidFill>
                <a:latin typeface="Calibri Light" panose="020F0302020204030204" pitchFamily="34" charset="0"/>
                <a:cs typeface="Calibri Light" panose="020F0302020204030204" pitchFamily="34" charset="0"/>
              </a:rPr>
              <a:t>ozogamicin</a:t>
            </a:r>
            <a:r>
              <a:rPr lang="en-US" sz="1200" dirty="0">
                <a:solidFill>
                  <a:srgbClr val="003767"/>
                </a:solidFill>
                <a:latin typeface="Calibri Light" panose="020F0302020204030204" pitchFamily="34" charset="0"/>
                <a:cs typeface="Calibri Light" panose="020F0302020204030204" pitchFamily="34" charset="0"/>
              </a:rPr>
              <a:t> (</a:t>
            </a:r>
            <a:r>
              <a:rPr lang="en-US" sz="1200" dirty="0" err="1">
                <a:solidFill>
                  <a:srgbClr val="003767"/>
                </a:solidFill>
                <a:latin typeface="Calibri Light" panose="020F0302020204030204" pitchFamily="34" charset="0"/>
                <a:cs typeface="Calibri Light" panose="020F0302020204030204" pitchFamily="34" charset="0"/>
              </a:rPr>
              <a:t>Mylotarg</a:t>
            </a:r>
            <a:r>
              <a:rPr lang="en-US" sz="1200" dirty="0">
                <a:solidFill>
                  <a:srgbClr val="003767"/>
                </a:solidFill>
                <a:latin typeface="Calibri Light" panose="020F0302020204030204" pitchFamily="34" charset="0"/>
                <a:cs typeface="Calibri Light" panose="020F0302020204030204" pitchFamily="34" charset="0"/>
              </a:rPr>
              <a:t>) </a:t>
            </a:r>
          </a:p>
          <a:p>
            <a:pPr lvl="1"/>
            <a:r>
              <a:rPr lang="en-US" sz="1200" dirty="0">
                <a:solidFill>
                  <a:srgbClr val="003767"/>
                </a:solidFill>
                <a:latin typeface="Calibri Light" panose="020F0302020204030204" pitchFamily="34" charset="0"/>
                <a:cs typeface="Calibri Light" panose="020F0302020204030204" pitchFamily="34" charset="0"/>
              </a:rPr>
              <a:t>Newly diagnosed or relapsed/refractory CD33+ AML</a:t>
            </a:r>
          </a:p>
          <a:p>
            <a:endParaRPr lang="en-US" dirty="0">
              <a:solidFill>
                <a:srgbClr val="003767"/>
              </a:solidFill>
            </a:endParaRPr>
          </a:p>
        </p:txBody>
      </p:sp>
      <p:sp>
        <p:nvSpPr>
          <p:cNvPr id="6" name="Title 5">
            <a:extLst>
              <a:ext uri="{FF2B5EF4-FFF2-40B4-BE49-F238E27FC236}">
                <a16:creationId xmlns:a16="http://schemas.microsoft.com/office/drawing/2014/main" id="{C10D9D8B-CBCB-B5A9-1709-8FF2234380AB}"/>
              </a:ext>
            </a:extLst>
          </p:cNvPr>
          <p:cNvSpPr>
            <a:spLocks noGrp="1"/>
          </p:cNvSpPr>
          <p:nvPr>
            <p:ph type="title"/>
          </p:nvPr>
        </p:nvSpPr>
        <p:spPr/>
        <p:txBody>
          <a:bodyPr/>
          <a:lstStyle/>
          <a:p>
            <a:r>
              <a:rPr lang="en-US" sz="2400" dirty="0">
                <a:solidFill>
                  <a:srgbClr val="003767"/>
                </a:solidFill>
              </a:rPr>
              <a:t>Recent FDA approvals in AML</a:t>
            </a:r>
          </a:p>
        </p:txBody>
      </p:sp>
    </p:spTree>
    <p:extLst>
      <p:ext uri="{BB962C8B-B14F-4D97-AF65-F5344CB8AC3E}">
        <p14:creationId xmlns:p14="http://schemas.microsoft.com/office/powerpoint/2010/main" val="2709359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764D8A-519B-DD4A-C642-A79DF134912A}"/>
              </a:ext>
            </a:extLst>
          </p:cNvPr>
          <p:cNvSpPr/>
          <p:nvPr/>
        </p:nvSpPr>
        <p:spPr>
          <a:xfrm>
            <a:off x="0" y="2586831"/>
            <a:ext cx="9129925" cy="461665"/>
          </a:xfrm>
          <a:prstGeom prst="rect">
            <a:avLst/>
          </a:prstGeom>
        </p:spPr>
        <p:txBody>
          <a:bodyPr wrap="square">
            <a:spAutoFit/>
          </a:bodyPr>
          <a:lstStyle/>
          <a:p>
            <a:pPr algn="ctr"/>
            <a:r>
              <a:rPr lang="en-US" spc="600" dirty="0">
                <a:solidFill>
                  <a:srgbClr val="FFC82C"/>
                </a:solidFill>
                <a:latin typeface="Corporate A Medium" panose="02000503080000020004" pitchFamily="2" charset="0"/>
              </a:rPr>
              <a:t>Hematologic Malignancies</a:t>
            </a:r>
          </a:p>
        </p:txBody>
      </p:sp>
      <p:sp>
        <p:nvSpPr>
          <p:cNvPr id="3" name="Rectangle 2">
            <a:extLst>
              <a:ext uri="{FF2B5EF4-FFF2-40B4-BE49-F238E27FC236}">
                <a16:creationId xmlns:a16="http://schemas.microsoft.com/office/drawing/2014/main" id="{2CD37E42-E2E3-0CF1-91DF-51880A7249F7}"/>
              </a:ext>
            </a:extLst>
          </p:cNvPr>
          <p:cNvSpPr/>
          <p:nvPr/>
        </p:nvSpPr>
        <p:spPr>
          <a:xfrm>
            <a:off x="14075" y="3073896"/>
            <a:ext cx="9129925" cy="338554"/>
          </a:xfrm>
          <a:prstGeom prst="rect">
            <a:avLst/>
          </a:prstGeom>
        </p:spPr>
        <p:txBody>
          <a:bodyPr wrap="square">
            <a:spAutoFit/>
          </a:bodyPr>
          <a:lstStyle/>
          <a:p>
            <a:pPr algn="ctr"/>
            <a:r>
              <a:rPr lang="en-US" sz="1600" dirty="0">
                <a:solidFill>
                  <a:schemeClr val="bg1"/>
                </a:solidFill>
                <a:latin typeface="Corporate S Demi" panose="02020500000000000000" pitchFamily="18" charset="0"/>
              </a:rPr>
              <a:t>May 9</a:t>
            </a:r>
            <a:r>
              <a:rPr lang="en-US" sz="1600" baseline="30000" dirty="0">
                <a:solidFill>
                  <a:schemeClr val="bg1"/>
                </a:solidFill>
                <a:latin typeface="Corporate S Demi" panose="02020500000000000000" pitchFamily="18" charset="0"/>
              </a:rPr>
              <a:t>th</a:t>
            </a:r>
            <a:r>
              <a:rPr lang="en-US" sz="1600" dirty="0">
                <a:solidFill>
                  <a:schemeClr val="bg1"/>
                </a:solidFill>
                <a:latin typeface="Corporate S Demi" panose="02020500000000000000" pitchFamily="18" charset="0"/>
              </a:rPr>
              <a:t>, 2024</a:t>
            </a:r>
          </a:p>
        </p:txBody>
      </p:sp>
    </p:spTree>
    <p:extLst>
      <p:ext uri="{BB962C8B-B14F-4D97-AF65-F5344CB8AC3E}">
        <p14:creationId xmlns:p14="http://schemas.microsoft.com/office/powerpoint/2010/main" val="387958872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E438E5-C4F2-77F8-52BD-3E01EAD6D6B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1F4D3F9-958F-EE2E-0849-9FBABD5198A1}"/>
              </a:ext>
            </a:extLst>
          </p:cNvPr>
          <p:cNvSpPr>
            <a:spLocks noGrp="1"/>
          </p:cNvSpPr>
          <p:nvPr>
            <p:ph type="title"/>
          </p:nvPr>
        </p:nvSpPr>
        <p:spPr/>
        <p:txBody>
          <a:bodyPr/>
          <a:lstStyle/>
          <a:p>
            <a:r>
              <a:rPr lang="en-US" sz="3200" dirty="0">
                <a:solidFill>
                  <a:srgbClr val="003767"/>
                </a:solidFill>
              </a:rPr>
              <a:t>Treatment algorithm</a:t>
            </a:r>
          </a:p>
        </p:txBody>
      </p:sp>
      <p:sp>
        <p:nvSpPr>
          <p:cNvPr id="2" name="TextBox 1">
            <a:extLst>
              <a:ext uri="{FF2B5EF4-FFF2-40B4-BE49-F238E27FC236}">
                <a16:creationId xmlns:a16="http://schemas.microsoft.com/office/drawing/2014/main" id="{195D44C7-2F22-C594-AEA5-85AA17DB89BE}"/>
              </a:ext>
            </a:extLst>
          </p:cNvPr>
          <p:cNvSpPr txBox="1"/>
          <p:nvPr/>
        </p:nvSpPr>
        <p:spPr>
          <a:xfrm>
            <a:off x="3034146" y="875335"/>
            <a:ext cx="2909454" cy="369332"/>
          </a:xfrm>
          <a:prstGeom prst="rect">
            <a:avLst/>
          </a:prstGeom>
        </p:spPr>
        <p:txBody>
          <a:bodyPr vert="horz" wrap="square" rtlCol="0">
            <a:spAutoFit/>
          </a:bodyPr>
          <a:lstStyle/>
          <a:p>
            <a:pPr defTabSz="457200" fontAlgn="auto">
              <a:spcBef>
                <a:spcPts val="0"/>
              </a:spcBef>
              <a:spcAft>
                <a:spcPts val="0"/>
              </a:spcAft>
            </a:pPr>
            <a:r>
              <a:rPr lang="en-US" sz="1800" dirty="0">
                <a:solidFill>
                  <a:srgbClr val="771B61"/>
                </a:solidFill>
                <a:latin typeface="Calibri Light" panose="020F0302020204030204" pitchFamily="34" charset="0"/>
                <a:ea typeface="+mn-ea"/>
                <a:cs typeface="Calibri Light" panose="020F0302020204030204" pitchFamily="34" charset="0"/>
              </a:rPr>
              <a:t>Newly diagnosed older AML</a:t>
            </a:r>
          </a:p>
        </p:txBody>
      </p:sp>
      <p:cxnSp>
        <p:nvCxnSpPr>
          <p:cNvPr id="4" name="Straight Arrow Connector 3">
            <a:extLst>
              <a:ext uri="{FF2B5EF4-FFF2-40B4-BE49-F238E27FC236}">
                <a16:creationId xmlns:a16="http://schemas.microsoft.com/office/drawing/2014/main" id="{B002B9DB-42F3-3E77-9815-21D59360EFC6}"/>
              </a:ext>
            </a:extLst>
          </p:cNvPr>
          <p:cNvCxnSpPr>
            <a:cxnSpLocks/>
          </p:cNvCxnSpPr>
          <p:nvPr/>
        </p:nvCxnSpPr>
        <p:spPr>
          <a:xfrm>
            <a:off x="4398188" y="1309747"/>
            <a:ext cx="0" cy="5966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83E930A3-78A0-44FF-7C18-1392D24AE986}"/>
              </a:ext>
            </a:extLst>
          </p:cNvPr>
          <p:cNvSpPr txBox="1"/>
          <p:nvPr/>
        </p:nvSpPr>
        <p:spPr>
          <a:xfrm>
            <a:off x="3472456" y="1996813"/>
            <a:ext cx="2032834" cy="400110"/>
          </a:xfrm>
          <a:prstGeom prst="rect">
            <a:avLst/>
          </a:prstGeom>
          <a:ln>
            <a:solidFill>
              <a:schemeClr val="tx1"/>
            </a:solidFill>
          </a:ln>
        </p:spPr>
        <p:txBody>
          <a:bodyPr vert="horz" wrap="square" rtlCol="0">
            <a:spAutoFit/>
          </a:bodyPr>
          <a:lstStyle/>
          <a:p>
            <a:pPr algn="ctr" defTabSz="457200" fontAlgn="auto">
              <a:spcBef>
                <a:spcPts val="0"/>
              </a:spcBef>
              <a:spcAft>
                <a:spcPts val="0"/>
              </a:spcAft>
            </a:pPr>
            <a:r>
              <a:rPr lang="en-US" sz="2000" dirty="0">
                <a:solidFill>
                  <a:srgbClr val="771B61"/>
                </a:solidFill>
                <a:latin typeface="Calibri"/>
                <a:ea typeface="+mn-ea"/>
                <a:cs typeface="+mn-cs"/>
              </a:rPr>
              <a:t>HMA/</a:t>
            </a:r>
            <a:r>
              <a:rPr lang="en-US" sz="2000" dirty="0" err="1">
                <a:solidFill>
                  <a:srgbClr val="771B61"/>
                </a:solidFill>
                <a:latin typeface="Calibri"/>
                <a:ea typeface="+mn-ea"/>
                <a:cs typeface="+mn-cs"/>
              </a:rPr>
              <a:t>venetoclax</a:t>
            </a:r>
            <a:endParaRPr lang="en-US" sz="2000" dirty="0">
              <a:solidFill>
                <a:srgbClr val="771B61"/>
              </a:solidFill>
              <a:latin typeface="Calibri"/>
              <a:ea typeface="+mn-ea"/>
              <a:cs typeface="+mn-cs"/>
            </a:endParaRPr>
          </a:p>
        </p:txBody>
      </p:sp>
      <p:cxnSp>
        <p:nvCxnSpPr>
          <p:cNvPr id="9" name="Straight Arrow Connector 8">
            <a:extLst>
              <a:ext uri="{FF2B5EF4-FFF2-40B4-BE49-F238E27FC236}">
                <a16:creationId xmlns:a16="http://schemas.microsoft.com/office/drawing/2014/main" id="{6FE2EA59-05ED-B442-BDE8-CC7450BB3452}"/>
              </a:ext>
            </a:extLst>
          </p:cNvPr>
          <p:cNvCxnSpPr/>
          <p:nvPr/>
        </p:nvCxnSpPr>
        <p:spPr>
          <a:xfrm>
            <a:off x="4398188" y="1309747"/>
            <a:ext cx="1723002" cy="422839"/>
          </a:xfrm>
          <a:prstGeom prst="straightConnector1">
            <a:avLst/>
          </a:prstGeom>
          <a:ln>
            <a:solidFill>
              <a:schemeClr val="bg2"/>
            </a:solidFill>
            <a:tailEnd type="triangle"/>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A64A68BA-E00F-0969-9416-B6769F46DD0D}"/>
              </a:ext>
            </a:extLst>
          </p:cNvPr>
          <p:cNvSpPr txBox="1"/>
          <p:nvPr/>
        </p:nvSpPr>
        <p:spPr>
          <a:xfrm>
            <a:off x="6226989" y="1721739"/>
            <a:ext cx="921951" cy="369332"/>
          </a:xfrm>
          <a:prstGeom prst="rect">
            <a:avLst/>
          </a:prstGeom>
          <a:ln>
            <a:solidFill>
              <a:schemeClr val="tx2"/>
            </a:solidFill>
          </a:ln>
        </p:spPr>
        <p:txBody>
          <a:bodyPr vert="horz" wrap="square" rtlCol="0">
            <a:spAutoFit/>
          </a:bodyPr>
          <a:lstStyle/>
          <a:p>
            <a:pPr algn="ctr" defTabSz="457200" fontAlgn="auto">
              <a:spcBef>
                <a:spcPts val="0"/>
              </a:spcBef>
              <a:spcAft>
                <a:spcPts val="0"/>
              </a:spcAft>
            </a:pPr>
            <a:r>
              <a:rPr lang="en-US" sz="1800" dirty="0" err="1">
                <a:solidFill>
                  <a:srgbClr val="666D70"/>
                </a:solidFill>
                <a:latin typeface="Calibri"/>
                <a:ea typeface="+mn-ea"/>
                <a:cs typeface="+mn-cs"/>
              </a:rPr>
              <a:t>Vyxeos</a:t>
            </a:r>
            <a:endParaRPr lang="en-US" sz="1800" dirty="0">
              <a:solidFill>
                <a:srgbClr val="666D70"/>
              </a:solidFill>
              <a:latin typeface="Calibri"/>
              <a:ea typeface="+mn-ea"/>
              <a:cs typeface="+mn-cs"/>
            </a:endParaRPr>
          </a:p>
        </p:txBody>
      </p:sp>
      <p:sp>
        <p:nvSpPr>
          <p:cNvPr id="11" name="TextBox 10">
            <a:extLst>
              <a:ext uri="{FF2B5EF4-FFF2-40B4-BE49-F238E27FC236}">
                <a16:creationId xmlns:a16="http://schemas.microsoft.com/office/drawing/2014/main" id="{F3BC9346-FA12-A960-BD19-781C98E790CD}"/>
              </a:ext>
            </a:extLst>
          </p:cNvPr>
          <p:cNvSpPr txBox="1"/>
          <p:nvPr/>
        </p:nvSpPr>
        <p:spPr>
          <a:xfrm>
            <a:off x="6053178" y="1143577"/>
            <a:ext cx="2191535" cy="523220"/>
          </a:xfrm>
          <a:prstGeom prst="rect">
            <a:avLst/>
          </a:prstGeom>
        </p:spPr>
        <p:txBody>
          <a:bodyPr vert="horz" wrap="square" rtlCol="0">
            <a:spAutoFit/>
          </a:bodyPr>
          <a:lstStyle/>
          <a:p>
            <a:pPr defTabSz="457200" fontAlgn="auto">
              <a:spcBef>
                <a:spcPts val="0"/>
              </a:spcBef>
              <a:spcAft>
                <a:spcPts val="0"/>
              </a:spcAft>
            </a:pPr>
            <a:r>
              <a:rPr lang="en-US" sz="1400" dirty="0">
                <a:solidFill>
                  <a:srgbClr val="666D70"/>
                </a:solidFill>
                <a:latin typeface="Calibri Light" panose="020F0302020204030204" pitchFamily="34" charset="0"/>
                <a:ea typeface="+mn-ea"/>
                <a:cs typeface="Calibri Light" panose="020F0302020204030204" pitchFamily="34" charset="0"/>
              </a:rPr>
              <a:t>Induction candidate, </a:t>
            </a:r>
          </a:p>
          <a:p>
            <a:pPr defTabSz="457200" fontAlgn="auto">
              <a:spcBef>
                <a:spcPts val="0"/>
              </a:spcBef>
              <a:spcAft>
                <a:spcPts val="0"/>
              </a:spcAft>
            </a:pPr>
            <a:r>
              <a:rPr lang="en-US" sz="1400" dirty="0">
                <a:solidFill>
                  <a:srgbClr val="666D70"/>
                </a:solidFill>
                <a:latin typeface="Calibri Light" panose="020F0302020204030204" pitchFamily="34" charset="0"/>
                <a:ea typeface="+mn-ea"/>
                <a:cs typeface="Calibri Light" panose="020F0302020204030204" pitchFamily="34" charset="0"/>
              </a:rPr>
              <a:t>age &gt;55, secondary AML</a:t>
            </a:r>
          </a:p>
        </p:txBody>
      </p:sp>
      <p:sp>
        <p:nvSpPr>
          <p:cNvPr id="13" name="TextBox 12">
            <a:extLst>
              <a:ext uri="{FF2B5EF4-FFF2-40B4-BE49-F238E27FC236}">
                <a16:creationId xmlns:a16="http://schemas.microsoft.com/office/drawing/2014/main" id="{9ADF2DB1-1E31-B99F-2872-6B441B738898}"/>
              </a:ext>
            </a:extLst>
          </p:cNvPr>
          <p:cNvSpPr txBox="1"/>
          <p:nvPr/>
        </p:nvSpPr>
        <p:spPr>
          <a:xfrm>
            <a:off x="3322540" y="1306172"/>
            <a:ext cx="1177002" cy="738664"/>
          </a:xfrm>
          <a:prstGeom prst="rect">
            <a:avLst/>
          </a:prstGeom>
        </p:spPr>
        <p:txBody>
          <a:bodyPr vert="horz" wrap="square" rtlCol="0">
            <a:spAutoFit/>
          </a:bodyPr>
          <a:lstStyle/>
          <a:p>
            <a:pPr defTabSz="457200" fontAlgn="auto">
              <a:spcBef>
                <a:spcPts val="0"/>
              </a:spcBef>
              <a:spcAft>
                <a:spcPts val="0"/>
              </a:spcAft>
            </a:pPr>
            <a:r>
              <a:rPr lang="en-US" sz="1400" dirty="0">
                <a:solidFill>
                  <a:srgbClr val="771B61"/>
                </a:solidFill>
                <a:latin typeface="Calibri Light" panose="020F0302020204030204" pitchFamily="34" charset="0"/>
                <a:ea typeface="+mn-ea"/>
                <a:cs typeface="Calibri Light" panose="020F0302020204030204" pitchFamily="34" charset="0"/>
              </a:rPr>
              <a:t>Age≥75 or not induction candidate</a:t>
            </a:r>
          </a:p>
        </p:txBody>
      </p:sp>
      <p:cxnSp>
        <p:nvCxnSpPr>
          <p:cNvPr id="14" name="Straight Arrow Connector 13">
            <a:extLst>
              <a:ext uri="{FF2B5EF4-FFF2-40B4-BE49-F238E27FC236}">
                <a16:creationId xmlns:a16="http://schemas.microsoft.com/office/drawing/2014/main" id="{1883390C-6BF4-2885-C720-D5CD48E9DFA2}"/>
              </a:ext>
            </a:extLst>
          </p:cNvPr>
          <p:cNvCxnSpPr>
            <a:cxnSpLocks/>
          </p:cNvCxnSpPr>
          <p:nvPr/>
        </p:nvCxnSpPr>
        <p:spPr>
          <a:xfrm>
            <a:off x="4398188" y="2511617"/>
            <a:ext cx="0" cy="5966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360E9999-DA96-3A15-3E5A-E047D3D695D2}"/>
              </a:ext>
            </a:extLst>
          </p:cNvPr>
          <p:cNvSpPr txBox="1"/>
          <p:nvPr/>
        </p:nvSpPr>
        <p:spPr>
          <a:xfrm>
            <a:off x="3372330" y="3108275"/>
            <a:ext cx="2399341" cy="369332"/>
          </a:xfrm>
          <a:prstGeom prst="rect">
            <a:avLst/>
          </a:prstGeom>
        </p:spPr>
        <p:txBody>
          <a:bodyPr vert="horz" wrap="square" rtlCol="0">
            <a:spAutoFit/>
          </a:bodyPr>
          <a:lstStyle/>
          <a:p>
            <a:pPr defTabSz="457200" fontAlgn="auto">
              <a:spcBef>
                <a:spcPts val="0"/>
              </a:spcBef>
              <a:spcAft>
                <a:spcPts val="0"/>
              </a:spcAft>
            </a:pPr>
            <a:r>
              <a:rPr lang="en-US" sz="1800" dirty="0">
                <a:solidFill>
                  <a:srgbClr val="771B61"/>
                </a:solidFill>
                <a:latin typeface="Calibri Light" panose="020F0302020204030204" pitchFamily="34" charset="0"/>
                <a:ea typeface="+mn-ea"/>
                <a:cs typeface="Calibri Light" panose="020F0302020204030204" pitchFamily="34" charset="0"/>
              </a:rPr>
              <a:t>Relapsed/refractory</a:t>
            </a:r>
          </a:p>
        </p:txBody>
      </p:sp>
      <p:cxnSp>
        <p:nvCxnSpPr>
          <p:cNvPr id="17" name="Straight Arrow Connector 16">
            <a:extLst>
              <a:ext uri="{FF2B5EF4-FFF2-40B4-BE49-F238E27FC236}">
                <a16:creationId xmlns:a16="http://schemas.microsoft.com/office/drawing/2014/main" id="{9CA7785F-999C-E619-C671-8258D7D9540F}"/>
              </a:ext>
            </a:extLst>
          </p:cNvPr>
          <p:cNvCxnSpPr/>
          <p:nvPr/>
        </p:nvCxnSpPr>
        <p:spPr>
          <a:xfrm flipH="1">
            <a:off x="2697859" y="3477608"/>
            <a:ext cx="672575" cy="33250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A53D6741-C54C-0F35-A245-E6CC199F371E}"/>
              </a:ext>
            </a:extLst>
          </p:cNvPr>
          <p:cNvCxnSpPr>
            <a:cxnSpLocks/>
          </p:cNvCxnSpPr>
          <p:nvPr/>
        </p:nvCxnSpPr>
        <p:spPr>
          <a:xfrm flipH="1">
            <a:off x="4398189" y="3443601"/>
            <a:ext cx="1" cy="46097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9F3F0C9E-B821-2561-9ECD-572FE08E40F6}"/>
              </a:ext>
            </a:extLst>
          </p:cNvPr>
          <p:cNvCxnSpPr>
            <a:cxnSpLocks/>
          </p:cNvCxnSpPr>
          <p:nvPr/>
        </p:nvCxnSpPr>
        <p:spPr>
          <a:xfrm>
            <a:off x="5480104" y="3415678"/>
            <a:ext cx="641086" cy="39443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extBox 22">
            <a:extLst>
              <a:ext uri="{FF2B5EF4-FFF2-40B4-BE49-F238E27FC236}">
                <a16:creationId xmlns:a16="http://schemas.microsoft.com/office/drawing/2014/main" id="{FADE55B1-C044-6AD7-3673-ADFAD72F0881}"/>
              </a:ext>
            </a:extLst>
          </p:cNvPr>
          <p:cNvSpPr txBox="1"/>
          <p:nvPr/>
        </p:nvSpPr>
        <p:spPr>
          <a:xfrm>
            <a:off x="2274678" y="3335029"/>
            <a:ext cx="831269" cy="369332"/>
          </a:xfrm>
          <a:prstGeom prst="rect">
            <a:avLst/>
          </a:prstGeom>
        </p:spPr>
        <p:txBody>
          <a:bodyPr vert="horz" wrap="square" rtlCol="0">
            <a:spAutoFit/>
          </a:bodyPr>
          <a:lstStyle/>
          <a:p>
            <a:pPr defTabSz="457200" fontAlgn="auto">
              <a:spcBef>
                <a:spcPts val="0"/>
              </a:spcBef>
              <a:spcAft>
                <a:spcPts val="0"/>
              </a:spcAft>
            </a:pPr>
            <a:r>
              <a:rPr lang="en-US" sz="1800" dirty="0">
                <a:solidFill>
                  <a:srgbClr val="771B61"/>
                </a:solidFill>
                <a:latin typeface="Calibri Light" panose="020F0302020204030204" pitchFamily="34" charset="0"/>
                <a:ea typeface="+mn-ea"/>
                <a:cs typeface="Calibri Light" panose="020F0302020204030204" pitchFamily="34" charset="0"/>
              </a:rPr>
              <a:t>FLT3+</a:t>
            </a:r>
          </a:p>
        </p:txBody>
      </p:sp>
      <p:sp>
        <p:nvSpPr>
          <p:cNvPr id="24" name="TextBox 23">
            <a:extLst>
              <a:ext uri="{FF2B5EF4-FFF2-40B4-BE49-F238E27FC236}">
                <a16:creationId xmlns:a16="http://schemas.microsoft.com/office/drawing/2014/main" id="{FFA81247-3478-B1FC-4DF1-796EF28943DE}"/>
              </a:ext>
            </a:extLst>
          </p:cNvPr>
          <p:cNvSpPr txBox="1"/>
          <p:nvPr/>
        </p:nvSpPr>
        <p:spPr>
          <a:xfrm>
            <a:off x="5943601" y="3297158"/>
            <a:ext cx="1028373" cy="369332"/>
          </a:xfrm>
          <a:prstGeom prst="rect">
            <a:avLst/>
          </a:prstGeom>
        </p:spPr>
        <p:txBody>
          <a:bodyPr vert="horz" wrap="square" rtlCol="0">
            <a:spAutoFit/>
          </a:bodyPr>
          <a:lstStyle/>
          <a:p>
            <a:pPr defTabSz="457200" fontAlgn="auto">
              <a:spcBef>
                <a:spcPts val="0"/>
              </a:spcBef>
              <a:spcAft>
                <a:spcPts val="0"/>
              </a:spcAft>
            </a:pPr>
            <a:r>
              <a:rPr lang="en-US" sz="1800" dirty="0">
                <a:solidFill>
                  <a:srgbClr val="771B61"/>
                </a:solidFill>
                <a:latin typeface="Calibri Light" panose="020F0302020204030204" pitchFamily="34" charset="0"/>
                <a:ea typeface="+mn-ea"/>
                <a:cs typeface="Calibri Light" panose="020F0302020204030204" pitchFamily="34" charset="0"/>
              </a:rPr>
              <a:t>IDH1/2+</a:t>
            </a:r>
          </a:p>
        </p:txBody>
      </p:sp>
      <p:sp>
        <p:nvSpPr>
          <p:cNvPr id="25" name="TextBox 24">
            <a:extLst>
              <a:ext uri="{FF2B5EF4-FFF2-40B4-BE49-F238E27FC236}">
                <a16:creationId xmlns:a16="http://schemas.microsoft.com/office/drawing/2014/main" id="{4F7EC71E-9033-BBAE-88FC-7D704728958F}"/>
              </a:ext>
            </a:extLst>
          </p:cNvPr>
          <p:cNvSpPr txBox="1"/>
          <p:nvPr/>
        </p:nvSpPr>
        <p:spPr>
          <a:xfrm>
            <a:off x="1704102" y="3994782"/>
            <a:ext cx="1258253" cy="369332"/>
          </a:xfrm>
          <a:prstGeom prst="rect">
            <a:avLst/>
          </a:prstGeom>
          <a:ln>
            <a:solidFill>
              <a:schemeClr val="tx1"/>
            </a:solidFill>
          </a:ln>
        </p:spPr>
        <p:txBody>
          <a:bodyPr vert="horz" wrap="square" rtlCol="0">
            <a:spAutoFit/>
          </a:bodyPr>
          <a:lstStyle/>
          <a:p>
            <a:pPr algn="ctr" defTabSz="457200" fontAlgn="auto">
              <a:spcBef>
                <a:spcPts val="0"/>
              </a:spcBef>
              <a:spcAft>
                <a:spcPts val="0"/>
              </a:spcAft>
            </a:pPr>
            <a:r>
              <a:rPr lang="en-US" sz="1800" dirty="0" err="1">
                <a:solidFill>
                  <a:srgbClr val="771B61"/>
                </a:solidFill>
                <a:latin typeface="Calibri"/>
                <a:ea typeface="+mn-ea"/>
                <a:cs typeface="+mn-cs"/>
              </a:rPr>
              <a:t>Gilteritinib</a:t>
            </a:r>
            <a:endParaRPr lang="en-US" sz="1800" dirty="0">
              <a:solidFill>
                <a:srgbClr val="771B61"/>
              </a:solidFill>
              <a:latin typeface="Calibri"/>
              <a:ea typeface="+mn-ea"/>
              <a:cs typeface="+mn-cs"/>
            </a:endParaRPr>
          </a:p>
        </p:txBody>
      </p:sp>
      <p:sp>
        <p:nvSpPr>
          <p:cNvPr id="26" name="TextBox 25">
            <a:extLst>
              <a:ext uri="{FF2B5EF4-FFF2-40B4-BE49-F238E27FC236}">
                <a16:creationId xmlns:a16="http://schemas.microsoft.com/office/drawing/2014/main" id="{04229AEB-9054-C5E8-3C43-F5FDEA0CF445}"/>
              </a:ext>
            </a:extLst>
          </p:cNvPr>
          <p:cNvSpPr txBox="1"/>
          <p:nvPr/>
        </p:nvSpPr>
        <p:spPr>
          <a:xfrm>
            <a:off x="5791190" y="3893456"/>
            <a:ext cx="2361566" cy="646331"/>
          </a:xfrm>
          <a:prstGeom prst="rect">
            <a:avLst/>
          </a:prstGeom>
          <a:ln>
            <a:solidFill>
              <a:schemeClr val="tx1"/>
            </a:solidFill>
          </a:ln>
        </p:spPr>
        <p:txBody>
          <a:bodyPr vert="horz" wrap="square" rtlCol="0">
            <a:spAutoFit/>
          </a:bodyPr>
          <a:lstStyle/>
          <a:p>
            <a:pPr algn="ctr" defTabSz="457200" fontAlgn="auto">
              <a:spcBef>
                <a:spcPts val="0"/>
              </a:spcBef>
              <a:spcAft>
                <a:spcPts val="0"/>
              </a:spcAft>
            </a:pPr>
            <a:r>
              <a:rPr lang="en-US" sz="1800" dirty="0" err="1">
                <a:solidFill>
                  <a:srgbClr val="771B61"/>
                </a:solidFill>
                <a:latin typeface="Calibri"/>
                <a:ea typeface="+mn-ea"/>
                <a:cs typeface="+mn-cs"/>
              </a:rPr>
              <a:t>Ivosidenib</a:t>
            </a:r>
            <a:r>
              <a:rPr lang="en-US" sz="1800" dirty="0">
                <a:solidFill>
                  <a:srgbClr val="771B61"/>
                </a:solidFill>
                <a:latin typeface="Calibri"/>
                <a:ea typeface="+mn-ea"/>
                <a:cs typeface="+mn-cs"/>
              </a:rPr>
              <a:t>, </a:t>
            </a:r>
            <a:r>
              <a:rPr lang="en-US" sz="1800" dirty="0" err="1">
                <a:solidFill>
                  <a:srgbClr val="771B61"/>
                </a:solidFill>
                <a:latin typeface="Calibri"/>
                <a:ea typeface="+mn-ea"/>
                <a:cs typeface="+mn-cs"/>
              </a:rPr>
              <a:t>Enasidenib</a:t>
            </a:r>
            <a:r>
              <a:rPr lang="en-US" sz="1800" dirty="0">
                <a:solidFill>
                  <a:srgbClr val="771B61"/>
                </a:solidFill>
                <a:latin typeface="Calibri"/>
                <a:ea typeface="+mn-ea"/>
                <a:cs typeface="+mn-cs"/>
              </a:rPr>
              <a:t>, </a:t>
            </a:r>
            <a:r>
              <a:rPr lang="en-US" sz="1800" dirty="0" err="1">
                <a:solidFill>
                  <a:srgbClr val="771B61"/>
                </a:solidFill>
                <a:latin typeface="Calibri"/>
                <a:ea typeface="+mn-ea"/>
                <a:cs typeface="+mn-cs"/>
              </a:rPr>
              <a:t>Olutasidenib</a:t>
            </a:r>
            <a:endParaRPr lang="en-US" sz="1800" dirty="0">
              <a:solidFill>
                <a:srgbClr val="771B61"/>
              </a:solidFill>
              <a:latin typeface="Calibri"/>
              <a:ea typeface="+mn-ea"/>
              <a:cs typeface="+mn-cs"/>
            </a:endParaRPr>
          </a:p>
        </p:txBody>
      </p:sp>
      <p:sp>
        <p:nvSpPr>
          <p:cNvPr id="27" name="TextBox 26">
            <a:extLst>
              <a:ext uri="{FF2B5EF4-FFF2-40B4-BE49-F238E27FC236}">
                <a16:creationId xmlns:a16="http://schemas.microsoft.com/office/drawing/2014/main" id="{1C8E6982-8000-C43D-8B50-3D4183551F07}"/>
              </a:ext>
            </a:extLst>
          </p:cNvPr>
          <p:cNvSpPr txBox="1"/>
          <p:nvPr/>
        </p:nvSpPr>
        <p:spPr>
          <a:xfrm>
            <a:off x="3770956" y="3976133"/>
            <a:ext cx="1473617" cy="646331"/>
          </a:xfrm>
          <a:prstGeom prst="rect">
            <a:avLst/>
          </a:prstGeom>
          <a:ln>
            <a:solidFill>
              <a:schemeClr val="tx1"/>
            </a:solidFill>
          </a:ln>
        </p:spPr>
        <p:txBody>
          <a:bodyPr vert="horz" wrap="square" rtlCol="0">
            <a:spAutoFit/>
          </a:bodyPr>
          <a:lstStyle/>
          <a:p>
            <a:pPr algn="ctr" defTabSz="457200" fontAlgn="auto">
              <a:spcBef>
                <a:spcPts val="0"/>
              </a:spcBef>
              <a:spcAft>
                <a:spcPts val="0"/>
              </a:spcAft>
            </a:pPr>
            <a:r>
              <a:rPr lang="en-US" sz="1800" dirty="0">
                <a:solidFill>
                  <a:srgbClr val="771B61"/>
                </a:solidFill>
                <a:latin typeface="Calibri"/>
                <a:ea typeface="+mn-ea"/>
                <a:cs typeface="+mn-cs"/>
              </a:rPr>
              <a:t>Clinical trials</a:t>
            </a:r>
          </a:p>
          <a:p>
            <a:pPr algn="ctr" defTabSz="457200" fontAlgn="auto">
              <a:spcBef>
                <a:spcPts val="0"/>
              </a:spcBef>
              <a:spcAft>
                <a:spcPts val="0"/>
              </a:spcAft>
            </a:pPr>
            <a:r>
              <a:rPr lang="en-US" sz="1800" dirty="0" err="1">
                <a:solidFill>
                  <a:srgbClr val="771B61"/>
                </a:solidFill>
                <a:latin typeface="Calibri"/>
                <a:ea typeface="+mn-ea"/>
                <a:cs typeface="+mn-cs"/>
              </a:rPr>
              <a:t>Mylotarg</a:t>
            </a:r>
            <a:endParaRPr lang="en-US" sz="1800" dirty="0">
              <a:solidFill>
                <a:srgbClr val="771B61"/>
              </a:solidFill>
              <a:latin typeface="Calibri"/>
              <a:ea typeface="+mn-ea"/>
              <a:cs typeface="+mn-cs"/>
            </a:endParaRPr>
          </a:p>
        </p:txBody>
      </p:sp>
      <p:cxnSp>
        <p:nvCxnSpPr>
          <p:cNvPr id="3" name="Straight Arrow Connector 2">
            <a:extLst>
              <a:ext uri="{FF2B5EF4-FFF2-40B4-BE49-F238E27FC236}">
                <a16:creationId xmlns:a16="http://schemas.microsoft.com/office/drawing/2014/main" id="{C8CE6F87-9258-18F5-2942-ADE1CD332337}"/>
              </a:ext>
            </a:extLst>
          </p:cNvPr>
          <p:cNvCxnSpPr/>
          <p:nvPr/>
        </p:nvCxnSpPr>
        <p:spPr>
          <a:xfrm flipH="1">
            <a:off x="2391963" y="1368834"/>
            <a:ext cx="672575" cy="33250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3552C5F8-8425-9F35-D4BD-E09C90DAC121}"/>
              </a:ext>
            </a:extLst>
          </p:cNvPr>
          <p:cNvSpPr txBox="1"/>
          <p:nvPr/>
        </p:nvSpPr>
        <p:spPr>
          <a:xfrm>
            <a:off x="1823928" y="1300299"/>
            <a:ext cx="1028373" cy="307777"/>
          </a:xfrm>
          <a:prstGeom prst="rect">
            <a:avLst/>
          </a:prstGeom>
        </p:spPr>
        <p:txBody>
          <a:bodyPr vert="horz" wrap="square" rtlCol="0">
            <a:spAutoFit/>
          </a:bodyPr>
          <a:lstStyle/>
          <a:p>
            <a:pPr defTabSz="457200" fontAlgn="auto">
              <a:spcBef>
                <a:spcPts val="0"/>
              </a:spcBef>
              <a:spcAft>
                <a:spcPts val="0"/>
              </a:spcAft>
            </a:pPr>
            <a:r>
              <a:rPr lang="en-US" sz="1400" dirty="0">
                <a:solidFill>
                  <a:srgbClr val="771B61"/>
                </a:solidFill>
                <a:latin typeface="Calibri Light" panose="020F0302020204030204" pitchFamily="34" charset="0"/>
                <a:ea typeface="+mn-ea"/>
                <a:cs typeface="Calibri Light" panose="020F0302020204030204" pitchFamily="34" charset="0"/>
              </a:rPr>
              <a:t>IDH1+</a:t>
            </a:r>
          </a:p>
        </p:txBody>
      </p:sp>
      <p:sp>
        <p:nvSpPr>
          <p:cNvPr id="8" name="TextBox 7">
            <a:extLst>
              <a:ext uri="{FF2B5EF4-FFF2-40B4-BE49-F238E27FC236}">
                <a16:creationId xmlns:a16="http://schemas.microsoft.com/office/drawing/2014/main" id="{D6CB99D2-DD27-2D6F-3053-1050CC25DD62}"/>
              </a:ext>
            </a:extLst>
          </p:cNvPr>
          <p:cNvSpPr txBox="1"/>
          <p:nvPr/>
        </p:nvSpPr>
        <p:spPr>
          <a:xfrm>
            <a:off x="316562" y="2004565"/>
            <a:ext cx="2645792" cy="400110"/>
          </a:xfrm>
          <a:prstGeom prst="rect">
            <a:avLst/>
          </a:prstGeom>
          <a:ln>
            <a:solidFill>
              <a:schemeClr val="tx1"/>
            </a:solidFill>
          </a:ln>
        </p:spPr>
        <p:txBody>
          <a:bodyPr vert="horz" wrap="square" rtlCol="0">
            <a:spAutoFit/>
          </a:bodyPr>
          <a:lstStyle/>
          <a:p>
            <a:pPr algn="ctr" defTabSz="457200" fontAlgn="auto">
              <a:spcBef>
                <a:spcPts val="0"/>
              </a:spcBef>
              <a:spcAft>
                <a:spcPts val="0"/>
              </a:spcAft>
            </a:pPr>
            <a:r>
              <a:rPr lang="en-US" sz="2000" dirty="0">
                <a:solidFill>
                  <a:srgbClr val="771B61"/>
                </a:solidFill>
                <a:latin typeface="Calibri"/>
                <a:ea typeface="+mn-ea"/>
                <a:cs typeface="+mn-cs"/>
              </a:rPr>
              <a:t>Azacitidine/</a:t>
            </a:r>
            <a:r>
              <a:rPr lang="en-US" sz="2000" dirty="0" err="1">
                <a:solidFill>
                  <a:srgbClr val="771B61"/>
                </a:solidFill>
                <a:latin typeface="Calibri"/>
                <a:ea typeface="+mn-ea"/>
                <a:cs typeface="+mn-cs"/>
              </a:rPr>
              <a:t>ivosidenib</a:t>
            </a:r>
            <a:endParaRPr lang="en-US" sz="2000" dirty="0">
              <a:solidFill>
                <a:srgbClr val="771B61"/>
              </a:solidFill>
              <a:latin typeface="Calibri"/>
              <a:ea typeface="+mn-ea"/>
              <a:cs typeface="+mn-cs"/>
            </a:endParaRPr>
          </a:p>
        </p:txBody>
      </p:sp>
    </p:spTree>
    <p:extLst>
      <p:ext uri="{BB962C8B-B14F-4D97-AF65-F5344CB8AC3E}">
        <p14:creationId xmlns:p14="http://schemas.microsoft.com/office/powerpoint/2010/main" val="194360062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833A60-AE2B-B10B-AC84-7306CB5AAC76}"/>
              </a:ext>
            </a:extLst>
          </p:cNvPr>
          <p:cNvSpPr>
            <a:spLocks noGrp="1"/>
          </p:cNvSpPr>
          <p:nvPr>
            <p:ph type="title"/>
          </p:nvPr>
        </p:nvSpPr>
        <p:spPr/>
        <p:txBody>
          <a:bodyPr/>
          <a:lstStyle/>
          <a:p>
            <a:r>
              <a:rPr lang="en-US" sz="2400" dirty="0">
                <a:solidFill>
                  <a:srgbClr val="003767"/>
                </a:solidFill>
              </a:rPr>
              <a:t>New standard of care: </a:t>
            </a:r>
            <a:br>
              <a:rPr lang="en-US" sz="2400" dirty="0">
                <a:solidFill>
                  <a:srgbClr val="003767"/>
                </a:solidFill>
              </a:rPr>
            </a:br>
            <a:r>
              <a:rPr lang="en-US" sz="2400" dirty="0">
                <a:solidFill>
                  <a:srgbClr val="003767"/>
                </a:solidFill>
              </a:rPr>
              <a:t>Hypomethylating agent (HMA)/</a:t>
            </a:r>
            <a:r>
              <a:rPr lang="en-US" sz="2400" dirty="0" err="1">
                <a:solidFill>
                  <a:srgbClr val="003767"/>
                </a:solidFill>
              </a:rPr>
              <a:t>venetoclax</a:t>
            </a:r>
            <a:endParaRPr lang="en-US" sz="2400" dirty="0">
              <a:solidFill>
                <a:srgbClr val="003767"/>
              </a:solidFill>
            </a:endParaRPr>
          </a:p>
        </p:txBody>
      </p:sp>
      <p:sp>
        <p:nvSpPr>
          <p:cNvPr id="6" name="Content Placeholder 5">
            <a:extLst>
              <a:ext uri="{FF2B5EF4-FFF2-40B4-BE49-F238E27FC236}">
                <a16:creationId xmlns:a16="http://schemas.microsoft.com/office/drawing/2014/main" id="{FD0BD179-ADFF-B218-313D-B6191BA66D1A}"/>
              </a:ext>
            </a:extLst>
          </p:cNvPr>
          <p:cNvSpPr>
            <a:spLocks noGrp="1"/>
          </p:cNvSpPr>
          <p:nvPr>
            <p:ph idx="1"/>
          </p:nvPr>
        </p:nvSpPr>
        <p:spPr/>
        <p:txBody>
          <a:bodyPr/>
          <a:lstStyle/>
          <a:p>
            <a:r>
              <a:rPr lang="en-US" sz="2000" dirty="0">
                <a:solidFill>
                  <a:srgbClr val="003767"/>
                </a:solidFill>
                <a:latin typeface="Calibri Light" panose="020F0302020204030204" pitchFamily="34" charset="0"/>
                <a:cs typeface="Calibri Light" panose="020F0302020204030204" pitchFamily="34" charset="0"/>
              </a:rPr>
              <a:t>Oral bcl-2 inhibitor, approved for CLL</a:t>
            </a:r>
          </a:p>
          <a:p>
            <a:endParaRPr lang="en-US" sz="2000" dirty="0">
              <a:solidFill>
                <a:srgbClr val="003767"/>
              </a:solidFill>
              <a:latin typeface="Calibri Light" panose="020F0302020204030204" pitchFamily="34" charset="0"/>
              <a:cs typeface="Calibri Light" panose="020F0302020204030204" pitchFamily="34" charset="0"/>
            </a:endParaRPr>
          </a:p>
          <a:p>
            <a:r>
              <a:rPr lang="en-US" sz="2000" dirty="0">
                <a:solidFill>
                  <a:srgbClr val="003767"/>
                </a:solidFill>
                <a:latin typeface="Calibri Light" panose="020F0302020204030204" pitchFamily="34" charset="0"/>
                <a:cs typeface="Calibri Light" panose="020F0302020204030204" pitchFamily="34" charset="0"/>
              </a:rPr>
              <a:t>FDA approval: with HMA or low-dose cytarabine for newly diagnosed AML in patients age ≥75 or comorbidities precluding induction chemo </a:t>
            </a:r>
          </a:p>
          <a:p>
            <a:pPr marL="0" indent="0">
              <a:buNone/>
            </a:pPr>
            <a:endParaRPr lang="en-US" sz="2000" dirty="0">
              <a:solidFill>
                <a:srgbClr val="003767"/>
              </a:solidFill>
              <a:latin typeface="Calibri Light" panose="020F0302020204030204" pitchFamily="34" charset="0"/>
              <a:cs typeface="Calibri Light" panose="020F0302020204030204" pitchFamily="34" charset="0"/>
            </a:endParaRPr>
          </a:p>
          <a:p>
            <a:r>
              <a:rPr lang="en-US" sz="2000" dirty="0">
                <a:solidFill>
                  <a:srgbClr val="003767"/>
                </a:solidFill>
                <a:latin typeface="Calibri Light" panose="020F0302020204030204" pitchFamily="34" charset="0"/>
                <a:cs typeface="Calibri Light" panose="020F0302020204030204" pitchFamily="34" charset="0"/>
              </a:rPr>
              <a:t>Schedule: </a:t>
            </a:r>
          </a:p>
          <a:p>
            <a:pPr lvl="1"/>
            <a:r>
              <a:rPr lang="en-US" sz="1600" dirty="0" err="1">
                <a:solidFill>
                  <a:srgbClr val="003767"/>
                </a:solidFill>
                <a:latin typeface="Calibri Light" panose="020F0302020204030204" pitchFamily="34" charset="0"/>
                <a:cs typeface="Calibri Light" panose="020F0302020204030204" pitchFamily="34" charset="0"/>
              </a:rPr>
              <a:t>Vidaza</a:t>
            </a:r>
            <a:r>
              <a:rPr lang="en-US" sz="1600" dirty="0">
                <a:solidFill>
                  <a:srgbClr val="003767"/>
                </a:solidFill>
                <a:latin typeface="Calibri Light" panose="020F0302020204030204" pitchFamily="34" charset="0"/>
                <a:cs typeface="Calibri Light" panose="020F0302020204030204" pitchFamily="34" charset="0"/>
              </a:rPr>
              <a:t> 75mg/m</a:t>
            </a:r>
            <a:r>
              <a:rPr lang="en-US" sz="1600" baseline="30000" dirty="0">
                <a:solidFill>
                  <a:srgbClr val="003767"/>
                </a:solidFill>
                <a:latin typeface="Calibri Light" panose="020F0302020204030204" pitchFamily="34" charset="0"/>
                <a:cs typeface="Calibri Light" panose="020F0302020204030204" pitchFamily="34" charset="0"/>
              </a:rPr>
              <a:t>2</a:t>
            </a:r>
            <a:r>
              <a:rPr lang="en-US" sz="1600" dirty="0">
                <a:solidFill>
                  <a:srgbClr val="003767"/>
                </a:solidFill>
                <a:latin typeface="Calibri Light" panose="020F0302020204030204" pitchFamily="34" charset="0"/>
                <a:cs typeface="Calibri Light" panose="020F0302020204030204" pitchFamily="34" charset="0"/>
              </a:rPr>
              <a:t> SC/IV days 1-7 or </a:t>
            </a:r>
            <a:r>
              <a:rPr lang="en-US" sz="1600" dirty="0" err="1">
                <a:solidFill>
                  <a:srgbClr val="003767"/>
                </a:solidFill>
                <a:latin typeface="Calibri Light" panose="020F0302020204030204" pitchFamily="34" charset="0"/>
                <a:cs typeface="Calibri Light" panose="020F0302020204030204" pitchFamily="34" charset="0"/>
              </a:rPr>
              <a:t>Dacogen</a:t>
            </a:r>
            <a:r>
              <a:rPr lang="en-US" sz="1600" dirty="0">
                <a:solidFill>
                  <a:srgbClr val="003767"/>
                </a:solidFill>
                <a:latin typeface="Calibri Light" panose="020F0302020204030204" pitchFamily="34" charset="0"/>
                <a:cs typeface="Calibri Light" panose="020F0302020204030204" pitchFamily="34" charset="0"/>
              </a:rPr>
              <a:t> 20mg/m</a:t>
            </a:r>
            <a:r>
              <a:rPr lang="en-US" sz="1600" baseline="30000" dirty="0">
                <a:solidFill>
                  <a:srgbClr val="003767"/>
                </a:solidFill>
                <a:latin typeface="Calibri Light" panose="020F0302020204030204" pitchFamily="34" charset="0"/>
                <a:cs typeface="Calibri Light" panose="020F0302020204030204" pitchFamily="34" charset="0"/>
              </a:rPr>
              <a:t>2</a:t>
            </a:r>
            <a:r>
              <a:rPr lang="en-US" sz="1600" dirty="0">
                <a:solidFill>
                  <a:srgbClr val="003767"/>
                </a:solidFill>
                <a:latin typeface="Calibri Light" panose="020F0302020204030204" pitchFamily="34" charset="0"/>
                <a:cs typeface="Calibri Light" panose="020F0302020204030204" pitchFamily="34" charset="0"/>
              </a:rPr>
              <a:t> IV days 1-5</a:t>
            </a:r>
          </a:p>
          <a:p>
            <a:pPr lvl="1"/>
            <a:r>
              <a:rPr lang="en-US" sz="1600" dirty="0" err="1">
                <a:solidFill>
                  <a:srgbClr val="003767"/>
                </a:solidFill>
                <a:latin typeface="Calibri Light" panose="020F0302020204030204" pitchFamily="34" charset="0"/>
                <a:cs typeface="Calibri Light" panose="020F0302020204030204" pitchFamily="34" charset="0"/>
              </a:rPr>
              <a:t>Venetoclax</a:t>
            </a:r>
            <a:r>
              <a:rPr lang="en-US" sz="1600" dirty="0">
                <a:solidFill>
                  <a:srgbClr val="003767"/>
                </a:solidFill>
                <a:latin typeface="Calibri Light" panose="020F0302020204030204" pitchFamily="34" charset="0"/>
                <a:cs typeface="Calibri Light" panose="020F0302020204030204" pitchFamily="34" charset="0"/>
              </a:rPr>
              <a:t> 400mg PO daily</a:t>
            </a:r>
          </a:p>
          <a:p>
            <a:endParaRPr lang="en-US" dirty="0">
              <a:solidFill>
                <a:srgbClr val="003767"/>
              </a:solidFill>
            </a:endParaRPr>
          </a:p>
        </p:txBody>
      </p:sp>
    </p:spTree>
    <p:extLst>
      <p:ext uri="{BB962C8B-B14F-4D97-AF65-F5344CB8AC3E}">
        <p14:creationId xmlns:p14="http://schemas.microsoft.com/office/powerpoint/2010/main" val="108911753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F9BB52-D99F-6062-E3C8-D2034BEA611E}"/>
              </a:ext>
            </a:extLst>
          </p:cNvPr>
          <p:cNvSpPr>
            <a:spLocks noGrp="1"/>
          </p:cNvSpPr>
          <p:nvPr>
            <p:ph type="title"/>
          </p:nvPr>
        </p:nvSpPr>
        <p:spPr/>
        <p:txBody>
          <a:bodyPr/>
          <a:lstStyle/>
          <a:p>
            <a:r>
              <a:rPr lang="en-US" sz="2000" dirty="0">
                <a:solidFill>
                  <a:srgbClr val="003767"/>
                </a:solidFill>
              </a:rPr>
              <a:t>Azacitidine + </a:t>
            </a:r>
            <a:r>
              <a:rPr lang="en-US" sz="2000" dirty="0" err="1">
                <a:solidFill>
                  <a:srgbClr val="003767"/>
                </a:solidFill>
              </a:rPr>
              <a:t>venetoclax</a:t>
            </a:r>
            <a:r>
              <a:rPr lang="en-US" sz="2000" dirty="0">
                <a:solidFill>
                  <a:srgbClr val="003767"/>
                </a:solidFill>
              </a:rPr>
              <a:t> improves overall survival</a:t>
            </a:r>
            <a:br>
              <a:rPr lang="en-US" sz="2000" dirty="0">
                <a:solidFill>
                  <a:srgbClr val="003767"/>
                </a:solidFill>
              </a:rPr>
            </a:br>
            <a:r>
              <a:rPr lang="en-US" sz="2000" dirty="0">
                <a:solidFill>
                  <a:srgbClr val="003767"/>
                </a:solidFill>
              </a:rPr>
              <a:t>VIALE-A trial</a:t>
            </a:r>
          </a:p>
        </p:txBody>
      </p:sp>
      <p:sp>
        <p:nvSpPr>
          <p:cNvPr id="3" name="Content Placeholder 2">
            <a:extLst>
              <a:ext uri="{FF2B5EF4-FFF2-40B4-BE49-F238E27FC236}">
                <a16:creationId xmlns:a16="http://schemas.microsoft.com/office/drawing/2014/main" id="{502D6170-FED2-1A5F-C83D-C4FAC8D5BA6E}"/>
              </a:ext>
            </a:extLst>
          </p:cNvPr>
          <p:cNvSpPr>
            <a:spLocks noGrp="1"/>
          </p:cNvSpPr>
          <p:nvPr>
            <p:ph idx="1"/>
          </p:nvPr>
        </p:nvSpPr>
        <p:spPr>
          <a:xfrm>
            <a:off x="595745" y="886252"/>
            <a:ext cx="3719945" cy="3397615"/>
          </a:xfrm>
        </p:spPr>
        <p:txBody>
          <a:bodyPr/>
          <a:lstStyle/>
          <a:p>
            <a:pPr marL="285750" indent="-285750">
              <a:buFont typeface="Arial" panose="020B0604020202020204" pitchFamily="34" charset="0"/>
              <a:buChar char="•"/>
            </a:pPr>
            <a:r>
              <a:rPr lang="en-US" sz="2000" dirty="0">
                <a:solidFill>
                  <a:srgbClr val="003767"/>
                </a:solidFill>
                <a:latin typeface="Calibri Light" panose="020F0302020204030204" pitchFamily="34" charset="0"/>
                <a:cs typeface="Calibri Light" panose="020F0302020204030204" pitchFamily="34" charset="0"/>
              </a:rPr>
              <a:t>CR/</a:t>
            </a:r>
            <a:r>
              <a:rPr lang="en-US" sz="2000" dirty="0" err="1">
                <a:solidFill>
                  <a:srgbClr val="003767"/>
                </a:solidFill>
                <a:latin typeface="Calibri Light" panose="020F0302020204030204" pitchFamily="34" charset="0"/>
                <a:cs typeface="Calibri Light" panose="020F0302020204030204" pitchFamily="34" charset="0"/>
              </a:rPr>
              <a:t>CRi</a:t>
            </a:r>
            <a:r>
              <a:rPr lang="en-US" sz="2000" dirty="0">
                <a:solidFill>
                  <a:srgbClr val="003767"/>
                </a:solidFill>
                <a:latin typeface="Calibri Light" panose="020F0302020204030204" pitchFamily="34" charset="0"/>
                <a:cs typeface="Calibri Light" panose="020F0302020204030204" pitchFamily="34" charset="0"/>
              </a:rPr>
              <a:t> 66%</a:t>
            </a:r>
          </a:p>
          <a:p>
            <a:pPr marL="285750" indent="-285750">
              <a:buFont typeface="Arial" panose="020B0604020202020204" pitchFamily="34" charset="0"/>
              <a:buChar char="•"/>
            </a:pPr>
            <a:endParaRPr lang="en-US" sz="2000" dirty="0">
              <a:solidFill>
                <a:srgbClr val="003767"/>
              </a:solidFill>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sz="2000" dirty="0">
                <a:solidFill>
                  <a:srgbClr val="003767"/>
                </a:solidFill>
                <a:latin typeface="Calibri Light" panose="020F0302020204030204" pitchFamily="34" charset="0"/>
                <a:cs typeface="Calibri Light" panose="020F0302020204030204" pitchFamily="34" charset="0"/>
              </a:rPr>
              <a:t>Overall survival 15 months</a:t>
            </a:r>
          </a:p>
          <a:p>
            <a:pPr marL="285750" indent="-285750">
              <a:buFont typeface="Arial" panose="020B0604020202020204" pitchFamily="34" charset="0"/>
              <a:buChar char="•"/>
            </a:pPr>
            <a:endParaRPr lang="en-US" sz="2000" dirty="0">
              <a:solidFill>
                <a:srgbClr val="003767"/>
              </a:solidFill>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sz="2000" dirty="0">
                <a:solidFill>
                  <a:srgbClr val="003767"/>
                </a:solidFill>
                <a:latin typeface="Calibri Light" panose="020F0302020204030204" pitchFamily="34" charset="0"/>
                <a:cs typeface="Calibri Light" panose="020F0302020204030204" pitchFamily="34" charset="0"/>
              </a:rPr>
              <a:t>Duration of response 17.5 months</a:t>
            </a:r>
          </a:p>
          <a:p>
            <a:pPr marL="285750" indent="-285750">
              <a:buFont typeface="Arial" panose="020B0604020202020204" pitchFamily="34" charset="0"/>
              <a:buChar char="•"/>
            </a:pPr>
            <a:endParaRPr lang="en-US" sz="2000" dirty="0">
              <a:solidFill>
                <a:srgbClr val="003767"/>
              </a:solidFill>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en-US" sz="2000" dirty="0">
                <a:solidFill>
                  <a:srgbClr val="003767"/>
                </a:solidFill>
                <a:latin typeface="Calibri Light" panose="020F0302020204030204" pitchFamily="34" charset="0"/>
                <a:cs typeface="Calibri Light" panose="020F0302020204030204" pitchFamily="34" charset="0"/>
              </a:rPr>
              <a:t>Time to response 1.3 months</a:t>
            </a:r>
          </a:p>
          <a:p>
            <a:pPr marL="285750" indent="-285750">
              <a:buFont typeface="Arial" panose="020B0604020202020204" pitchFamily="34" charset="0"/>
              <a:buChar char="•"/>
            </a:pPr>
            <a:endParaRPr lang="en-US" sz="2000" dirty="0">
              <a:solidFill>
                <a:srgbClr val="003767"/>
              </a:solidFill>
              <a:latin typeface="Calibri Light" panose="020F0302020204030204" pitchFamily="34" charset="0"/>
              <a:cs typeface="Calibri Light" panose="020F0302020204030204" pitchFamily="34" charset="0"/>
            </a:endParaRPr>
          </a:p>
          <a:p>
            <a:endParaRPr lang="en-US" dirty="0">
              <a:solidFill>
                <a:srgbClr val="003767"/>
              </a:solidFill>
            </a:endParaRPr>
          </a:p>
        </p:txBody>
      </p:sp>
      <p:pic>
        <p:nvPicPr>
          <p:cNvPr id="4" name="Content Placeholder 3">
            <a:extLst>
              <a:ext uri="{FF2B5EF4-FFF2-40B4-BE49-F238E27FC236}">
                <a16:creationId xmlns:a16="http://schemas.microsoft.com/office/drawing/2014/main" id="{1DA3187B-F965-9108-C4BD-8A034BC8AB81}"/>
              </a:ext>
            </a:extLst>
          </p:cNvPr>
          <p:cNvPicPr>
            <a:picLocks noChangeAspect="1"/>
          </p:cNvPicPr>
          <p:nvPr/>
        </p:nvPicPr>
        <p:blipFill>
          <a:blip r:embed="rId2"/>
          <a:stretch>
            <a:fillRect/>
          </a:stretch>
        </p:blipFill>
        <p:spPr bwMode="auto">
          <a:xfrm>
            <a:off x="4582135" y="1003346"/>
            <a:ext cx="3966120" cy="3078151"/>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extBox 4">
            <a:extLst>
              <a:ext uri="{FF2B5EF4-FFF2-40B4-BE49-F238E27FC236}">
                <a16:creationId xmlns:a16="http://schemas.microsoft.com/office/drawing/2014/main" id="{94DBB3B7-8B40-B41B-37FD-8C130E638F20}"/>
              </a:ext>
            </a:extLst>
          </p:cNvPr>
          <p:cNvSpPr txBox="1"/>
          <p:nvPr/>
        </p:nvSpPr>
        <p:spPr>
          <a:xfrm>
            <a:off x="6798237" y="4081497"/>
            <a:ext cx="2345763" cy="246221"/>
          </a:xfrm>
          <a:prstGeom prst="rect">
            <a:avLst/>
          </a:prstGeom>
          <a:noFill/>
        </p:spPr>
        <p:txBody>
          <a:bodyPr wrap="square" rtlCol="0">
            <a:spAutoFit/>
          </a:bodyPr>
          <a:lstStyle/>
          <a:p>
            <a:r>
              <a:rPr lang="en-US" sz="1000" dirty="0">
                <a:solidFill>
                  <a:srgbClr val="003767"/>
                </a:solidFill>
              </a:rPr>
              <a:t>DiNardo CD, et al</a:t>
            </a:r>
            <a:r>
              <a:rPr lang="en-US" sz="1000" i="1" dirty="0">
                <a:solidFill>
                  <a:srgbClr val="003767"/>
                </a:solidFill>
              </a:rPr>
              <a:t>. </a:t>
            </a:r>
            <a:r>
              <a:rPr lang="en-US" sz="1000" dirty="0">
                <a:solidFill>
                  <a:srgbClr val="003767"/>
                </a:solidFill>
              </a:rPr>
              <a:t>N </a:t>
            </a:r>
            <a:r>
              <a:rPr lang="en-US" sz="1000" dirty="0" err="1">
                <a:solidFill>
                  <a:srgbClr val="003767"/>
                </a:solidFill>
              </a:rPr>
              <a:t>Engl</a:t>
            </a:r>
            <a:r>
              <a:rPr lang="en-US" sz="1000" dirty="0">
                <a:solidFill>
                  <a:srgbClr val="003767"/>
                </a:solidFill>
              </a:rPr>
              <a:t> J Med 2020</a:t>
            </a:r>
          </a:p>
        </p:txBody>
      </p:sp>
    </p:spTree>
    <p:extLst>
      <p:ext uri="{BB962C8B-B14F-4D97-AF65-F5344CB8AC3E}">
        <p14:creationId xmlns:p14="http://schemas.microsoft.com/office/powerpoint/2010/main" val="40748619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86E26-B0D5-4EE3-84C6-DE42B02712BF}"/>
              </a:ext>
            </a:extLst>
          </p:cNvPr>
          <p:cNvSpPr>
            <a:spLocks noGrp="1"/>
          </p:cNvSpPr>
          <p:nvPr>
            <p:ph type="title"/>
          </p:nvPr>
        </p:nvSpPr>
        <p:spPr/>
        <p:txBody>
          <a:bodyPr/>
          <a:lstStyle/>
          <a:p>
            <a:r>
              <a:rPr lang="en-US" sz="2400" dirty="0" err="1">
                <a:solidFill>
                  <a:srgbClr val="003767"/>
                </a:solidFill>
              </a:rPr>
              <a:t>Azacitidine</a:t>
            </a:r>
            <a:r>
              <a:rPr lang="en-US" sz="2400" dirty="0">
                <a:solidFill>
                  <a:srgbClr val="003767"/>
                </a:solidFill>
              </a:rPr>
              <a:t> + </a:t>
            </a:r>
            <a:r>
              <a:rPr lang="en-US" sz="2400" dirty="0" err="1">
                <a:solidFill>
                  <a:srgbClr val="003767"/>
                </a:solidFill>
              </a:rPr>
              <a:t>venetoclax</a:t>
            </a:r>
            <a:r>
              <a:rPr lang="en-US" sz="2400" dirty="0">
                <a:solidFill>
                  <a:srgbClr val="003767"/>
                </a:solidFill>
              </a:rPr>
              <a:t> improves overall survival</a:t>
            </a:r>
            <a:br>
              <a:rPr lang="en-US" sz="2400" dirty="0">
                <a:solidFill>
                  <a:srgbClr val="003767"/>
                </a:solidFill>
              </a:rPr>
            </a:br>
            <a:r>
              <a:rPr lang="en-US" sz="1600" dirty="0">
                <a:solidFill>
                  <a:srgbClr val="003767"/>
                </a:solidFill>
              </a:rPr>
              <a:t>VIALE-A trial</a:t>
            </a:r>
          </a:p>
        </p:txBody>
      </p:sp>
      <p:pic>
        <p:nvPicPr>
          <p:cNvPr id="5" name="Content Placeholder 4">
            <a:extLst>
              <a:ext uri="{FF2B5EF4-FFF2-40B4-BE49-F238E27FC236}">
                <a16:creationId xmlns:a16="http://schemas.microsoft.com/office/drawing/2014/main" id="{644F0357-0FE2-4330-8BBA-7D3C03C09CEF}"/>
              </a:ext>
            </a:extLst>
          </p:cNvPr>
          <p:cNvPicPr>
            <a:picLocks noGrp="1" noChangeAspect="1"/>
          </p:cNvPicPr>
          <p:nvPr>
            <p:ph idx="1"/>
          </p:nvPr>
        </p:nvPicPr>
        <p:blipFill>
          <a:blip r:embed="rId2"/>
          <a:stretch>
            <a:fillRect/>
          </a:stretch>
        </p:blipFill>
        <p:spPr>
          <a:xfrm>
            <a:off x="636750" y="1535387"/>
            <a:ext cx="7870501" cy="1232800"/>
          </a:xfrm>
          <a:prstGeom prst="rect">
            <a:avLst/>
          </a:prstGeom>
        </p:spPr>
      </p:pic>
      <p:sp>
        <p:nvSpPr>
          <p:cNvPr id="6" name="TextBox 5">
            <a:extLst>
              <a:ext uri="{FF2B5EF4-FFF2-40B4-BE49-F238E27FC236}">
                <a16:creationId xmlns:a16="http://schemas.microsoft.com/office/drawing/2014/main" id="{F6C660D3-1D31-4428-8C6D-152E41D6C018}"/>
              </a:ext>
            </a:extLst>
          </p:cNvPr>
          <p:cNvSpPr txBox="1"/>
          <p:nvPr/>
        </p:nvSpPr>
        <p:spPr>
          <a:xfrm>
            <a:off x="759531" y="3095958"/>
            <a:ext cx="7624936" cy="830997"/>
          </a:xfrm>
          <a:prstGeom prst="rect">
            <a:avLst/>
          </a:prstGeom>
        </p:spPr>
        <p:txBody>
          <a:bodyPr vert="horz" wrap="square" rtlCol="0">
            <a:spAutoFit/>
          </a:bodyPr>
          <a:lstStyle/>
          <a:p>
            <a:r>
              <a:rPr lang="en-US" dirty="0">
                <a:solidFill>
                  <a:srgbClr val="003767"/>
                </a:solidFill>
                <a:latin typeface="Calibri Light" panose="020F0302020204030204" pitchFamily="34" charset="0"/>
                <a:cs typeface="Calibri Light" panose="020F0302020204030204" pitchFamily="34" charset="0"/>
              </a:rPr>
              <a:t>Survival benefit across subtypes (IDH, NPM1, FLT3, TP53)</a:t>
            </a:r>
          </a:p>
          <a:p>
            <a:endParaRPr lang="en-US" dirty="0">
              <a:solidFill>
                <a:srgbClr val="003767"/>
              </a:solidFill>
            </a:endParaRPr>
          </a:p>
        </p:txBody>
      </p:sp>
      <p:sp>
        <p:nvSpPr>
          <p:cNvPr id="7" name="TextBox 6">
            <a:extLst>
              <a:ext uri="{FF2B5EF4-FFF2-40B4-BE49-F238E27FC236}">
                <a16:creationId xmlns:a16="http://schemas.microsoft.com/office/drawing/2014/main" id="{E798E0D4-938A-49C7-9F86-5E020791A28D}"/>
              </a:ext>
            </a:extLst>
          </p:cNvPr>
          <p:cNvSpPr txBox="1"/>
          <p:nvPr/>
        </p:nvSpPr>
        <p:spPr>
          <a:xfrm>
            <a:off x="6701416" y="4041560"/>
            <a:ext cx="2345763" cy="246221"/>
          </a:xfrm>
          <a:prstGeom prst="rect">
            <a:avLst/>
          </a:prstGeom>
          <a:noFill/>
        </p:spPr>
        <p:txBody>
          <a:bodyPr wrap="square" rtlCol="0">
            <a:spAutoFit/>
          </a:bodyPr>
          <a:lstStyle/>
          <a:p>
            <a:r>
              <a:rPr lang="en-US" sz="1000" dirty="0">
                <a:solidFill>
                  <a:srgbClr val="003767"/>
                </a:solidFill>
              </a:rPr>
              <a:t>DiNardo CD, et al</a:t>
            </a:r>
            <a:r>
              <a:rPr lang="en-US" sz="1000" i="1" dirty="0">
                <a:solidFill>
                  <a:srgbClr val="003767"/>
                </a:solidFill>
              </a:rPr>
              <a:t>. </a:t>
            </a:r>
            <a:r>
              <a:rPr lang="en-US" sz="1000" dirty="0">
                <a:solidFill>
                  <a:srgbClr val="003767"/>
                </a:solidFill>
              </a:rPr>
              <a:t>N </a:t>
            </a:r>
            <a:r>
              <a:rPr lang="en-US" sz="1000" dirty="0" err="1">
                <a:solidFill>
                  <a:srgbClr val="003767"/>
                </a:solidFill>
              </a:rPr>
              <a:t>Engl</a:t>
            </a:r>
            <a:r>
              <a:rPr lang="en-US" sz="1000" dirty="0">
                <a:solidFill>
                  <a:srgbClr val="003767"/>
                </a:solidFill>
              </a:rPr>
              <a:t> J Med 2020</a:t>
            </a:r>
          </a:p>
        </p:txBody>
      </p:sp>
    </p:spTree>
    <p:extLst>
      <p:ext uri="{BB962C8B-B14F-4D97-AF65-F5344CB8AC3E}">
        <p14:creationId xmlns:p14="http://schemas.microsoft.com/office/powerpoint/2010/main" val="100470478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2EE2E-CA33-4B63-AFC0-DF51A97464E6}"/>
              </a:ext>
            </a:extLst>
          </p:cNvPr>
          <p:cNvSpPr>
            <a:spLocks noGrp="1"/>
          </p:cNvSpPr>
          <p:nvPr>
            <p:ph type="title"/>
          </p:nvPr>
        </p:nvSpPr>
        <p:spPr/>
        <p:txBody>
          <a:bodyPr/>
          <a:lstStyle/>
          <a:p>
            <a:r>
              <a:rPr lang="en-US" sz="2400" dirty="0">
                <a:solidFill>
                  <a:srgbClr val="003767"/>
                </a:solidFill>
              </a:rPr>
              <a:t>HMA/</a:t>
            </a:r>
            <a:r>
              <a:rPr lang="en-US" sz="2400" dirty="0" err="1">
                <a:solidFill>
                  <a:srgbClr val="003767"/>
                </a:solidFill>
              </a:rPr>
              <a:t>venetoclax</a:t>
            </a:r>
            <a:r>
              <a:rPr lang="en-US" sz="2400" dirty="0">
                <a:solidFill>
                  <a:srgbClr val="003767"/>
                </a:solidFill>
              </a:rPr>
              <a:t>: Toxicities</a:t>
            </a:r>
          </a:p>
        </p:txBody>
      </p:sp>
      <p:sp>
        <p:nvSpPr>
          <p:cNvPr id="3" name="Content Placeholder 2">
            <a:extLst>
              <a:ext uri="{FF2B5EF4-FFF2-40B4-BE49-F238E27FC236}">
                <a16:creationId xmlns:a16="http://schemas.microsoft.com/office/drawing/2014/main" id="{752BF364-62FA-4126-BABF-664E37D3105D}"/>
              </a:ext>
            </a:extLst>
          </p:cNvPr>
          <p:cNvSpPr>
            <a:spLocks noGrp="1"/>
          </p:cNvSpPr>
          <p:nvPr>
            <p:ph idx="1"/>
          </p:nvPr>
        </p:nvSpPr>
        <p:spPr/>
        <p:txBody>
          <a:bodyPr/>
          <a:lstStyle/>
          <a:p>
            <a:pPr>
              <a:buFont typeface="Wingdings" panose="05000000000000000000" pitchFamily="2" charset="2"/>
              <a:buChar char="ü"/>
            </a:pPr>
            <a:r>
              <a:rPr lang="en-US" sz="2000" dirty="0" err="1">
                <a:solidFill>
                  <a:srgbClr val="003767"/>
                </a:solidFill>
                <a:latin typeface="Calibri Light" panose="020F0302020204030204" pitchFamily="34" charset="0"/>
                <a:cs typeface="Calibri Light" panose="020F0302020204030204" pitchFamily="34" charset="0"/>
              </a:rPr>
              <a:t>Cytopenias</a:t>
            </a:r>
            <a:r>
              <a:rPr lang="en-US" sz="2000" dirty="0">
                <a:solidFill>
                  <a:srgbClr val="003767"/>
                </a:solidFill>
                <a:latin typeface="Calibri Light" panose="020F0302020204030204" pitchFamily="34" charset="0"/>
                <a:cs typeface="Calibri Light" panose="020F0302020204030204" pitchFamily="34" charset="0"/>
              </a:rPr>
              <a:t> and febrile neutropenia</a:t>
            </a:r>
          </a:p>
          <a:p>
            <a:pPr>
              <a:buFont typeface="Wingdings" panose="05000000000000000000" pitchFamily="2" charset="2"/>
              <a:buChar char="ü"/>
            </a:pPr>
            <a:r>
              <a:rPr lang="en-US" sz="2000" dirty="0">
                <a:solidFill>
                  <a:srgbClr val="003767"/>
                </a:solidFill>
                <a:latin typeface="Calibri Light" panose="020F0302020204030204" pitchFamily="34" charset="0"/>
                <a:cs typeface="Calibri Light" panose="020F0302020204030204" pitchFamily="34" charset="0"/>
              </a:rPr>
              <a:t>Gastrointestinal side effects (mild)</a:t>
            </a:r>
          </a:p>
          <a:p>
            <a:pPr>
              <a:buFont typeface="Wingdings" panose="05000000000000000000" pitchFamily="2" charset="2"/>
              <a:buChar char="ü"/>
            </a:pPr>
            <a:r>
              <a:rPr lang="en-US" sz="2000" dirty="0">
                <a:solidFill>
                  <a:srgbClr val="003767"/>
                </a:solidFill>
                <a:latin typeface="Calibri Light" panose="020F0302020204030204" pitchFamily="34" charset="0"/>
                <a:cs typeface="Calibri Light" panose="020F0302020204030204" pitchFamily="34" charset="0"/>
              </a:rPr>
              <a:t>Tumor lysis syndrome (TLS) is rare (1%), but dose ramp up recommended</a:t>
            </a:r>
          </a:p>
          <a:p>
            <a:pPr>
              <a:buFont typeface="Wingdings" panose="05000000000000000000" pitchFamily="2" charset="2"/>
              <a:buChar char="ü"/>
            </a:pPr>
            <a:endParaRPr lang="en-US" sz="2000" dirty="0">
              <a:solidFill>
                <a:srgbClr val="003767"/>
              </a:solidFill>
              <a:latin typeface="Calibri Light" panose="020F0302020204030204" pitchFamily="34" charset="0"/>
              <a:cs typeface="Calibri Light" panose="020F0302020204030204" pitchFamily="34" charset="0"/>
            </a:endParaRPr>
          </a:p>
          <a:p>
            <a:pPr>
              <a:buFont typeface="Wingdings" panose="05000000000000000000" pitchFamily="2" charset="2"/>
              <a:buChar char="ü"/>
            </a:pPr>
            <a:r>
              <a:rPr lang="en-US" sz="2000" dirty="0">
                <a:solidFill>
                  <a:srgbClr val="003767"/>
                </a:solidFill>
                <a:latin typeface="Calibri Light" panose="020F0302020204030204" pitchFamily="34" charset="0"/>
                <a:cs typeface="Calibri Light" panose="020F0302020204030204" pitchFamily="34" charset="0"/>
              </a:rPr>
              <a:t>Well tolerated!</a:t>
            </a:r>
          </a:p>
        </p:txBody>
      </p:sp>
    </p:spTree>
    <p:extLst>
      <p:ext uri="{BB962C8B-B14F-4D97-AF65-F5344CB8AC3E}">
        <p14:creationId xmlns:p14="http://schemas.microsoft.com/office/powerpoint/2010/main" val="250113151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52BF364-62FA-4126-BABF-664E37D3105D}"/>
              </a:ext>
            </a:extLst>
          </p:cNvPr>
          <p:cNvSpPr>
            <a:spLocks noGrp="1"/>
          </p:cNvSpPr>
          <p:nvPr>
            <p:ph sz="half" idx="1"/>
          </p:nvPr>
        </p:nvSpPr>
        <p:spPr/>
        <p:txBody>
          <a:bodyPr/>
          <a:lstStyle/>
          <a:p>
            <a:pPr>
              <a:buFont typeface="Wingdings" panose="05000000000000000000" pitchFamily="2" charset="2"/>
              <a:buChar char="ü"/>
            </a:pPr>
            <a:r>
              <a:rPr lang="en-US" sz="2000" dirty="0">
                <a:solidFill>
                  <a:srgbClr val="003767"/>
                </a:solidFill>
                <a:latin typeface="Calibri Light" panose="020F0302020204030204" pitchFamily="34" charset="0"/>
                <a:cs typeface="Calibri Light" panose="020F0302020204030204" pitchFamily="34" charset="0"/>
              </a:rPr>
              <a:t>Can use azacitidine or decitabine</a:t>
            </a:r>
          </a:p>
          <a:p>
            <a:pPr>
              <a:buFont typeface="Wingdings" panose="05000000000000000000" pitchFamily="2" charset="2"/>
              <a:buChar char="ü"/>
            </a:pPr>
            <a:endParaRPr lang="en-US" sz="2000" dirty="0">
              <a:solidFill>
                <a:srgbClr val="003767"/>
              </a:solidFill>
              <a:latin typeface="Calibri Light" panose="020F0302020204030204" pitchFamily="34" charset="0"/>
              <a:cs typeface="Calibri Light" panose="020F0302020204030204" pitchFamily="34" charset="0"/>
            </a:endParaRPr>
          </a:p>
          <a:p>
            <a:pPr>
              <a:buFont typeface="Wingdings" panose="05000000000000000000" pitchFamily="2" charset="2"/>
              <a:buChar char="ü"/>
            </a:pPr>
            <a:r>
              <a:rPr lang="en-US" sz="2000" dirty="0" err="1">
                <a:solidFill>
                  <a:srgbClr val="003767"/>
                </a:solidFill>
                <a:latin typeface="Calibri Light" panose="020F0302020204030204" pitchFamily="34" charset="0"/>
                <a:cs typeface="Calibri Light" panose="020F0302020204030204" pitchFamily="34" charset="0"/>
              </a:rPr>
              <a:t>Venetoclax</a:t>
            </a:r>
            <a:r>
              <a:rPr lang="en-US" sz="2000" dirty="0">
                <a:solidFill>
                  <a:srgbClr val="003767"/>
                </a:solidFill>
                <a:latin typeface="Calibri Light" panose="020F0302020204030204" pitchFamily="34" charset="0"/>
                <a:cs typeface="Calibri Light" panose="020F0302020204030204" pitchFamily="34" charset="0"/>
              </a:rPr>
              <a:t> ramp up can be done outpatient </a:t>
            </a:r>
          </a:p>
          <a:p>
            <a:pPr>
              <a:buFont typeface="Wingdings" panose="05000000000000000000" pitchFamily="2" charset="2"/>
              <a:buChar char="ü"/>
            </a:pPr>
            <a:endParaRPr lang="en-US" sz="2000" dirty="0">
              <a:solidFill>
                <a:srgbClr val="003767"/>
              </a:solidFill>
              <a:latin typeface="Calibri Light" panose="020F0302020204030204" pitchFamily="34" charset="0"/>
              <a:cs typeface="Calibri Light" panose="020F0302020204030204" pitchFamily="34" charset="0"/>
            </a:endParaRPr>
          </a:p>
          <a:p>
            <a:pPr>
              <a:buFont typeface="Wingdings" panose="05000000000000000000" pitchFamily="2" charset="2"/>
              <a:buChar char="ü"/>
            </a:pPr>
            <a:r>
              <a:rPr lang="en-US" sz="2000" dirty="0">
                <a:solidFill>
                  <a:srgbClr val="003767"/>
                </a:solidFill>
                <a:latin typeface="Calibri Light" panose="020F0302020204030204" pitchFamily="34" charset="0"/>
                <a:cs typeface="Calibri Light" panose="020F0302020204030204" pitchFamily="34" charset="0"/>
              </a:rPr>
              <a:t>TLS prophylaxis includes allopurinol, daily labs, hydration</a:t>
            </a:r>
          </a:p>
          <a:p>
            <a:endParaRPr lang="en-US" sz="2000" dirty="0">
              <a:solidFill>
                <a:srgbClr val="003767"/>
              </a:solidFill>
              <a:latin typeface="Calibri Light" panose="020F0302020204030204" pitchFamily="34" charset="0"/>
              <a:cs typeface="Calibri Light" panose="020F0302020204030204" pitchFamily="34" charset="0"/>
            </a:endParaRPr>
          </a:p>
          <a:p>
            <a:pPr lvl="1"/>
            <a:endParaRPr lang="en-US" sz="1600" dirty="0">
              <a:solidFill>
                <a:srgbClr val="003767"/>
              </a:solidFill>
              <a:latin typeface="Calibri Light" panose="020F0302020204030204" pitchFamily="34" charset="0"/>
              <a:cs typeface="Calibri Light" panose="020F0302020204030204" pitchFamily="34" charset="0"/>
            </a:endParaRPr>
          </a:p>
          <a:p>
            <a:pPr lvl="1"/>
            <a:endParaRPr lang="en-US" sz="1600" dirty="0">
              <a:solidFill>
                <a:srgbClr val="003767"/>
              </a:solidFill>
              <a:latin typeface="Calibri Light" panose="020F0302020204030204" pitchFamily="34" charset="0"/>
              <a:cs typeface="Calibri Light" panose="020F0302020204030204" pitchFamily="34" charset="0"/>
            </a:endParaRPr>
          </a:p>
          <a:p>
            <a:pPr marL="0" indent="0">
              <a:buNone/>
            </a:pPr>
            <a:endParaRPr lang="en-US" dirty="0">
              <a:solidFill>
                <a:srgbClr val="003767"/>
              </a:solidFill>
            </a:endParaRPr>
          </a:p>
        </p:txBody>
      </p:sp>
      <p:sp>
        <p:nvSpPr>
          <p:cNvPr id="4" name="Content Placeholder 3">
            <a:extLst>
              <a:ext uri="{FF2B5EF4-FFF2-40B4-BE49-F238E27FC236}">
                <a16:creationId xmlns:a16="http://schemas.microsoft.com/office/drawing/2014/main" id="{934B0C17-D07F-4A63-820B-F6ED0FC40740}"/>
              </a:ext>
            </a:extLst>
          </p:cNvPr>
          <p:cNvSpPr>
            <a:spLocks noGrp="1"/>
          </p:cNvSpPr>
          <p:nvPr>
            <p:ph sz="half" idx="2"/>
          </p:nvPr>
        </p:nvSpPr>
        <p:spPr/>
        <p:txBody>
          <a:bodyPr/>
          <a:lstStyle/>
          <a:p>
            <a:pPr>
              <a:buFont typeface="Wingdings" panose="05000000000000000000" pitchFamily="2" charset="2"/>
              <a:buChar char="ü"/>
            </a:pPr>
            <a:r>
              <a:rPr lang="en-US" sz="2000" dirty="0">
                <a:solidFill>
                  <a:srgbClr val="003767"/>
                </a:solidFill>
                <a:latin typeface="Calibri Light" panose="020F0302020204030204" pitchFamily="34" charset="0"/>
                <a:cs typeface="Calibri Light" panose="020F0302020204030204" pitchFamily="34" charset="0"/>
              </a:rPr>
              <a:t>Considerations to admit patients for </a:t>
            </a:r>
            <a:r>
              <a:rPr lang="en-US" sz="2000" dirty="0" err="1">
                <a:solidFill>
                  <a:srgbClr val="003767"/>
                </a:solidFill>
                <a:latin typeface="Calibri Light" panose="020F0302020204030204" pitchFamily="34" charset="0"/>
                <a:cs typeface="Calibri Light" panose="020F0302020204030204" pitchFamily="34" charset="0"/>
              </a:rPr>
              <a:t>venetoclax</a:t>
            </a:r>
            <a:r>
              <a:rPr lang="en-US" sz="2000" dirty="0">
                <a:solidFill>
                  <a:srgbClr val="003767"/>
                </a:solidFill>
                <a:latin typeface="Calibri Light" panose="020F0302020204030204" pitchFamily="34" charset="0"/>
                <a:cs typeface="Calibri Light" panose="020F0302020204030204" pitchFamily="34" charset="0"/>
              </a:rPr>
              <a:t> ramp-up:</a:t>
            </a:r>
          </a:p>
          <a:p>
            <a:pPr lvl="1"/>
            <a:r>
              <a:rPr lang="en-US" sz="1600" dirty="0">
                <a:solidFill>
                  <a:srgbClr val="003767"/>
                </a:solidFill>
                <a:latin typeface="Calibri Light" panose="020F0302020204030204" pitchFamily="34" charset="0"/>
                <a:cs typeface="Calibri Light" panose="020F0302020204030204" pitchFamily="34" charset="0"/>
              </a:rPr>
              <a:t>WBC &gt;25 (will need cytoreduction)</a:t>
            </a:r>
          </a:p>
          <a:p>
            <a:pPr lvl="1"/>
            <a:r>
              <a:rPr lang="en-US" sz="1600" dirty="0">
                <a:solidFill>
                  <a:srgbClr val="003767"/>
                </a:solidFill>
                <a:latin typeface="Calibri Light" panose="020F0302020204030204" pitchFamily="34" charset="0"/>
                <a:cs typeface="Calibri Light" panose="020F0302020204030204" pitchFamily="34" charset="0"/>
              </a:rPr>
              <a:t>Renal dysfunction</a:t>
            </a:r>
          </a:p>
          <a:p>
            <a:pPr lvl="1"/>
            <a:r>
              <a:rPr lang="en-US" sz="1600" dirty="0">
                <a:solidFill>
                  <a:srgbClr val="003767"/>
                </a:solidFill>
                <a:latin typeface="Calibri Light" panose="020F0302020204030204" pitchFamily="34" charset="0"/>
                <a:cs typeface="Calibri Light" panose="020F0302020204030204" pitchFamily="34" charset="0"/>
              </a:rPr>
              <a:t>Baseline lab abnormalities suggesting high risk for TLS</a:t>
            </a:r>
          </a:p>
          <a:p>
            <a:endParaRPr lang="en-US" dirty="0">
              <a:solidFill>
                <a:srgbClr val="003767"/>
              </a:solidFill>
            </a:endParaRPr>
          </a:p>
        </p:txBody>
      </p:sp>
      <p:sp>
        <p:nvSpPr>
          <p:cNvPr id="2" name="Title 1">
            <a:extLst>
              <a:ext uri="{FF2B5EF4-FFF2-40B4-BE49-F238E27FC236}">
                <a16:creationId xmlns:a16="http://schemas.microsoft.com/office/drawing/2014/main" id="{60D2EE2E-CA33-4B63-AFC0-DF51A97464E6}"/>
              </a:ext>
            </a:extLst>
          </p:cNvPr>
          <p:cNvSpPr>
            <a:spLocks noGrp="1"/>
          </p:cNvSpPr>
          <p:nvPr>
            <p:ph type="title"/>
          </p:nvPr>
        </p:nvSpPr>
        <p:spPr/>
        <p:txBody>
          <a:bodyPr/>
          <a:lstStyle/>
          <a:p>
            <a:r>
              <a:rPr lang="en-US" sz="2400" dirty="0">
                <a:solidFill>
                  <a:srgbClr val="003767"/>
                </a:solidFill>
              </a:rPr>
              <a:t>HMA/</a:t>
            </a:r>
            <a:r>
              <a:rPr lang="en-US" sz="2400" dirty="0" err="1">
                <a:solidFill>
                  <a:srgbClr val="003767"/>
                </a:solidFill>
              </a:rPr>
              <a:t>venetoclax</a:t>
            </a:r>
            <a:r>
              <a:rPr lang="en-US" sz="2400" dirty="0">
                <a:solidFill>
                  <a:srgbClr val="003767"/>
                </a:solidFill>
              </a:rPr>
              <a:t>: Administration logistics</a:t>
            </a:r>
          </a:p>
        </p:txBody>
      </p:sp>
    </p:spTree>
    <p:extLst>
      <p:ext uri="{BB962C8B-B14F-4D97-AF65-F5344CB8AC3E}">
        <p14:creationId xmlns:p14="http://schemas.microsoft.com/office/powerpoint/2010/main" val="221267571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2EE2E-CA33-4B63-AFC0-DF51A97464E6}"/>
              </a:ext>
            </a:extLst>
          </p:cNvPr>
          <p:cNvSpPr>
            <a:spLocks noGrp="1"/>
          </p:cNvSpPr>
          <p:nvPr>
            <p:ph type="title"/>
          </p:nvPr>
        </p:nvSpPr>
        <p:spPr/>
        <p:txBody>
          <a:bodyPr/>
          <a:lstStyle/>
          <a:p>
            <a:r>
              <a:rPr lang="en-US" sz="2400" dirty="0">
                <a:solidFill>
                  <a:srgbClr val="003767"/>
                </a:solidFill>
              </a:rPr>
              <a:t>HMA/</a:t>
            </a:r>
            <a:r>
              <a:rPr lang="en-US" sz="2400" dirty="0" err="1">
                <a:solidFill>
                  <a:srgbClr val="003767"/>
                </a:solidFill>
              </a:rPr>
              <a:t>venetoclax</a:t>
            </a:r>
            <a:r>
              <a:rPr lang="en-US" sz="2400" dirty="0">
                <a:solidFill>
                  <a:srgbClr val="003767"/>
                </a:solidFill>
              </a:rPr>
              <a:t>: Dosing logistics</a:t>
            </a:r>
          </a:p>
        </p:txBody>
      </p:sp>
      <p:sp>
        <p:nvSpPr>
          <p:cNvPr id="3" name="Content Placeholder 2">
            <a:extLst>
              <a:ext uri="{FF2B5EF4-FFF2-40B4-BE49-F238E27FC236}">
                <a16:creationId xmlns:a16="http://schemas.microsoft.com/office/drawing/2014/main" id="{752BF364-62FA-4126-BABF-664E37D3105D}"/>
              </a:ext>
            </a:extLst>
          </p:cNvPr>
          <p:cNvSpPr>
            <a:spLocks noGrp="1"/>
          </p:cNvSpPr>
          <p:nvPr>
            <p:ph idx="1"/>
          </p:nvPr>
        </p:nvSpPr>
        <p:spPr>
          <a:xfrm>
            <a:off x="457200" y="737101"/>
            <a:ext cx="8229600" cy="3394472"/>
          </a:xfrm>
        </p:spPr>
        <p:txBody>
          <a:bodyPr/>
          <a:lstStyle/>
          <a:p>
            <a:pPr>
              <a:buFont typeface="Wingdings" panose="05000000000000000000" pitchFamily="2" charset="2"/>
              <a:buChar char="ü"/>
            </a:pPr>
            <a:r>
              <a:rPr lang="en-US" sz="2000" dirty="0">
                <a:solidFill>
                  <a:srgbClr val="003767"/>
                </a:solidFill>
                <a:latin typeface="Calibri Light" panose="020F0302020204030204" pitchFamily="34" charset="0"/>
                <a:cs typeface="Calibri Light" panose="020F0302020204030204" pitchFamily="34" charset="0"/>
              </a:rPr>
              <a:t>Drug-drug interactions are common (e.g. azoles)</a:t>
            </a:r>
          </a:p>
          <a:p>
            <a:pPr>
              <a:buFont typeface="Wingdings" panose="05000000000000000000" pitchFamily="2" charset="2"/>
              <a:buChar char="ü"/>
            </a:pPr>
            <a:endParaRPr lang="en-US" sz="2000" dirty="0">
              <a:solidFill>
                <a:srgbClr val="003767"/>
              </a:solidFill>
              <a:latin typeface="Calibri Light" panose="020F0302020204030204" pitchFamily="34" charset="0"/>
              <a:cs typeface="Calibri Light" panose="020F0302020204030204" pitchFamily="34" charset="0"/>
            </a:endParaRPr>
          </a:p>
          <a:p>
            <a:pPr>
              <a:buFont typeface="Wingdings" panose="05000000000000000000" pitchFamily="2" charset="2"/>
              <a:buChar char="ü"/>
            </a:pPr>
            <a:r>
              <a:rPr lang="en-US" sz="2000" dirty="0">
                <a:solidFill>
                  <a:srgbClr val="003767"/>
                </a:solidFill>
                <a:latin typeface="Calibri Light" panose="020F0302020204030204" pitchFamily="34" charset="0"/>
                <a:cs typeface="Calibri Light" panose="020F0302020204030204" pitchFamily="34" charset="0"/>
              </a:rPr>
              <a:t>Infectious prophylaxis for all patients (acyclovir, azole, </a:t>
            </a:r>
            <a:r>
              <a:rPr lang="en-US" sz="2000" dirty="0" err="1">
                <a:solidFill>
                  <a:srgbClr val="003767"/>
                </a:solidFill>
                <a:latin typeface="Calibri Light" panose="020F0302020204030204" pitchFamily="34" charset="0"/>
                <a:cs typeface="Calibri Light" panose="020F0302020204030204" pitchFamily="34" charset="0"/>
              </a:rPr>
              <a:t>levaquin</a:t>
            </a:r>
            <a:r>
              <a:rPr lang="en-US" sz="2000" dirty="0">
                <a:solidFill>
                  <a:srgbClr val="003767"/>
                </a:solidFill>
                <a:latin typeface="Calibri Light" panose="020F0302020204030204" pitchFamily="34" charset="0"/>
                <a:cs typeface="Calibri Light" panose="020F0302020204030204" pitchFamily="34" charset="0"/>
              </a:rPr>
              <a:t>)</a:t>
            </a:r>
          </a:p>
          <a:p>
            <a:pPr>
              <a:buFont typeface="Wingdings" panose="05000000000000000000" pitchFamily="2" charset="2"/>
              <a:buChar char="ü"/>
            </a:pPr>
            <a:endParaRPr lang="en-US" sz="2000" dirty="0">
              <a:solidFill>
                <a:srgbClr val="003767"/>
              </a:solidFill>
              <a:latin typeface="Calibri Light" panose="020F0302020204030204" pitchFamily="34" charset="0"/>
              <a:cs typeface="Calibri Light" panose="020F0302020204030204" pitchFamily="34" charset="0"/>
            </a:endParaRPr>
          </a:p>
          <a:p>
            <a:pPr>
              <a:buFont typeface="Wingdings" panose="05000000000000000000" pitchFamily="2" charset="2"/>
              <a:buChar char="ü"/>
            </a:pPr>
            <a:r>
              <a:rPr lang="en-US" sz="2000" dirty="0">
                <a:solidFill>
                  <a:srgbClr val="003767"/>
                </a:solidFill>
                <a:latin typeface="Calibri Light" panose="020F0302020204030204" pitchFamily="34" charset="0"/>
                <a:cs typeface="Calibri Light" panose="020F0302020204030204" pitchFamily="34" charset="0"/>
              </a:rPr>
              <a:t>Recommend antifungal prophylaxis with </a:t>
            </a:r>
            <a:r>
              <a:rPr lang="en-US" sz="2000" dirty="0" err="1">
                <a:solidFill>
                  <a:srgbClr val="003767"/>
                </a:solidFill>
                <a:latin typeface="Calibri Light" panose="020F0302020204030204" pitchFamily="34" charset="0"/>
                <a:cs typeface="Calibri Light" panose="020F0302020204030204" pitchFamily="34" charset="0"/>
              </a:rPr>
              <a:t>posaconazole</a:t>
            </a:r>
            <a:r>
              <a:rPr lang="en-US" sz="2000" dirty="0">
                <a:solidFill>
                  <a:srgbClr val="003767"/>
                </a:solidFill>
                <a:latin typeface="Calibri Light" panose="020F0302020204030204" pitchFamily="34" charset="0"/>
                <a:cs typeface="Calibri Light" panose="020F0302020204030204" pitchFamily="34" charset="0"/>
              </a:rPr>
              <a:t> and dose reduction to </a:t>
            </a:r>
            <a:r>
              <a:rPr lang="en-US" sz="2000" dirty="0" err="1">
                <a:solidFill>
                  <a:srgbClr val="003767"/>
                </a:solidFill>
                <a:latin typeface="Calibri Light" panose="020F0302020204030204" pitchFamily="34" charset="0"/>
                <a:cs typeface="Calibri Light" panose="020F0302020204030204" pitchFamily="34" charset="0"/>
              </a:rPr>
              <a:t>venetoclax</a:t>
            </a:r>
            <a:r>
              <a:rPr lang="en-US" sz="2000" dirty="0">
                <a:solidFill>
                  <a:srgbClr val="003767"/>
                </a:solidFill>
                <a:latin typeface="Calibri Light" panose="020F0302020204030204" pitchFamily="34" charset="0"/>
                <a:cs typeface="Calibri Light" panose="020F0302020204030204" pitchFamily="34" charset="0"/>
              </a:rPr>
              <a:t> 100mg daily</a:t>
            </a:r>
          </a:p>
          <a:p>
            <a:pPr>
              <a:buFont typeface="Wingdings" panose="05000000000000000000" pitchFamily="2" charset="2"/>
              <a:buChar char="ü"/>
            </a:pPr>
            <a:endParaRPr lang="en-US" sz="2000" dirty="0">
              <a:solidFill>
                <a:srgbClr val="003767"/>
              </a:solidFill>
              <a:latin typeface="Calibri Light" panose="020F0302020204030204" pitchFamily="34" charset="0"/>
              <a:cs typeface="Calibri Light" panose="020F0302020204030204" pitchFamily="34" charset="0"/>
            </a:endParaRPr>
          </a:p>
          <a:p>
            <a:pPr>
              <a:buFont typeface="Wingdings" panose="05000000000000000000" pitchFamily="2" charset="2"/>
              <a:buChar char="ü"/>
            </a:pPr>
            <a:r>
              <a:rPr lang="en-US" sz="2000" dirty="0">
                <a:solidFill>
                  <a:srgbClr val="003767"/>
                </a:solidFill>
                <a:latin typeface="Calibri Light" panose="020F0302020204030204" pitchFamily="34" charset="0"/>
                <a:cs typeface="Calibri Light" panose="020F0302020204030204" pitchFamily="34" charset="0"/>
              </a:rPr>
              <a:t>If fluconazole is used, dose reduction to </a:t>
            </a:r>
            <a:r>
              <a:rPr lang="en-US" sz="2000" dirty="0" err="1">
                <a:solidFill>
                  <a:srgbClr val="003767"/>
                </a:solidFill>
                <a:latin typeface="Calibri Light" panose="020F0302020204030204" pitchFamily="34" charset="0"/>
                <a:cs typeface="Calibri Light" panose="020F0302020204030204" pitchFamily="34" charset="0"/>
              </a:rPr>
              <a:t>venetoclax</a:t>
            </a:r>
            <a:r>
              <a:rPr lang="en-US" sz="2000" dirty="0">
                <a:solidFill>
                  <a:srgbClr val="003767"/>
                </a:solidFill>
                <a:latin typeface="Calibri Light" panose="020F0302020204030204" pitchFamily="34" charset="0"/>
                <a:cs typeface="Calibri Light" panose="020F0302020204030204" pitchFamily="34" charset="0"/>
              </a:rPr>
              <a:t> 200mg daily</a:t>
            </a:r>
          </a:p>
          <a:p>
            <a:pPr>
              <a:buFont typeface="Wingdings" panose="05000000000000000000" pitchFamily="2" charset="2"/>
              <a:buChar char="ü"/>
            </a:pPr>
            <a:endParaRPr lang="en-US" sz="2000" dirty="0">
              <a:solidFill>
                <a:srgbClr val="003767"/>
              </a:solidFill>
              <a:latin typeface="Calibri Light" panose="020F0302020204030204" pitchFamily="34" charset="0"/>
              <a:cs typeface="Calibri Light" panose="020F0302020204030204" pitchFamily="34" charset="0"/>
            </a:endParaRPr>
          </a:p>
          <a:p>
            <a:pPr>
              <a:buFont typeface="Wingdings" panose="05000000000000000000" pitchFamily="2" charset="2"/>
              <a:buChar char="ü"/>
            </a:pPr>
            <a:r>
              <a:rPr lang="en-US" sz="2000" dirty="0">
                <a:solidFill>
                  <a:srgbClr val="003767"/>
                </a:solidFill>
                <a:latin typeface="Calibri Light" panose="020F0302020204030204" pitchFamily="34" charset="0"/>
                <a:cs typeface="Calibri Light" panose="020F0302020204030204" pitchFamily="34" charset="0"/>
              </a:rPr>
              <a:t>Management of </a:t>
            </a:r>
            <a:r>
              <a:rPr lang="en-US" sz="2000" dirty="0" err="1">
                <a:solidFill>
                  <a:srgbClr val="003767"/>
                </a:solidFill>
                <a:latin typeface="Calibri Light" panose="020F0302020204030204" pitchFamily="34" charset="0"/>
                <a:cs typeface="Calibri Light" panose="020F0302020204030204" pitchFamily="34" charset="0"/>
              </a:rPr>
              <a:t>cytopenias</a:t>
            </a:r>
            <a:r>
              <a:rPr lang="en-US" sz="2000" dirty="0">
                <a:solidFill>
                  <a:srgbClr val="003767"/>
                </a:solidFill>
                <a:latin typeface="Calibri Light" panose="020F0302020204030204" pitchFamily="34" charset="0"/>
                <a:cs typeface="Calibri Light" panose="020F0302020204030204" pitchFamily="34" charset="0"/>
              </a:rPr>
              <a:t> based on response</a:t>
            </a:r>
          </a:p>
          <a:p>
            <a:endParaRPr lang="en-US" sz="2000" dirty="0">
              <a:solidFill>
                <a:srgbClr val="003767"/>
              </a:solidFill>
              <a:latin typeface="Calibri Light" panose="020F0302020204030204" pitchFamily="34" charset="0"/>
              <a:cs typeface="Calibri Light" panose="020F0302020204030204" pitchFamily="34" charset="0"/>
            </a:endParaRPr>
          </a:p>
          <a:p>
            <a:endParaRPr lang="en-US" sz="2000" dirty="0">
              <a:solidFill>
                <a:srgbClr val="003767"/>
              </a:solidFill>
              <a:latin typeface="Calibri Light" panose="020F0302020204030204" pitchFamily="34" charset="0"/>
              <a:cs typeface="Calibri Light" panose="020F0302020204030204" pitchFamily="34" charset="0"/>
            </a:endParaRPr>
          </a:p>
          <a:p>
            <a:endParaRPr lang="en-US" sz="2000" dirty="0">
              <a:solidFill>
                <a:srgbClr val="003767"/>
              </a:solidFill>
              <a:latin typeface="Calibri Light" panose="020F0302020204030204" pitchFamily="34" charset="0"/>
              <a:cs typeface="Calibri Light" panose="020F0302020204030204" pitchFamily="34" charset="0"/>
            </a:endParaRPr>
          </a:p>
          <a:p>
            <a:pPr marL="0" indent="0">
              <a:buNone/>
            </a:pPr>
            <a:endParaRPr lang="en-US" dirty="0">
              <a:solidFill>
                <a:srgbClr val="003767"/>
              </a:solidFill>
            </a:endParaRPr>
          </a:p>
        </p:txBody>
      </p:sp>
    </p:spTree>
    <p:extLst>
      <p:ext uri="{BB962C8B-B14F-4D97-AF65-F5344CB8AC3E}">
        <p14:creationId xmlns:p14="http://schemas.microsoft.com/office/powerpoint/2010/main" val="303044013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463B41-D1D2-42F7-98A7-301D56657803}"/>
              </a:ext>
            </a:extLst>
          </p:cNvPr>
          <p:cNvSpPr>
            <a:spLocks noGrp="1"/>
          </p:cNvSpPr>
          <p:nvPr>
            <p:ph type="title"/>
          </p:nvPr>
        </p:nvSpPr>
        <p:spPr>
          <a:xfrm>
            <a:off x="628650" y="115275"/>
            <a:ext cx="7886700" cy="994172"/>
          </a:xfrm>
        </p:spPr>
        <p:txBody>
          <a:bodyPr>
            <a:normAutofit/>
          </a:bodyPr>
          <a:lstStyle/>
          <a:p>
            <a:r>
              <a:rPr lang="en-US" sz="2400" dirty="0" err="1">
                <a:solidFill>
                  <a:srgbClr val="003767"/>
                </a:solidFill>
              </a:rPr>
              <a:t>Venetoclax</a:t>
            </a:r>
            <a:r>
              <a:rPr lang="en-US" sz="2400" dirty="0">
                <a:solidFill>
                  <a:srgbClr val="003767"/>
                </a:solidFill>
              </a:rPr>
              <a:t> dose adjustments for </a:t>
            </a:r>
            <a:r>
              <a:rPr lang="en-US" sz="2400" dirty="0" err="1">
                <a:solidFill>
                  <a:srgbClr val="003767"/>
                </a:solidFill>
              </a:rPr>
              <a:t>cytopenias</a:t>
            </a:r>
            <a:endParaRPr lang="en-US" sz="2400" dirty="0">
              <a:solidFill>
                <a:srgbClr val="003767"/>
              </a:solidFill>
            </a:endParaRPr>
          </a:p>
        </p:txBody>
      </p:sp>
      <p:sp>
        <p:nvSpPr>
          <p:cNvPr id="3" name="Content Placeholder 2">
            <a:extLst>
              <a:ext uri="{FF2B5EF4-FFF2-40B4-BE49-F238E27FC236}">
                <a16:creationId xmlns:a16="http://schemas.microsoft.com/office/drawing/2014/main" id="{A9574A90-DC8D-419C-85B9-817FDC8575E4}"/>
              </a:ext>
            </a:extLst>
          </p:cNvPr>
          <p:cNvSpPr>
            <a:spLocks noGrp="1"/>
          </p:cNvSpPr>
          <p:nvPr>
            <p:ph idx="1"/>
          </p:nvPr>
        </p:nvSpPr>
        <p:spPr>
          <a:xfrm>
            <a:off x="628650" y="749069"/>
            <a:ext cx="7886700" cy="3263504"/>
          </a:xfrm>
        </p:spPr>
        <p:txBody>
          <a:bodyPr/>
          <a:lstStyle/>
          <a:p>
            <a:pPr marL="0" indent="0" algn="ctr">
              <a:buNone/>
            </a:pPr>
            <a:r>
              <a:rPr lang="en-US" dirty="0">
                <a:solidFill>
                  <a:srgbClr val="003767"/>
                </a:solidFill>
                <a:latin typeface="Calibri Light" panose="020F0302020204030204" pitchFamily="34" charset="0"/>
                <a:cs typeface="Calibri Light" panose="020F0302020204030204" pitchFamily="34" charset="0"/>
              </a:rPr>
              <a:t>Bone marrow biopsy after </a:t>
            </a:r>
            <a:r>
              <a:rPr lang="en-US" u="sng" dirty="0">
                <a:solidFill>
                  <a:srgbClr val="003767"/>
                </a:solidFill>
                <a:latin typeface="Calibri Light" panose="020F0302020204030204" pitchFamily="34" charset="0"/>
                <a:cs typeface="Calibri Light" panose="020F0302020204030204" pitchFamily="34" charset="0"/>
              </a:rPr>
              <a:t>cycle 1</a:t>
            </a:r>
            <a:r>
              <a:rPr lang="en-US" dirty="0">
                <a:solidFill>
                  <a:srgbClr val="003767"/>
                </a:solidFill>
                <a:latin typeface="Calibri Light" panose="020F0302020204030204" pitchFamily="34" charset="0"/>
                <a:cs typeface="Calibri Light" panose="020F0302020204030204" pitchFamily="34" charset="0"/>
              </a:rPr>
              <a:t>:</a:t>
            </a:r>
          </a:p>
          <a:p>
            <a:pPr marL="0" indent="0" algn="ctr">
              <a:buNone/>
            </a:pPr>
            <a:r>
              <a:rPr lang="en-US" dirty="0">
                <a:solidFill>
                  <a:srgbClr val="003767"/>
                </a:solidFill>
                <a:latin typeface="Calibri Light" panose="020F0302020204030204" pitchFamily="34" charset="0"/>
                <a:cs typeface="Calibri Light" panose="020F0302020204030204" pitchFamily="34" charset="0"/>
              </a:rPr>
              <a:t>In CR?</a:t>
            </a:r>
          </a:p>
          <a:p>
            <a:pPr marL="0" indent="0" algn="ctr">
              <a:buNone/>
            </a:pPr>
            <a:endParaRPr lang="en-US" dirty="0">
              <a:solidFill>
                <a:srgbClr val="003767"/>
              </a:solidFill>
              <a:latin typeface="Calibri Light" panose="020F0302020204030204" pitchFamily="34" charset="0"/>
              <a:cs typeface="Calibri Light" panose="020F0302020204030204" pitchFamily="34" charset="0"/>
            </a:endParaRPr>
          </a:p>
          <a:p>
            <a:pPr marL="0" indent="0" algn="ctr">
              <a:buNone/>
            </a:pPr>
            <a:endParaRPr lang="en-US" dirty="0">
              <a:solidFill>
                <a:srgbClr val="003767"/>
              </a:solidFill>
            </a:endParaRPr>
          </a:p>
        </p:txBody>
      </p:sp>
      <p:cxnSp>
        <p:nvCxnSpPr>
          <p:cNvPr id="5" name="Straight Arrow Connector 4">
            <a:extLst>
              <a:ext uri="{FF2B5EF4-FFF2-40B4-BE49-F238E27FC236}">
                <a16:creationId xmlns:a16="http://schemas.microsoft.com/office/drawing/2014/main" id="{C25C9257-DF1A-4EB0-817C-48E8A2077914}"/>
              </a:ext>
            </a:extLst>
          </p:cNvPr>
          <p:cNvCxnSpPr/>
          <p:nvPr/>
        </p:nvCxnSpPr>
        <p:spPr>
          <a:xfrm flipH="1">
            <a:off x="3113253" y="1915244"/>
            <a:ext cx="1038137" cy="434131"/>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0AE5707D-4CA0-417F-8AD9-D317FBEEA9DA}"/>
              </a:ext>
            </a:extLst>
          </p:cNvPr>
          <p:cNvCxnSpPr>
            <a:cxnSpLocks/>
          </p:cNvCxnSpPr>
          <p:nvPr/>
        </p:nvCxnSpPr>
        <p:spPr>
          <a:xfrm>
            <a:off x="5064574" y="1907923"/>
            <a:ext cx="985705" cy="434131"/>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097C585-7D16-484B-964F-D2F34432E4B7}"/>
              </a:ext>
            </a:extLst>
          </p:cNvPr>
          <p:cNvSpPr txBox="1"/>
          <p:nvPr/>
        </p:nvSpPr>
        <p:spPr>
          <a:xfrm>
            <a:off x="5507472" y="1765203"/>
            <a:ext cx="666925" cy="300082"/>
          </a:xfrm>
          <a:prstGeom prst="rect">
            <a:avLst/>
          </a:prstGeom>
          <a:noFill/>
        </p:spPr>
        <p:txBody>
          <a:bodyPr wrap="square" rtlCol="0">
            <a:spAutoFit/>
          </a:bodyPr>
          <a:lstStyle/>
          <a:p>
            <a:r>
              <a:rPr lang="en-US" sz="1350" dirty="0">
                <a:solidFill>
                  <a:srgbClr val="003767"/>
                </a:solidFill>
              </a:rPr>
              <a:t>No</a:t>
            </a:r>
          </a:p>
        </p:txBody>
      </p:sp>
      <p:sp>
        <p:nvSpPr>
          <p:cNvPr id="13" name="TextBox 12">
            <a:extLst>
              <a:ext uri="{FF2B5EF4-FFF2-40B4-BE49-F238E27FC236}">
                <a16:creationId xmlns:a16="http://schemas.microsoft.com/office/drawing/2014/main" id="{D0238E65-554B-4984-949F-3F5020FAC613}"/>
              </a:ext>
            </a:extLst>
          </p:cNvPr>
          <p:cNvSpPr txBox="1"/>
          <p:nvPr/>
        </p:nvSpPr>
        <p:spPr>
          <a:xfrm>
            <a:off x="3166519" y="1757882"/>
            <a:ext cx="666925" cy="300082"/>
          </a:xfrm>
          <a:prstGeom prst="rect">
            <a:avLst/>
          </a:prstGeom>
          <a:noFill/>
        </p:spPr>
        <p:txBody>
          <a:bodyPr wrap="square" rtlCol="0">
            <a:spAutoFit/>
          </a:bodyPr>
          <a:lstStyle/>
          <a:p>
            <a:r>
              <a:rPr lang="en-US" sz="1350" dirty="0">
                <a:solidFill>
                  <a:srgbClr val="003767"/>
                </a:solidFill>
              </a:rPr>
              <a:t>Yes</a:t>
            </a:r>
          </a:p>
        </p:txBody>
      </p:sp>
      <p:sp>
        <p:nvSpPr>
          <p:cNvPr id="15" name="TextBox 14">
            <a:extLst>
              <a:ext uri="{FF2B5EF4-FFF2-40B4-BE49-F238E27FC236}">
                <a16:creationId xmlns:a16="http://schemas.microsoft.com/office/drawing/2014/main" id="{97099E33-D0EC-4148-BD13-A037EDDB42F0}"/>
              </a:ext>
            </a:extLst>
          </p:cNvPr>
          <p:cNvSpPr txBox="1"/>
          <p:nvPr/>
        </p:nvSpPr>
        <p:spPr>
          <a:xfrm>
            <a:off x="5557427" y="2505970"/>
            <a:ext cx="2154698" cy="715581"/>
          </a:xfrm>
          <a:prstGeom prst="rect">
            <a:avLst/>
          </a:prstGeom>
          <a:noFill/>
        </p:spPr>
        <p:txBody>
          <a:bodyPr wrap="square" rtlCol="0">
            <a:spAutoFit/>
          </a:bodyPr>
          <a:lstStyle/>
          <a:p>
            <a:r>
              <a:rPr lang="en-US" sz="1350" dirty="0">
                <a:solidFill>
                  <a:srgbClr val="003767"/>
                </a:solidFill>
              </a:rPr>
              <a:t>Continue HMA/</a:t>
            </a:r>
            <a:r>
              <a:rPr lang="en-US" sz="1350" dirty="0" err="1">
                <a:solidFill>
                  <a:srgbClr val="003767"/>
                </a:solidFill>
              </a:rPr>
              <a:t>venetoclax</a:t>
            </a:r>
            <a:r>
              <a:rPr lang="en-US" sz="1350" dirty="0">
                <a:solidFill>
                  <a:srgbClr val="003767"/>
                </a:solidFill>
              </a:rPr>
              <a:t> as scheduled</a:t>
            </a:r>
          </a:p>
        </p:txBody>
      </p:sp>
      <p:sp>
        <p:nvSpPr>
          <p:cNvPr id="16" name="TextBox 15">
            <a:extLst>
              <a:ext uri="{FF2B5EF4-FFF2-40B4-BE49-F238E27FC236}">
                <a16:creationId xmlns:a16="http://schemas.microsoft.com/office/drawing/2014/main" id="{5F16F8B2-C88E-43F9-9E3E-FF53F2D311F8}"/>
              </a:ext>
            </a:extLst>
          </p:cNvPr>
          <p:cNvSpPr txBox="1"/>
          <p:nvPr/>
        </p:nvSpPr>
        <p:spPr>
          <a:xfrm>
            <a:off x="1182330" y="2425279"/>
            <a:ext cx="3571872" cy="2246769"/>
          </a:xfrm>
          <a:prstGeom prst="rect">
            <a:avLst/>
          </a:prstGeom>
          <a:noFill/>
        </p:spPr>
        <p:txBody>
          <a:bodyPr wrap="square" rtlCol="0">
            <a:spAutoFit/>
          </a:bodyPr>
          <a:lstStyle/>
          <a:p>
            <a:r>
              <a:rPr lang="en-US" sz="1400" dirty="0">
                <a:solidFill>
                  <a:srgbClr val="003767"/>
                </a:solidFill>
              </a:rPr>
              <a:t>If ANC &lt;500 or platelets &lt;25:</a:t>
            </a:r>
          </a:p>
          <a:p>
            <a:pPr marL="214313" indent="-214313">
              <a:buFont typeface="Arial" panose="020B0604020202020204" pitchFamily="34" charset="0"/>
              <a:buChar char="•"/>
            </a:pPr>
            <a:r>
              <a:rPr lang="en-US" sz="1400" dirty="0">
                <a:solidFill>
                  <a:srgbClr val="003767"/>
                </a:solidFill>
              </a:rPr>
              <a:t>Hold </a:t>
            </a:r>
            <a:r>
              <a:rPr lang="en-US" sz="1400" dirty="0" err="1">
                <a:solidFill>
                  <a:srgbClr val="003767"/>
                </a:solidFill>
              </a:rPr>
              <a:t>venetoclax</a:t>
            </a:r>
            <a:r>
              <a:rPr lang="en-US" sz="1400" dirty="0">
                <a:solidFill>
                  <a:srgbClr val="003767"/>
                </a:solidFill>
              </a:rPr>
              <a:t> until improvement</a:t>
            </a:r>
          </a:p>
          <a:p>
            <a:pPr marL="214313" indent="-214313">
              <a:buFont typeface="Arial" panose="020B0604020202020204" pitchFamily="34" charset="0"/>
              <a:buChar char="•"/>
            </a:pPr>
            <a:r>
              <a:rPr lang="en-US" sz="1400" dirty="0">
                <a:solidFill>
                  <a:srgbClr val="003767"/>
                </a:solidFill>
              </a:rPr>
              <a:t>Resume daily dosing</a:t>
            </a:r>
          </a:p>
          <a:p>
            <a:pPr marL="214313" indent="-214313">
              <a:buFont typeface="Arial" panose="020B0604020202020204" pitchFamily="34" charset="0"/>
              <a:buChar char="•"/>
            </a:pPr>
            <a:endParaRPr lang="en-US" sz="1400" b="1" dirty="0">
              <a:solidFill>
                <a:srgbClr val="003767"/>
              </a:solidFill>
            </a:endParaRPr>
          </a:p>
          <a:p>
            <a:r>
              <a:rPr lang="en-US" sz="1400" b="1" dirty="0">
                <a:solidFill>
                  <a:srgbClr val="003767"/>
                </a:solidFill>
              </a:rPr>
              <a:t>If recurs:</a:t>
            </a:r>
          </a:p>
          <a:p>
            <a:pPr marL="214313" indent="-214313">
              <a:buFont typeface="Arial" panose="020B0604020202020204" pitchFamily="34" charset="0"/>
              <a:buChar char="•"/>
            </a:pPr>
            <a:r>
              <a:rPr lang="en-US" sz="1400" b="1" dirty="0">
                <a:solidFill>
                  <a:srgbClr val="003767"/>
                </a:solidFill>
              </a:rPr>
              <a:t>Hold </a:t>
            </a:r>
            <a:r>
              <a:rPr lang="en-US" sz="1400" b="1" dirty="0" err="1">
                <a:solidFill>
                  <a:srgbClr val="003767"/>
                </a:solidFill>
              </a:rPr>
              <a:t>venetoclax</a:t>
            </a:r>
            <a:r>
              <a:rPr lang="en-US" sz="1400" b="1" dirty="0">
                <a:solidFill>
                  <a:srgbClr val="003767"/>
                </a:solidFill>
              </a:rPr>
              <a:t> until improvement</a:t>
            </a:r>
          </a:p>
          <a:p>
            <a:pPr marL="214313" indent="-214313">
              <a:buFont typeface="Arial" panose="020B0604020202020204" pitchFamily="34" charset="0"/>
              <a:buChar char="•"/>
            </a:pPr>
            <a:r>
              <a:rPr lang="en-US" sz="1400" b="1" dirty="0">
                <a:solidFill>
                  <a:srgbClr val="003767"/>
                </a:solidFill>
              </a:rPr>
              <a:t>Resume and reduce </a:t>
            </a:r>
            <a:r>
              <a:rPr lang="en-US" sz="1400" b="1" dirty="0" err="1">
                <a:solidFill>
                  <a:srgbClr val="003767"/>
                </a:solidFill>
              </a:rPr>
              <a:t>venetoclax</a:t>
            </a:r>
            <a:r>
              <a:rPr lang="en-US" sz="1400" b="1" dirty="0">
                <a:solidFill>
                  <a:srgbClr val="003767"/>
                </a:solidFill>
              </a:rPr>
              <a:t> duration by 7 days</a:t>
            </a:r>
          </a:p>
          <a:p>
            <a:pPr marL="214313" indent="-214313">
              <a:buFont typeface="Arial" panose="020B0604020202020204" pitchFamily="34" charset="0"/>
              <a:buChar char="•"/>
            </a:pPr>
            <a:endParaRPr lang="en-US" sz="1400" b="1" dirty="0">
              <a:solidFill>
                <a:srgbClr val="003767"/>
              </a:solidFill>
            </a:endParaRPr>
          </a:p>
          <a:p>
            <a:endParaRPr lang="en-US" sz="1400" dirty="0">
              <a:solidFill>
                <a:srgbClr val="003767"/>
              </a:solidFill>
            </a:endParaRPr>
          </a:p>
        </p:txBody>
      </p:sp>
    </p:spTree>
    <p:extLst>
      <p:ext uri="{BB962C8B-B14F-4D97-AF65-F5344CB8AC3E}">
        <p14:creationId xmlns:p14="http://schemas.microsoft.com/office/powerpoint/2010/main" val="314215615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6C5862-B09B-4F41-A682-F9BD796DB1B0}"/>
              </a:ext>
            </a:extLst>
          </p:cNvPr>
          <p:cNvSpPr>
            <a:spLocks noGrp="1"/>
          </p:cNvSpPr>
          <p:nvPr>
            <p:ph type="title"/>
          </p:nvPr>
        </p:nvSpPr>
        <p:spPr/>
        <p:txBody>
          <a:bodyPr/>
          <a:lstStyle/>
          <a:p>
            <a:r>
              <a:rPr lang="en-US" sz="2400" dirty="0">
                <a:solidFill>
                  <a:srgbClr val="003767"/>
                </a:solidFill>
              </a:rPr>
              <a:t>Low-dose cytarabine (LDAC) and </a:t>
            </a:r>
            <a:r>
              <a:rPr lang="en-US" sz="2400" dirty="0" err="1">
                <a:solidFill>
                  <a:srgbClr val="003767"/>
                </a:solidFill>
              </a:rPr>
              <a:t>venetoclax</a:t>
            </a:r>
            <a:endParaRPr lang="en-US" sz="2400" dirty="0">
              <a:solidFill>
                <a:srgbClr val="003767"/>
              </a:solidFill>
            </a:endParaRPr>
          </a:p>
        </p:txBody>
      </p:sp>
      <p:pic>
        <p:nvPicPr>
          <p:cNvPr id="5" name="Content Placeholder 4">
            <a:extLst>
              <a:ext uri="{FF2B5EF4-FFF2-40B4-BE49-F238E27FC236}">
                <a16:creationId xmlns:a16="http://schemas.microsoft.com/office/drawing/2014/main" id="{D4B637D3-0074-4DBB-9D0D-36D3B2D1824E}"/>
              </a:ext>
            </a:extLst>
          </p:cNvPr>
          <p:cNvPicPr>
            <a:picLocks noGrp="1" noChangeAspect="1"/>
          </p:cNvPicPr>
          <p:nvPr>
            <p:ph idx="1"/>
          </p:nvPr>
        </p:nvPicPr>
        <p:blipFill>
          <a:blip r:embed="rId3"/>
          <a:stretch>
            <a:fillRect/>
          </a:stretch>
        </p:blipFill>
        <p:spPr>
          <a:xfrm>
            <a:off x="3308940" y="1205338"/>
            <a:ext cx="5501907" cy="2740373"/>
          </a:xfrm>
          <a:prstGeom prst="rect">
            <a:avLst/>
          </a:prstGeom>
        </p:spPr>
      </p:pic>
      <p:sp>
        <p:nvSpPr>
          <p:cNvPr id="7" name="TextBox 6">
            <a:extLst>
              <a:ext uri="{FF2B5EF4-FFF2-40B4-BE49-F238E27FC236}">
                <a16:creationId xmlns:a16="http://schemas.microsoft.com/office/drawing/2014/main" id="{68479137-280B-4788-92C5-3DAB0CBD6466}"/>
              </a:ext>
            </a:extLst>
          </p:cNvPr>
          <p:cNvSpPr txBox="1"/>
          <p:nvPr/>
        </p:nvSpPr>
        <p:spPr>
          <a:xfrm>
            <a:off x="177696" y="1296859"/>
            <a:ext cx="2870304" cy="2554545"/>
          </a:xfrm>
          <a:prstGeom prst="rect">
            <a:avLst/>
          </a:prstGeom>
        </p:spPr>
        <p:txBody>
          <a:bodyPr vert="horz" wrap="square" rtlCol="0">
            <a:spAutoFit/>
          </a:bodyPr>
          <a:lstStyle/>
          <a:p>
            <a:pPr marL="342900" indent="-342900">
              <a:buFont typeface="Arial" panose="020B0604020202020204" pitchFamily="34" charset="0"/>
              <a:buChar char="•"/>
            </a:pPr>
            <a:r>
              <a:rPr lang="en-US" sz="1600" dirty="0">
                <a:solidFill>
                  <a:srgbClr val="003767"/>
                </a:solidFill>
                <a:latin typeface="Calibri Light" panose="020F0302020204030204" pitchFamily="34" charset="0"/>
                <a:cs typeface="Calibri Light" panose="020F0302020204030204" pitchFamily="34" charset="0"/>
              </a:rPr>
              <a:t>Survival benefit on post-hoc analysis</a:t>
            </a:r>
          </a:p>
          <a:p>
            <a:pPr marL="342900" indent="-342900">
              <a:buFont typeface="Arial" panose="020B0604020202020204" pitchFamily="34" charset="0"/>
              <a:buChar char="•"/>
            </a:pPr>
            <a:endParaRPr lang="en-US" sz="1600" dirty="0">
              <a:solidFill>
                <a:srgbClr val="003767"/>
              </a:solidFill>
              <a:latin typeface="Calibri Light" panose="020F0302020204030204" pitchFamily="34" charset="0"/>
              <a:cs typeface="Calibri Light" panose="020F0302020204030204" pitchFamily="34" charset="0"/>
            </a:endParaRPr>
          </a:p>
          <a:p>
            <a:pPr marL="342900" indent="-342900">
              <a:buFont typeface="Arial" panose="020B0604020202020204" pitchFamily="34" charset="0"/>
              <a:buChar char="•"/>
            </a:pPr>
            <a:r>
              <a:rPr lang="en-US" sz="1600" dirty="0">
                <a:solidFill>
                  <a:srgbClr val="003767"/>
                </a:solidFill>
                <a:latin typeface="Calibri Light" panose="020F0302020204030204" pitchFamily="34" charset="0"/>
                <a:cs typeface="Calibri Light" panose="020F0302020204030204" pitchFamily="34" charset="0"/>
              </a:rPr>
              <a:t>CR/</a:t>
            </a:r>
            <a:r>
              <a:rPr lang="en-US" sz="1600" dirty="0" err="1">
                <a:solidFill>
                  <a:srgbClr val="003767"/>
                </a:solidFill>
                <a:latin typeface="Calibri Light" panose="020F0302020204030204" pitchFamily="34" charset="0"/>
                <a:cs typeface="Calibri Light" panose="020F0302020204030204" pitchFamily="34" charset="0"/>
              </a:rPr>
              <a:t>CRi</a:t>
            </a:r>
            <a:r>
              <a:rPr lang="en-US" sz="1600" dirty="0">
                <a:solidFill>
                  <a:srgbClr val="003767"/>
                </a:solidFill>
                <a:latin typeface="Calibri Light" panose="020F0302020204030204" pitchFamily="34" charset="0"/>
                <a:cs typeface="Calibri Light" panose="020F0302020204030204" pitchFamily="34" charset="0"/>
              </a:rPr>
              <a:t> 48%</a:t>
            </a:r>
          </a:p>
          <a:p>
            <a:pPr marL="342900" indent="-342900">
              <a:buFont typeface="Arial" panose="020B0604020202020204" pitchFamily="34" charset="0"/>
              <a:buChar char="•"/>
            </a:pPr>
            <a:endParaRPr lang="en-US" sz="1600" dirty="0">
              <a:solidFill>
                <a:srgbClr val="003767"/>
              </a:solidFill>
              <a:latin typeface="Calibri Light" panose="020F0302020204030204" pitchFamily="34" charset="0"/>
              <a:cs typeface="Calibri Light" panose="020F0302020204030204" pitchFamily="34" charset="0"/>
            </a:endParaRPr>
          </a:p>
          <a:p>
            <a:pPr marL="342900" indent="-342900">
              <a:buFont typeface="Arial" panose="020B0604020202020204" pitchFamily="34" charset="0"/>
              <a:buChar char="•"/>
            </a:pPr>
            <a:r>
              <a:rPr lang="en-US" sz="1600" dirty="0">
                <a:solidFill>
                  <a:srgbClr val="003767"/>
                </a:solidFill>
                <a:latin typeface="Calibri Light" panose="020F0302020204030204" pitchFamily="34" charset="0"/>
                <a:cs typeface="Calibri Light" panose="020F0302020204030204" pitchFamily="34" charset="0"/>
              </a:rPr>
              <a:t>Overall survival 8.4 months</a:t>
            </a:r>
          </a:p>
          <a:p>
            <a:pPr marL="342900" indent="-342900">
              <a:buFont typeface="Arial" panose="020B0604020202020204" pitchFamily="34" charset="0"/>
              <a:buChar char="•"/>
            </a:pPr>
            <a:endParaRPr lang="en-US" sz="1600" dirty="0">
              <a:solidFill>
                <a:srgbClr val="003767"/>
              </a:solidFill>
              <a:latin typeface="Calibri Light" panose="020F0302020204030204" pitchFamily="34" charset="0"/>
              <a:cs typeface="Calibri Light" panose="020F0302020204030204" pitchFamily="34" charset="0"/>
            </a:endParaRPr>
          </a:p>
          <a:p>
            <a:pPr marL="342900" indent="-342900">
              <a:buFont typeface="Arial" panose="020B0604020202020204" pitchFamily="34" charset="0"/>
              <a:buChar char="•"/>
            </a:pPr>
            <a:r>
              <a:rPr lang="en-US" sz="1600" dirty="0">
                <a:solidFill>
                  <a:srgbClr val="003767"/>
                </a:solidFill>
                <a:latin typeface="Calibri Light" panose="020F0302020204030204" pitchFamily="34" charset="0"/>
                <a:cs typeface="Calibri Light" panose="020F0302020204030204" pitchFamily="34" charset="0"/>
              </a:rPr>
              <a:t>Consider in patients who previously received HMA</a:t>
            </a:r>
          </a:p>
          <a:p>
            <a:pPr marL="342900" indent="-342900">
              <a:buFont typeface="Arial" panose="020B0604020202020204" pitchFamily="34" charset="0"/>
              <a:buChar char="•"/>
            </a:pPr>
            <a:endParaRPr lang="en-US" sz="1600" dirty="0">
              <a:solidFill>
                <a:srgbClr val="003767"/>
              </a:solidFill>
              <a:latin typeface="Calibri Light" panose="020F0302020204030204" pitchFamily="34" charset="0"/>
              <a:cs typeface="Calibri Light" panose="020F0302020204030204" pitchFamily="34" charset="0"/>
            </a:endParaRPr>
          </a:p>
        </p:txBody>
      </p:sp>
      <p:sp>
        <p:nvSpPr>
          <p:cNvPr id="8" name="TextBox 7">
            <a:extLst>
              <a:ext uri="{FF2B5EF4-FFF2-40B4-BE49-F238E27FC236}">
                <a16:creationId xmlns:a16="http://schemas.microsoft.com/office/drawing/2014/main" id="{C9149947-A459-48DE-9EDA-F1A1BAB70F97}"/>
              </a:ext>
            </a:extLst>
          </p:cNvPr>
          <p:cNvSpPr txBox="1"/>
          <p:nvPr/>
        </p:nvSpPr>
        <p:spPr>
          <a:xfrm>
            <a:off x="7338725" y="4086835"/>
            <a:ext cx="1576675" cy="246221"/>
          </a:xfrm>
          <a:prstGeom prst="rect">
            <a:avLst/>
          </a:prstGeom>
          <a:noFill/>
        </p:spPr>
        <p:txBody>
          <a:bodyPr wrap="square" rtlCol="0">
            <a:spAutoFit/>
          </a:bodyPr>
          <a:lstStyle/>
          <a:p>
            <a:r>
              <a:rPr lang="en-US" sz="1000" dirty="0">
                <a:solidFill>
                  <a:srgbClr val="003767"/>
                </a:solidFill>
              </a:rPr>
              <a:t>Wei A, et al</a:t>
            </a:r>
            <a:r>
              <a:rPr lang="en-US" sz="1000" i="1" dirty="0">
                <a:solidFill>
                  <a:srgbClr val="003767"/>
                </a:solidFill>
              </a:rPr>
              <a:t>. </a:t>
            </a:r>
            <a:r>
              <a:rPr lang="en-US" sz="1000" dirty="0">
                <a:solidFill>
                  <a:srgbClr val="003767"/>
                </a:solidFill>
              </a:rPr>
              <a:t>Blood 2020</a:t>
            </a:r>
          </a:p>
        </p:txBody>
      </p:sp>
    </p:spTree>
    <p:extLst>
      <p:ext uri="{BB962C8B-B14F-4D97-AF65-F5344CB8AC3E}">
        <p14:creationId xmlns:p14="http://schemas.microsoft.com/office/powerpoint/2010/main" val="253852841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BA90B9-C973-70DE-0DFB-C4FF6760BF3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E2CF7A5-7C6C-6891-E3F7-D7BA9734E266}"/>
              </a:ext>
            </a:extLst>
          </p:cNvPr>
          <p:cNvSpPr>
            <a:spLocks noGrp="1"/>
          </p:cNvSpPr>
          <p:nvPr>
            <p:ph type="title"/>
          </p:nvPr>
        </p:nvSpPr>
        <p:spPr/>
        <p:txBody>
          <a:bodyPr/>
          <a:lstStyle/>
          <a:p>
            <a:r>
              <a:rPr lang="en-US" sz="3200" dirty="0">
                <a:solidFill>
                  <a:srgbClr val="003767"/>
                </a:solidFill>
              </a:rPr>
              <a:t>Treatment algorithm</a:t>
            </a:r>
          </a:p>
        </p:txBody>
      </p:sp>
      <p:sp>
        <p:nvSpPr>
          <p:cNvPr id="2" name="TextBox 1">
            <a:extLst>
              <a:ext uri="{FF2B5EF4-FFF2-40B4-BE49-F238E27FC236}">
                <a16:creationId xmlns:a16="http://schemas.microsoft.com/office/drawing/2014/main" id="{B2CE1BD8-9ABB-83BF-7BDF-0FC550E29BCA}"/>
              </a:ext>
            </a:extLst>
          </p:cNvPr>
          <p:cNvSpPr txBox="1"/>
          <p:nvPr/>
        </p:nvSpPr>
        <p:spPr>
          <a:xfrm>
            <a:off x="3034146" y="875335"/>
            <a:ext cx="2909454" cy="369332"/>
          </a:xfrm>
          <a:prstGeom prst="rect">
            <a:avLst/>
          </a:prstGeom>
        </p:spPr>
        <p:txBody>
          <a:bodyPr vert="horz"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771B61"/>
                </a:solidFill>
                <a:effectLst/>
                <a:uLnTx/>
                <a:uFillTx/>
                <a:latin typeface="Calibri Light" panose="020F0302020204030204" pitchFamily="34" charset="0"/>
                <a:ea typeface="ＭＳ Ｐゴシック" charset="0"/>
                <a:cs typeface="Calibri Light" panose="020F0302020204030204" pitchFamily="34" charset="0"/>
              </a:rPr>
              <a:t>Newly diagnosed older AML</a:t>
            </a:r>
          </a:p>
        </p:txBody>
      </p:sp>
      <p:cxnSp>
        <p:nvCxnSpPr>
          <p:cNvPr id="4" name="Straight Arrow Connector 3">
            <a:extLst>
              <a:ext uri="{FF2B5EF4-FFF2-40B4-BE49-F238E27FC236}">
                <a16:creationId xmlns:a16="http://schemas.microsoft.com/office/drawing/2014/main" id="{18C88552-9535-959A-5395-7E87468BB117}"/>
              </a:ext>
            </a:extLst>
          </p:cNvPr>
          <p:cNvCxnSpPr>
            <a:cxnSpLocks/>
          </p:cNvCxnSpPr>
          <p:nvPr/>
        </p:nvCxnSpPr>
        <p:spPr>
          <a:xfrm>
            <a:off x="4398188" y="1309747"/>
            <a:ext cx="0" cy="5966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EEB50309-67F8-5EFF-9DDE-B1661959C078}"/>
              </a:ext>
            </a:extLst>
          </p:cNvPr>
          <p:cNvSpPr txBox="1"/>
          <p:nvPr/>
        </p:nvSpPr>
        <p:spPr>
          <a:xfrm>
            <a:off x="3472456" y="1996813"/>
            <a:ext cx="2032834" cy="400110"/>
          </a:xfrm>
          <a:prstGeom prst="rect">
            <a:avLst/>
          </a:prstGeom>
          <a:ln>
            <a:solidFill>
              <a:schemeClr val="tx1"/>
            </a:solidFill>
          </a:ln>
        </p:spPr>
        <p:txBody>
          <a:bodyPr vert="horz"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771B61"/>
                </a:solidFill>
                <a:effectLst/>
                <a:uLnTx/>
                <a:uFillTx/>
                <a:latin typeface="Calibri"/>
                <a:ea typeface="ＭＳ Ｐゴシック" charset="0"/>
                <a:cs typeface="+mn-cs"/>
              </a:rPr>
              <a:t>HMA/</a:t>
            </a:r>
            <a:r>
              <a:rPr kumimoji="0" lang="en-US" sz="2000" b="0" i="0" u="none" strike="noStrike" kern="1200" cap="none" spc="0" normalizeH="0" baseline="0" noProof="0" dirty="0" err="1">
                <a:ln>
                  <a:noFill/>
                </a:ln>
                <a:solidFill>
                  <a:srgbClr val="771B61"/>
                </a:solidFill>
                <a:effectLst/>
                <a:uLnTx/>
                <a:uFillTx/>
                <a:latin typeface="Calibri"/>
                <a:ea typeface="ＭＳ Ｐゴシック" charset="0"/>
                <a:cs typeface="+mn-cs"/>
              </a:rPr>
              <a:t>venetoclax</a:t>
            </a:r>
            <a:endParaRPr kumimoji="0" lang="en-US" sz="2000" b="0" i="0" u="none" strike="noStrike" kern="1200" cap="none" spc="0" normalizeH="0" baseline="0" noProof="0" dirty="0">
              <a:ln>
                <a:noFill/>
              </a:ln>
              <a:solidFill>
                <a:srgbClr val="771B61"/>
              </a:solidFill>
              <a:effectLst/>
              <a:uLnTx/>
              <a:uFillTx/>
              <a:latin typeface="Calibri"/>
              <a:ea typeface="ＭＳ Ｐゴシック" charset="0"/>
              <a:cs typeface="+mn-cs"/>
            </a:endParaRPr>
          </a:p>
        </p:txBody>
      </p:sp>
      <p:cxnSp>
        <p:nvCxnSpPr>
          <p:cNvPr id="9" name="Straight Arrow Connector 8">
            <a:extLst>
              <a:ext uri="{FF2B5EF4-FFF2-40B4-BE49-F238E27FC236}">
                <a16:creationId xmlns:a16="http://schemas.microsoft.com/office/drawing/2014/main" id="{56318ED3-4BA9-C326-E8E0-CE4E56DCF436}"/>
              </a:ext>
            </a:extLst>
          </p:cNvPr>
          <p:cNvCxnSpPr/>
          <p:nvPr/>
        </p:nvCxnSpPr>
        <p:spPr>
          <a:xfrm>
            <a:off x="4398188" y="1309747"/>
            <a:ext cx="1723002" cy="422839"/>
          </a:xfrm>
          <a:prstGeom prst="straightConnector1">
            <a:avLst/>
          </a:prstGeom>
          <a:ln>
            <a:solidFill>
              <a:schemeClr val="bg2"/>
            </a:solidFill>
            <a:tailEnd type="triangle"/>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A1644607-5BAE-193C-FE1D-F600231C62FF}"/>
              </a:ext>
            </a:extLst>
          </p:cNvPr>
          <p:cNvSpPr txBox="1"/>
          <p:nvPr/>
        </p:nvSpPr>
        <p:spPr>
          <a:xfrm>
            <a:off x="6226989" y="1721739"/>
            <a:ext cx="921951" cy="369332"/>
          </a:xfrm>
          <a:prstGeom prst="rect">
            <a:avLst/>
          </a:prstGeom>
          <a:ln>
            <a:solidFill>
              <a:schemeClr val="tx2"/>
            </a:solidFill>
          </a:ln>
        </p:spPr>
        <p:txBody>
          <a:bodyPr vert="horz"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666D70"/>
                </a:solidFill>
                <a:effectLst/>
                <a:uLnTx/>
                <a:uFillTx/>
                <a:latin typeface="Calibri"/>
                <a:ea typeface="ＭＳ Ｐゴシック" charset="0"/>
                <a:cs typeface="+mn-cs"/>
              </a:rPr>
              <a:t>Vyxeos</a:t>
            </a:r>
            <a:endParaRPr kumimoji="0" lang="en-US" sz="1800" b="0" i="0" u="none" strike="noStrike" kern="1200" cap="none" spc="0" normalizeH="0" baseline="0" noProof="0" dirty="0">
              <a:ln>
                <a:noFill/>
              </a:ln>
              <a:solidFill>
                <a:srgbClr val="666D70"/>
              </a:solidFill>
              <a:effectLst/>
              <a:uLnTx/>
              <a:uFillTx/>
              <a:latin typeface="Calibri"/>
              <a:ea typeface="ＭＳ Ｐゴシック" charset="0"/>
              <a:cs typeface="+mn-cs"/>
            </a:endParaRPr>
          </a:p>
        </p:txBody>
      </p:sp>
      <p:sp>
        <p:nvSpPr>
          <p:cNvPr id="11" name="TextBox 10">
            <a:extLst>
              <a:ext uri="{FF2B5EF4-FFF2-40B4-BE49-F238E27FC236}">
                <a16:creationId xmlns:a16="http://schemas.microsoft.com/office/drawing/2014/main" id="{9CF80DDA-41DF-F7E0-2ADB-5717C2EB7D3B}"/>
              </a:ext>
            </a:extLst>
          </p:cNvPr>
          <p:cNvSpPr txBox="1"/>
          <p:nvPr/>
        </p:nvSpPr>
        <p:spPr>
          <a:xfrm>
            <a:off x="6053178" y="1143577"/>
            <a:ext cx="2191535" cy="523220"/>
          </a:xfrm>
          <a:prstGeom prst="rect">
            <a:avLst/>
          </a:prstGeom>
        </p:spPr>
        <p:txBody>
          <a:bodyPr vert="horz"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D70"/>
                </a:solidFill>
                <a:effectLst/>
                <a:uLnTx/>
                <a:uFillTx/>
                <a:latin typeface="Calibri Light" panose="020F0302020204030204" pitchFamily="34" charset="0"/>
                <a:ea typeface="ＭＳ Ｐゴシック" charset="0"/>
                <a:cs typeface="Calibri Light" panose="020F0302020204030204" pitchFamily="34" charset="0"/>
              </a:rPr>
              <a:t>Induction candidat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D70"/>
                </a:solidFill>
                <a:effectLst/>
                <a:uLnTx/>
                <a:uFillTx/>
                <a:latin typeface="Calibri Light" panose="020F0302020204030204" pitchFamily="34" charset="0"/>
                <a:ea typeface="ＭＳ Ｐゴシック" charset="0"/>
                <a:cs typeface="Calibri Light" panose="020F0302020204030204" pitchFamily="34" charset="0"/>
              </a:rPr>
              <a:t>age &gt;55, secondary AML</a:t>
            </a:r>
          </a:p>
        </p:txBody>
      </p:sp>
      <p:sp>
        <p:nvSpPr>
          <p:cNvPr id="13" name="TextBox 12">
            <a:extLst>
              <a:ext uri="{FF2B5EF4-FFF2-40B4-BE49-F238E27FC236}">
                <a16:creationId xmlns:a16="http://schemas.microsoft.com/office/drawing/2014/main" id="{1EA33BA3-1F77-3946-0EBC-DDF89CD01F44}"/>
              </a:ext>
            </a:extLst>
          </p:cNvPr>
          <p:cNvSpPr txBox="1"/>
          <p:nvPr/>
        </p:nvSpPr>
        <p:spPr>
          <a:xfrm>
            <a:off x="3322540" y="1306172"/>
            <a:ext cx="1177002" cy="738664"/>
          </a:xfrm>
          <a:prstGeom prst="rect">
            <a:avLst/>
          </a:prstGeom>
        </p:spPr>
        <p:txBody>
          <a:bodyPr vert="horz"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71B61"/>
                </a:solidFill>
                <a:effectLst/>
                <a:uLnTx/>
                <a:uFillTx/>
                <a:latin typeface="Calibri Light" panose="020F0302020204030204" pitchFamily="34" charset="0"/>
                <a:ea typeface="ＭＳ Ｐゴシック" charset="0"/>
                <a:cs typeface="Calibri Light" panose="020F0302020204030204" pitchFamily="34" charset="0"/>
              </a:rPr>
              <a:t>Age≥75 or not induction candidate</a:t>
            </a:r>
          </a:p>
        </p:txBody>
      </p:sp>
      <p:cxnSp>
        <p:nvCxnSpPr>
          <p:cNvPr id="14" name="Straight Arrow Connector 13">
            <a:extLst>
              <a:ext uri="{FF2B5EF4-FFF2-40B4-BE49-F238E27FC236}">
                <a16:creationId xmlns:a16="http://schemas.microsoft.com/office/drawing/2014/main" id="{A6413D87-513F-9E82-A36F-912B22CB70A3}"/>
              </a:ext>
            </a:extLst>
          </p:cNvPr>
          <p:cNvCxnSpPr>
            <a:cxnSpLocks/>
          </p:cNvCxnSpPr>
          <p:nvPr/>
        </p:nvCxnSpPr>
        <p:spPr>
          <a:xfrm>
            <a:off x="4398188" y="2511617"/>
            <a:ext cx="0" cy="5966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668743D8-0474-F5A7-822E-22302469DB53}"/>
              </a:ext>
            </a:extLst>
          </p:cNvPr>
          <p:cNvSpPr txBox="1"/>
          <p:nvPr/>
        </p:nvSpPr>
        <p:spPr>
          <a:xfrm>
            <a:off x="3372330" y="3108275"/>
            <a:ext cx="2399341" cy="369332"/>
          </a:xfrm>
          <a:prstGeom prst="rect">
            <a:avLst/>
          </a:prstGeom>
        </p:spPr>
        <p:txBody>
          <a:bodyPr vert="horz"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771B61"/>
                </a:solidFill>
                <a:effectLst/>
                <a:uLnTx/>
                <a:uFillTx/>
                <a:latin typeface="Calibri Light" panose="020F0302020204030204" pitchFamily="34" charset="0"/>
                <a:ea typeface="ＭＳ Ｐゴシック" charset="0"/>
                <a:cs typeface="Calibri Light" panose="020F0302020204030204" pitchFamily="34" charset="0"/>
              </a:rPr>
              <a:t>Relapsed/refractory</a:t>
            </a:r>
          </a:p>
        </p:txBody>
      </p:sp>
      <p:cxnSp>
        <p:nvCxnSpPr>
          <p:cNvPr id="17" name="Straight Arrow Connector 16">
            <a:extLst>
              <a:ext uri="{FF2B5EF4-FFF2-40B4-BE49-F238E27FC236}">
                <a16:creationId xmlns:a16="http://schemas.microsoft.com/office/drawing/2014/main" id="{F5FB8DF0-B79F-35E0-CF22-AB1B0D5F23F3}"/>
              </a:ext>
            </a:extLst>
          </p:cNvPr>
          <p:cNvCxnSpPr/>
          <p:nvPr/>
        </p:nvCxnSpPr>
        <p:spPr>
          <a:xfrm flipH="1">
            <a:off x="2697859" y="3477608"/>
            <a:ext cx="672575" cy="33250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38597553-F55A-AF54-27CA-A2D8BCFFBBE8}"/>
              </a:ext>
            </a:extLst>
          </p:cNvPr>
          <p:cNvCxnSpPr>
            <a:cxnSpLocks/>
          </p:cNvCxnSpPr>
          <p:nvPr/>
        </p:nvCxnSpPr>
        <p:spPr>
          <a:xfrm flipH="1">
            <a:off x="4398189" y="3443601"/>
            <a:ext cx="1" cy="46097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163A37C9-C6B5-C9F4-EC5C-8A14D092ED74}"/>
              </a:ext>
            </a:extLst>
          </p:cNvPr>
          <p:cNvCxnSpPr>
            <a:cxnSpLocks/>
          </p:cNvCxnSpPr>
          <p:nvPr/>
        </p:nvCxnSpPr>
        <p:spPr>
          <a:xfrm>
            <a:off x="5480104" y="3415678"/>
            <a:ext cx="641086" cy="39443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extBox 22">
            <a:extLst>
              <a:ext uri="{FF2B5EF4-FFF2-40B4-BE49-F238E27FC236}">
                <a16:creationId xmlns:a16="http://schemas.microsoft.com/office/drawing/2014/main" id="{FE1D0158-678B-3028-D147-5413A367D8FE}"/>
              </a:ext>
            </a:extLst>
          </p:cNvPr>
          <p:cNvSpPr txBox="1"/>
          <p:nvPr/>
        </p:nvSpPr>
        <p:spPr>
          <a:xfrm>
            <a:off x="2274678" y="3335029"/>
            <a:ext cx="831269" cy="369332"/>
          </a:xfrm>
          <a:prstGeom prst="rect">
            <a:avLst/>
          </a:prstGeom>
        </p:spPr>
        <p:txBody>
          <a:bodyPr vert="horz"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771B61"/>
                </a:solidFill>
                <a:effectLst/>
                <a:uLnTx/>
                <a:uFillTx/>
                <a:latin typeface="Calibri Light" panose="020F0302020204030204" pitchFamily="34" charset="0"/>
                <a:ea typeface="ＭＳ Ｐゴシック" charset="0"/>
                <a:cs typeface="Calibri Light" panose="020F0302020204030204" pitchFamily="34" charset="0"/>
              </a:rPr>
              <a:t>FLT3+</a:t>
            </a:r>
          </a:p>
        </p:txBody>
      </p:sp>
      <p:sp>
        <p:nvSpPr>
          <p:cNvPr id="24" name="TextBox 23">
            <a:extLst>
              <a:ext uri="{FF2B5EF4-FFF2-40B4-BE49-F238E27FC236}">
                <a16:creationId xmlns:a16="http://schemas.microsoft.com/office/drawing/2014/main" id="{9DB4F858-192F-B8B2-A39D-73C6C77D07BE}"/>
              </a:ext>
            </a:extLst>
          </p:cNvPr>
          <p:cNvSpPr txBox="1"/>
          <p:nvPr/>
        </p:nvSpPr>
        <p:spPr>
          <a:xfrm>
            <a:off x="5943601" y="3297158"/>
            <a:ext cx="1028373" cy="369332"/>
          </a:xfrm>
          <a:prstGeom prst="rect">
            <a:avLst/>
          </a:prstGeom>
        </p:spPr>
        <p:txBody>
          <a:bodyPr vert="horz"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771B61"/>
                </a:solidFill>
                <a:effectLst/>
                <a:uLnTx/>
                <a:uFillTx/>
                <a:latin typeface="Calibri Light" panose="020F0302020204030204" pitchFamily="34" charset="0"/>
                <a:ea typeface="ＭＳ Ｐゴシック" charset="0"/>
                <a:cs typeface="Calibri Light" panose="020F0302020204030204" pitchFamily="34" charset="0"/>
              </a:rPr>
              <a:t>IDH1/2+</a:t>
            </a:r>
          </a:p>
        </p:txBody>
      </p:sp>
      <p:sp>
        <p:nvSpPr>
          <p:cNvPr id="25" name="TextBox 24">
            <a:extLst>
              <a:ext uri="{FF2B5EF4-FFF2-40B4-BE49-F238E27FC236}">
                <a16:creationId xmlns:a16="http://schemas.microsoft.com/office/drawing/2014/main" id="{B4D150D1-D98F-AF01-CEF0-1DD9334A1667}"/>
              </a:ext>
            </a:extLst>
          </p:cNvPr>
          <p:cNvSpPr txBox="1"/>
          <p:nvPr/>
        </p:nvSpPr>
        <p:spPr>
          <a:xfrm>
            <a:off x="1704102" y="3994782"/>
            <a:ext cx="1258253" cy="369332"/>
          </a:xfrm>
          <a:prstGeom prst="rect">
            <a:avLst/>
          </a:prstGeom>
          <a:ln>
            <a:solidFill>
              <a:srgbClr val="FF0000"/>
            </a:solidFill>
          </a:ln>
        </p:spPr>
        <p:txBody>
          <a:bodyPr vert="horz"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771B61"/>
                </a:solidFill>
                <a:effectLst/>
                <a:uLnTx/>
                <a:uFillTx/>
                <a:latin typeface="Calibri"/>
                <a:ea typeface="ＭＳ Ｐゴシック" charset="0"/>
                <a:cs typeface="+mn-cs"/>
              </a:rPr>
              <a:t>Gilteritinib</a:t>
            </a:r>
            <a:endParaRPr kumimoji="0" lang="en-US" sz="1800" b="0" i="0" u="none" strike="noStrike" kern="1200" cap="none" spc="0" normalizeH="0" baseline="0" noProof="0" dirty="0">
              <a:ln>
                <a:noFill/>
              </a:ln>
              <a:solidFill>
                <a:srgbClr val="771B61"/>
              </a:solidFill>
              <a:effectLst/>
              <a:uLnTx/>
              <a:uFillTx/>
              <a:latin typeface="Calibri"/>
              <a:ea typeface="ＭＳ Ｐゴシック" charset="0"/>
              <a:cs typeface="+mn-cs"/>
            </a:endParaRPr>
          </a:p>
        </p:txBody>
      </p:sp>
      <p:sp>
        <p:nvSpPr>
          <p:cNvPr id="26" name="TextBox 25">
            <a:extLst>
              <a:ext uri="{FF2B5EF4-FFF2-40B4-BE49-F238E27FC236}">
                <a16:creationId xmlns:a16="http://schemas.microsoft.com/office/drawing/2014/main" id="{306CFE8B-80CA-0C38-CAEB-0419F0AD55F0}"/>
              </a:ext>
            </a:extLst>
          </p:cNvPr>
          <p:cNvSpPr txBox="1"/>
          <p:nvPr/>
        </p:nvSpPr>
        <p:spPr>
          <a:xfrm>
            <a:off x="5791190" y="3893456"/>
            <a:ext cx="2361566" cy="646331"/>
          </a:xfrm>
          <a:prstGeom prst="rect">
            <a:avLst/>
          </a:prstGeom>
          <a:ln>
            <a:solidFill>
              <a:schemeClr val="tx1"/>
            </a:solidFill>
          </a:ln>
        </p:spPr>
        <p:txBody>
          <a:bodyPr vert="horz"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771B61"/>
                </a:solidFill>
                <a:effectLst/>
                <a:uLnTx/>
                <a:uFillTx/>
                <a:latin typeface="Calibri"/>
                <a:ea typeface="ＭＳ Ｐゴシック" charset="0"/>
                <a:cs typeface="+mn-cs"/>
              </a:rPr>
              <a:t>Ivosidenib</a:t>
            </a:r>
            <a:r>
              <a:rPr kumimoji="0" lang="en-US" sz="1800" b="0" i="0" u="none" strike="noStrike" kern="1200" cap="none" spc="0" normalizeH="0" baseline="0" noProof="0" dirty="0">
                <a:ln>
                  <a:noFill/>
                </a:ln>
                <a:solidFill>
                  <a:srgbClr val="771B61"/>
                </a:solidFill>
                <a:effectLst/>
                <a:uLnTx/>
                <a:uFillTx/>
                <a:latin typeface="Calibri"/>
                <a:ea typeface="ＭＳ Ｐゴシック" charset="0"/>
                <a:cs typeface="+mn-cs"/>
              </a:rPr>
              <a:t>, </a:t>
            </a:r>
            <a:r>
              <a:rPr kumimoji="0" lang="en-US" sz="1800" b="0" i="0" u="none" strike="noStrike" kern="1200" cap="none" spc="0" normalizeH="0" baseline="0" noProof="0" dirty="0" err="1">
                <a:ln>
                  <a:noFill/>
                </a:ln>
                <a:solidFill>
                  <a:srgbClr val="771B61"/>
                </a:solidFill>
                <a:effectLst/>
                <a:uLnTx/>
                <a:uFillTx/>
                <a:latin typeface="Calibri"/>
                <a:ea typeface="ＭＳ Ｐゴシック" charset="0"/>
                <a:cs typeface="+mn-cs"/>
              </a:rPr>
              <a:t>Enasidenib</a:t>
            </a:r>
            <a:r>
              <a:rPr kumimoji="0" lang="en-US" sz="1800" b="0" i="0" u="none" strike="noStrike" kern="1200" cap="none" spc="0" normalizeH="0" baseline="0" noProof="0" dirty="0">
                <a:ln>
                  <a:noFill/>
                </a:ln>
                <a:solidFill>
                  <a:srgbClr val="771B61"/>
                </a:solidFill>
                <a:effectLst/>
                <a:uLnTx/>
                <a:uFillTx/>
                <a:latin typeface="Calibri"/>
                <a:ea typeface="ＭＳ Ｐゴシック" charset="0"/>
                <a:cs typeface="+mn-cs"/>
              </a:rPr>
              <a:t>, </a:t>
            </a:r>
            <a:r>
              <a:rPr kumimoji="0" lang="en-US" sz="1800" b="0" i="0" u="none" strike="noStrike" kern="1200" cap="none" spc="0" normalizeH="0" baseline="0" noProof="0" dirty="0" err="1">
                <a:ln>
                  <a:noFill/>
                </a:ln>
                <a:solidFill>
                  <a:srgbClr val="771B61"/>
                </a:solidFill>
                <a:effectLst/>
                <a:uLnTx/>
                <a:uFillTx/>
                <a:latin typeface="Calibri"/>
                <a:ea typeface="ＭＳ Ｐゴシック" charset="0"/>
                <a:cs typeface="+mn-cs"/>
              </a:rPr>
              <a:t>Olutasidenib</a:t>
            </a:r>
            <a:endParaRPr kumimoji="0" lang="en-US" sz="1800" b="0" i="0" u="none" strike="noStrike" kern="1200" cap="none" spc="0" normalizeH="0" baseline="0" noProof="0" dirty="0">
              <a:ln>
                <a:noFill/>
              </a:ln>
              <a:solidFill>
                <a:srgbClr val="771B61"/>
              </a:solidFill>
              <a:effectLst/>
              <a:uLnTx/>
              <a:uFillTx/>
              <a:latin typeface="Calibri"/>
              <a:ea typeface="ＭＳ Ｐゴシック" charset="0"/>
              <a:cs typeface="+mn-cs"/>
            </a:endParaRPr>
          </a:p>
        </p:txBody>
      </p:sp>
      <p:sp>
        <p:nvSpPr>
          <p:cNvPr id="27" name="TextBox 26">
            <a:extLst>
              <a:ext uri="{FF2B5EF4-FFF2-40B4-BE49-F238E27FC236}">
                <a16:creationId xmlns:a16="http://schemas.microsoft.com/office/drawing/2014/main" id="{3EDB32E8-D9D0-75D1-BCB3-5D598AD427CE}"/>
              </a:ext>
            </a:extLst>
          </p:cNvPr>
          <p:cNvSpPr txBox="1"/>
          <p:nvPr/>
        </p:nvSpPr>
        <p:spPr>
          <a:xfrm>
            <a:off x="3770956" y="3976133"/>
            <a:ext cx="1473617" cy="646331"/>
          </a:xfrm>
          <a:prstGeom prst="rect">
            <a:avLst/>
          </a:prstGeom>
          <a:ln>
            <a:solidFill>
              <a:schemeClr val="tx1"/>
            </a:solidFill>
          </a:ln>
        </p:spPr>
        <p:txBody>
          <a:bodyPr vert="horz"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771B61"/>
                </a:solidFill>
                <a:effectLst/>
                <a:uLnTx/>
                <a:uFillTx/>
                <a:latin typeface="Calibri"/>
                <a:ea typeface="ＭＳ Ｐゴシック" charset="0"/>
                <a:cs typeface="+mn-cs"/>
              </a:rPr>
              <a:t>Clinical trial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771B61"/>
                </a:solidFill>
                <a:effectLst/>
                <a:uLnTx/>
                <a:uFillTx/>
                <a:latin typeface="Calibri"/>
                <a:ea typeface="ＭＳ Ｐゴシック" charset="0"/>
                <a:cs typeface="+mn-cs"/>
              </a:rPr>
              <a:t>Mylotarg</a:t>
            </a:r>
            <a:endParaRPr kumimoji="0" lang="en-US" sz="1800" b="0" i="0" u="none" strike="noStrike" kern="1200" cap="none" spc="0" normalizeH="0" baseline="0" noProof="0" dirty="0">
              <a:ln>
                <a:noFill/>
              </a:ln>
              <a:solidFill>
                <a:srgbClr val="771B61"/>
              </a:solidFill>
              <a:effectLst/>
              <a:uLnTx/>
              <a:uFillTx/>
              <a:latin typeface="Calibri"/>
              <a:ea typeface="ＭＳ Ｐゴシック" charset="0"/>
              <a:cs typeface="+mn-cs"/>
            </a:endParaRPr>
          </a:p>
        </p:txBody>
      </p:sp>
      <p:cxnSp>
        <p:nvCxnSpPr>
          <p:cNvPr id="3" name="Straight Arrow Connector 2">
            <a:extLst>
              <a:ext uri="{FF2B5EF4-FFF2-40B4-BE49-F238E27FC236}">
                <a16:creationId xmlns:a16="http://schemas.microsoft.com/office/drawing/2014/main" id="{05876361-53AD-2561-60E3-09844FDA951B}"/>
              </a:ext>
            </a:extLst>
          </p:cNvPr>
          <p:cNvCxnSpPr/>
          <p:nvPr/>
        </p:nvCxnSpPr>
        <p:spPr>
          <a:xfrm flipH="1">
            <a:off x="2391963" y="1368834"/>
            <a:ext cx="672575" cy="33250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352600F8-A768-23C4-9D85-0D53533324AC}"/>
              </a:ext>
            </a:extLst>
          </p:cNvPr>
          <p:cNvSpPr txBox="1"/>
          <p:nvPr/>
        </p:nvSpPr>
        <p:spPr>
          <a:xfrm>
            <a:off x="1823928" y="1300299"/>
            <a:ext cx="1028373" cy="307777"/>
          </a:xfrm>
          <a:prstGeom prst="rect">
            <a:avLst/>
          </a:prstGeom>
        </p:spPr>
        <p:txBody>
          <a:bodyPr vert="horz"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771B61"/>
                </a:solidFill>
                <a:effectLst/>
                <a:uLnTx/>
                <a:uFillTx/>
                <a:latin typeface="Calibri Light" panose="020F0302020204030204" pitchFamily="34" charset="0"/>
                <a:ea typeface="ＭＳ Ｐゴシック" charset="0"/>
                <a:cs typeface="Calibri Light" panose="020F0302020204030204" pitchFamily="34" charset="0"/>
              </a:rPr>
              <a:t>IDH1+</a:t>
            </a:r>
          </a:p>
        </p:txBody>
      </p:sp>
      <p:sp>
        <p:nvSpPr>
          <p:cNvPr id="8" name="TextBox 7">
            <a:extLst>
              <a:ext uri="{FF2B5EF4-FFF2-40B4-BE49-F238E27FC236}">
                <a16:creationId xmlns:a16="http://schemas.microsoft.com/office/drawing/2014/main" id="{2E7551EC-3042-9DBD-B3D6-4C5C6A1BAF0E}"/>
              </a:ext>
            </a:extLst>
          </p:cNvPr>
          <p:cNvSpPr txBox="1"/>
          <p:nvPr/>
        </p:nvSpPr>
        <p:spPr>
          <a:xfrm>
            <a:off x="316562" y="2004565"/>
            <a:ext cx="2645792" cy="400110"/>
          </a:xfrm>
          <a:prstGeom prst="rect">
            <a:avLst/>
          </a:prstGeom>
          <a:ln>
            <a:solidFill>
              <a:schemeClr val="tx1"/>
            </a:solidFill>
          </a:ln>
        </p:spPr>
        <p:txBody>
          <a:bodyPr vert="horz"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771B61"/>
                </a:solidFill>
                <a:effectLst/>
                <a:uLnTx/>
                <a:uFillTx/>
                <a:latin typeface="Calibri"/>
                <a:ea typeface="ＭＳ Ｐゴシック" charset="0"/>
                <a:cs typeface="+mn-cs"/>
              </a:rPr>
              <a:t>Azacitidine/</a:t>
            </a:r>
            <a:r>
              <a:rPr kumimoji="0" lang="en-US" sz="2000" b="0" i="0" u="none" strike="noStrike" kern="1200" cap="none" spc="0" normalizeH="0" baseline="0" noProof="0" dirty="0" err="1">
                <a:ln>
                  <a:noFill/>
                </a:ln>
                <a:solidFill>
                  <a:srgbClr val="771B61"/>
                </a:solidFill>
                <a:effectLst/>
                <a:uLnTx/>
                <a:uFillTx/>
                <a:latin typeface="Calibri"/>
                <a:ea typeface="ＭＳ Ｐゴシック" charset="0"/>
                <a:cs typeface="+mn-cs"/>
              </a:rPr>
              <a:t>ivosidenib</a:t>
            </a:r>
            <a:endParaRPr kumimoji="0" lang="en-US" sz="2000" b="0" i="0" u="none" strike="noStrike" kern="1200" cap="none" spc="0" normalizeH="0" baseline="0" noProof="0" dirty="0">
              <a:ln>
                <a:noFill/>
              </a:ln>
              <a:solidFill>
                <a:srgbClr val="771B61"/>
              </a:solidFill>
              <a:effectLst/>
              <a:uLnTx/>
              <a:uFillTx/>
              <a:latin typeface="Calibri"/>
              <a:ea typeface="ＭＳ Ｐゴシック" charset="0"/>
              <a:cs typeface="+mn-cs"/>
            </a:endParaRPr>
          </a:p>
        </p:txBody>
      </p:sp>
    </p:spTree>
    <p:extLst>
      <p:ext uri="{BB962C8B-B14F-4D97-AF65-F5344CB8AC3E}">
        <p14:creationId xmlns:p14="http://schemas.microsoft.com/office/powerpoint/2010/main" val="17695344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LC2015_PPT_Slides">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Georgia"/>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4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3_MLC2015_PPT_Slides">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Georgia"/>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6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7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4_MLC2015_PPT_Slides">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8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5_MLC2015_PPT_Slides">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Georgia"/>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LC2015_PPT_Slides">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Georgia"/>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MLC2015_PPT_Slides">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Georgia"/>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_MLC2015_PPT_Slides">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Georgia"/>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A6459BA09A55A48A26552F8CF890A5E" ma:contentTypeVersion="14" ma:contentTypeDescription="Create a new document." ma:contentTypeScope="" ma:versionID="23f5c8f08b1a1d65690ec793b377a057">
  <xsd:schema xmlns:xsd="http://www.w3.org/2001/XMLSchema" xmlns:xs="http://www.w3.org/2001/XMLSchema" xmlns:p="http://schemas.microsoft.com/office/2006/metadata/properties" xmlns:ns3="5d185315-3185-4f85-882e-9624ef9185a2" xmlns:ns4="bd2a530d-6ddd-4962-a7b9-5fc3be46eaed" targetNamespace="http://schemas.microsoft.com/office/2006/metadata/properties" ma:root="true" ma:fieldsID="eead1677efee3c2be5ce849ca58fdede" ns3:_="" ns4:_="">
    <xsd:import namespace="5d185315-3185-4f85-882e-9624ef9185a2"/>
    <xsd:import namespace="bd2a530d-6ddd-4962-a7b9-5fc3be46eaed"/>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LengthInSeconds" minOccurs="0"/>
                <xsd:element ref="ns3:MediaServiceLocatio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185315-3185-4f85-882e-9624ef9185a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d2a530d-6ddd-4962-a7b9-5fc3be46eaed"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element name="SharingHintHash" ma:index="21"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7D2C464-C771-4E2C-A4E0-A9031062A07A}">
  <ds:schemaRefs>
    <ds:schemaRef ds:uri="http://schemas.microsoft.com/sharepoint/v3/contenttype/forms"/>
  </ds:schemaRefs>
</ds:datastoreItem>
</file>

<file path=customXml/itemProps2.xml><?xml version="1.0" encoding="utf-8"?>
<ds:datastoreItem xmlns:ds="http://schemas.openxmlformats.org/officeDocument/2006/customXml" ds:itemID="{895DAC3F-13AB-46E7-8F34-0AA229403C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d185315-3185-4f85-882e-9624ef9185a2"/>
    <ds:schemaRef ds:uri="bd2a530d-6ddd-4962-a7b9-5fc3be46eae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BEC0C9A-B742-4687-A9CB-8B149E7DD7A8}">
  <ds:schemaRefs>
    <ds:schemaRef ds:uri="http://purl.org/dc/terms/"/>
    <ds:schemaRef ds:uri="http://schemas.microsoft.com/office/infopath/2007/PartnerControls"/>
    <ds:schemaRef ds:uri="http://purl.org/dc/elements/1.1/"/>
    <ds:schemaRef ds:uri="http://www.w3.org/XML/1998/namespace"/>
    <ds:schemaRef ds:uri="http://schemas.microsoft.com/office/2006/documentManagement/types"/>
    <ds:schemaRef ds:uri="bd2a530d-6ddd-4962-a7b9-5fc3be46eaed"/>
    <ds:schemaRef ds:uri="5d185315-3185-4f85-882e-9624ef9185a2"/>
    <ds:schemaRef ds:uri="http://schemas.openxmlformats.org/package/2006/metadata/core-propertie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5922</TotalTime>
  <Words>8132</Words>
  <Application>Microsoft Office PowerPoint</Application>
  <PresentationFormat>Custom</PresentationFormat>
  <Paragraphs>1203</Paragraphs>
  <Slides>178</Slides>
  <Notes>54</Notes>
  <HiddenSlides>0</HiddenSlides>
  <MMClips>0</MMClips>
  <ScaleCrop>false</ScaleCrop>
  <HeadingPairs>
    <vt:vector size="8" baseType="variant">
      <vt:variant>
        <vt:lpstr>Fonts Used</vt:lpstr>
      </vt:variant>
      <vt:variant>
        <vt:i4>22</vt:i4>
      </vt:variant>
      <vt:variant>
        <vt:lpstr>Theme</vt:lpstr>
      </vt:variant>
      <vt:variant>
        <vt:i4>19</vt:i4>
      </vt:variant>
      <vt:variant>
        <vt:lpstr>Embedded OLE Servers</vt:lpstr>
      </vt:variant>
      <vt:variant>
        <vt:i4>1</vt:i4>
      </vt:variant>
      <vt:variant>
        <vt:lpstr>Slide Titles</vt:lpstr>
      </vt:variant>
      <vt:variant>
        <vt:i4>178</vt:i4>
      </vt:variant>
    </vt:vector>
  </HeadingPairs>
  <TitlesOfParts>
    <vt:vector size="220" baseType="lpstr">
      <vt:lpstr>PMingLiU</vt:lpstr>
      <vt:lpstr>宋体</vt:lpstr>
      <vt:lpstr>acumin-pro</vt:lpstr>
      <vt:lpstr>-apple-system</vt:lpstr>
      <vt:lpstr>Arial</vt:lpstr>
      <vt:lpstr>Arial Narrow</vt:lpstr>
      <vt:lpstr>Calibri</vt:lpstr>
      <vt:lpstr>Calibri Light</vt:lpstr>
      <vt:lpstr>CenturyGothic</vt:lpstr>
      <vt:lpstr>Corporate A Medium</vt:lpstr>
      <vt:lpstr>Corporate S Demi</vt:lpstr>
      <vt:lpstr>Georgia</vt:lpstr>
      <vt:lpstr>Harding</vt:lpstr>
      <vt:lpstr>Helvetica</vt:lpstr>
      <vt:lpstr>HelveticaNeue-Bold</vt:lpstr>
      <vt:lpstr>HelveticaNeue-Roman</vt:lpstr>
      <vt:lpstr>Merriweather Sans</vt:lpstr>
      <vt:lpstr>Open Sans</vt:lpstr>
      <vt:lpstr>OTNEJMQuadraat</vt:lpstr>
      <vt:lpstr>Roboto</vt:lpstr>
      <vt:lpstr>ui-sans-serif</vt:lpstr>
      <vt:lpstr>Wingdings</vt:lpstr>
      <vt:lpstr>MLC2015_PPT_Slides</vt:lpstr>
      <vt:lpstr>Custom Design</vt:lpstr>
      <vt:lpstr>1_Custom Design</vt:lpstr>
      <vt:lpstr>MLC2015_PPT_Slides</vt:lpstr>
      <vt:lpstr>Office Theme</vt:lpstr>
      <vt:lpstr>1_MLC2015_PPT_Slides</vt:lpstr>
      <vt:lpstr>2_Custom Design</vt:lpstr>
      <vt:lpstr>3_Custom Design</vt:lpstr>
      <vt:lpstr>2_MLC2015_PPT_Slides</vt:lpstr>
      <vt:lpstr>4_Custom Design</vt:lpstr>
      <vt:lpstr>5_Custom Design</vt:lpstr>
      <vt:lpstr>3_MLC2015_PPT_Slides</vt:lpstr>
      <vt:lpstr>6_Custom Design</vt:lpstr>
      <vt:lpstr>1_Office Theme</vt:lpstr>
      <vt:lpstr>7_Custom Design</vt:lpstr>
      <vt:lpstr>4_MLC2015_PPT_Slides</vt:lpstr>
      <vt:lpstr>2_Office Theme</vt:lpstr>
      <vt:lpstr>8_Custom Design</vt:lpstr>
      <vt:lpstr>5_MLC2015_PPT_Slides</vt:lpstr>
      <vt:lpstr>think-cell Slide</vt:lpstr>
      <vt:lpstr>PowerPoint Presentation</vt:lpstr>
      <vt:lpstr>Welcome</vt:lpstr>
      <vt:lpstr>Thank You to Our Supporters:</vt:lpstr>
      <vt:lpstr>PowerPoint Presentation</vt:lpstr>
      <vt:lpstr>PowerPoint Presentation</vt:lpstr>
      <vt:lpstr>PowerPoint Presentation</vt:lpstr>
      <vt:lpstr>PowerPoint Presentation</vt:lpstr>
      <vt:lpstr>Program Chair</vt:lpstr>
      <vt:lpstr>PowerPoint Presentation</vt:lpstr>
      <vt:lpstr>Evolving Standards in MF, PV, and… (tales of subtypes, targets, dose intensity, and allele frequencie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anagement of Myelodysplastic Syndrome</vt:lpstr>
      <vt:lpstr>PowerPoint Presentation</vt:lpstr>
      <vt:lpstr>Transfusion Dependence Affects Survival in MDS patients using ESAs </vt:lpstr>
      <vt:lpstr>Lower-Risk Myelodysplastic Syndrome</vt:lpstr>
      <vt:lpstr>COMMANDS trial</vt:lpstr>
      <vt:lpstr>COMMANDS trial</vt:lpstr>
      <vt:lpstr>PowerPoint Presentation</vt:lpstr>
      <vt:lpstr>PowerPoint Presentation</vt:lpstr>
      <vt:lpstr>PowerPoint Presentation</vt:lpstr>
      <vt:lpstr>PowerPoint Presentation</vt:lpstr>
      <vt:lpstr>Allogeneic transplant </vt:lpstr>
      <vt:lpstr>Hypomethylating agents in high risk MDS</vt:lpstr>
      <vt:lpstr>Phase 3 VERONA: Aza+ Ven </vt:lpstr>
      <vt:lpstr>PowerPoint Presentation</vt:lpstr>
      <vt:lpstr>PowerPoint Presentation</vt:lpstr>
      <vt:lpstr>Olutasidenib Alone or in Combination with Azacitidine Induces Durable Complete Remissions in Patients with mIDH1 Myelodysplastic Syndromes/Neoplasms (MDS) </vt:lpstr>
      <vt:lpstr>Conclusions</vt:lpstr>
      <vt:lpstr>PowerPoint Presentation</vt:lpstr>
      <vt:lpstr>Case Presentation: Low Risk MDS</vt:lpstr>
      <vt:lpstr>Initial presentation</vt:lpstr>
      <vt:lpstr>PowerPoint Presentation</vt:lpstr>
      <vt:lpstr>PowerPoint Presentation</vt:lpstr>
      <vt:lpstr>PowerPoint Presentation</vt:lpstr>
      <vt:lpstr>Diagnosis</vt:lpstr>
      <vt:lpstr>PowerPoint Presentation</vt:lpstr>
      <vt:lpstr>PowerPoint Presentation</vt:lpstr>
      <vt:lpstr>PowerPoint Presentation</vt:lpstr>
      <vt:lpstr>PowerPoint Presentation</vt:lpstr>
      <vt:lpstr>Back to our case…</vt:lpstr>
      <vt:lpstr>PowerPoint Presentation</vt:lpstr>
      <vt:lpstr>PowerPoint Presentation</vt:lpstr>
      <vt:lpstr>Who is unlikely to respond to ESAs?</vt:lpstr>
      <vt:lpstr>Luspatercept</vt:lpstr>
      <vt:lpstr>Who is likely to respond to luspatercept?</vt:lpstr>
      <vt:lpstr>Key points</vt:lpstr>
      <vt:lpstr>Luspatercept</vt:lpstr>
      <vt:lpstr>PowerPoint Presentation</vt:lpstr>
      <vt:lpstr>Treatment of Older AML in 2024</vt:lpstr>
      <vt:lpstr>Learning Objectives</vt:lpstr>
      <vt:lpstr>PowerPoint Presentation</vt:lpstr>
      <vt:lpstr>PowerPoint Presentation</vt:lpstr>
      <vt:lpstr>PowerPoint Presentation</vt:lpstr>
      <vt:lpstr>PowerPoint Presentation</vt:lpstr>
      <vt:lpstr>AML: Prognostic factors</vt:lpstr>
      <vt:lpstr>PowerPoint Presentation</vt:lpstr>
      <vt:lpstr>A Historical Perspective of Acute Myeloid Leukemia</vt:lpstr>
      <vt:lpstr>Recent FDA approvals in AML</vt:lpstr>
      <vt:lpstr>Recent FDA approvals in AML</vt:lpstr>
      <vt:lpstr>Treatment algorithm</vt:lpstr>
      <vt:lpstr>New standard of care:  Hypomethylating agent (HMA)/venetoclax</vt:lpstr>
      <vt:lpstr>Azacitidine + venetoclax improves overall survival VIALE-A trial</vt:lpstr>
      <vt:lpstr>Azacitidine + venetoclax improves overall survival VIALE-A trial</vt:lpstr>
      <vt:lpstr>HMA/venetoclax: Toxicities</vt:lpstr>
      <vt:lpstr>HMA/venetoclax: Administration logistics</vt:lpstr>
      <vt:lpstr>HMA/venetoclax: Dosing logistics</vt:lpstr>
      <vt:lpstr>Venetoclax dose adjustments for cytopenias</vt:lpstr>
      <vt:lpstr>Low-dose cytarabine (LDAC) and venetoclax</vt:lpstr>
      <vt:lpstr>Treatment algorithm</vt:lpstr>
      <vt:lpstr>FLT3 inhibitor: Gilteritinib</vt:lpstr>
      <vt:lpstr>Gilteritinib improves overall survival in relapsed/refractory AML ADMIRAL trial </vt:lpstr>
      <vt:lpstr>Treatment algorithm</vt:lpstr>
      <vt:lpstr>IDH inhibitors:  Ivosidenib, Enasidenib, Olutasidenib</vt:lpstr>
      <vt:lpstr>IDH inhibitors in relapsed/refractory AML</vt:lpstr>
      <vt:lpstr>IDH inhibitor-specific toxicities</vt:lpstr>
      <vt:lpstr>Stay tuned…</vt:lpstr>
      <vt:lpstr>Take home points</vt:lpstr>
      <vt:lpstr>Diffuse Large B Cell Lymphoma Update 2024</vt:lpstr>
      <vt:lpstr>Frontline Therapy for Advanced DLBCL</vt:lpstr>
      <vt:lpstr>Strategies to Improve Treatment Outcome</vt:lpstr>
      <vt:lpstr>Efficacy and safety of lenalidomide in DLBCL: a meta-analysis of randomized controlled trials</vt:lpstr>
      <vt:lpstr>Pola-R-CHP vs R-CHOP</vt:lpstr>
      <vt:lpstr>Treatment Options of rrDLBCL</vt:lpstr>
      <vt:lpstr>Is CAR T Therapy Potentially Curative for rrNHL? </vt:lpstr>
      <vt:lpstr>Number of Autologous HCTs in the U.S. by Selected Disease</vt:lpstr>
      <vt:lpstr>Number of Autologous HCTs for Diffuse Large B-Cell Lymphoma (DLBCL) in the U.S.</vt:lpstr>
      <vt:lpstr>FDA-approved CAR T cell therapies</vt:lpstr>
      <vt:lpstr>Pivotal Phase 2 and 3: CD19‐CAR T vs Auto SCT in Refractory DLBCL</vt:lpstr>
      <vt:lpstr>CD19‐CAR T  for in relapsed/refractory Follicular Lymphoma Pivotal phase 2 Studies</vt:lpstr>
      <vt:lpstr>Is CAR T Therapy Potentially Curative for rrDLBCL? </vt:lpstr>
      <vt:lpstr>Formats of Bispecific Ab</vt:lpstr>
      <vt:lpstr>Bispecific and Trispecific T Cell Engagers</vt:lpstr>
      <vt:lpstr>FDA Approved Bispecific T Cell Engagers (BsTCE)</vt:lpstr>
      <vt:lpstr>PowerPoint Presentation</vt:lpstr>
      <vt:lpstr>AZD0486/TNB486 (CD19xCD3) has unique structural key features</vt:lpstr>
      <vt:lpstr>PowerPoint Presentation</vt:lpstr>
      <vt:lpstr>PowerPoint Presentation</vt:lpstr>
      <vt:lpstr>PowerPoint Presentation</vt:lpstr>
      <vt:lpstr>BsTCE in Frontline Therapy Mosunetuzumab + CHOP in previously untreated DLBCL: safety and efficacy results from a phase 2 study</vt:lpstr>
      <vt:lpstr>Study Schema</vt:lpstr>
      <vt:lpstr>Current Open Trials of Bispecific Ab for rrNHL at Lemieux Center for Blood Cancer, UPMC HCC</vt:lpstr>
      <vt:lpstr>Upcoming Clinical Trials of Bispecific TCE for NHL at UPMC HCC, 2024</vt:lpstr>
      <vt:lpstr>PowerPoint Presentation</vt:lpstr>
      <vt:lpstr>Novel Agents for rrDLBCL</vt:lpstr>
      <vt:lpstr>PowerPoint Presentation</vt:lpstr>
      <vt:lpstr>Updates in Treatment Naïve CLL</vt:lpstr>
      <vt:lpstr>Disclosures</vt:lpstr>
      <vt:lpstr>Outlin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Intellisphe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lly Donald</dc:creator>
  <cp:lastModifiedBy>Sean Gallagher</cp:lastModifiedBy>
  <cp:revision>174</cp:revision>
  <dcterms:modified xsi:type="dcterms:W3CDTF">2024-05-10T21:25: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6459BA09A55A48A26552F8CF890A5E</vt:lpwstr>
  </property>
</Properties>
</file>